
<file path=[Content_Types].xml><?xml version="1.0" encoding="utf-8"?>
<Types xmlns="http://schemas.openxmlformats.org/package/2006/content-types">
  <Default Extension="fntdata" ContentType="application/x-fontdata"/>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4.xml" ContentType="application/vnd.openxmlformats-officedocument.presentationml.notesSlid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5547" r:id="rId4"/>
  </p:sldMasterIdLst>
  <p:notesMasterIdLst>
    <p:notesMasterId r:id="rId14"/>
  </p:notesMasterIdLst>
  <p:sldIdLst>
    <p:sldId id="2146847335" r:id="rId5"/>
    <p:sldId id="2146847336" r:id="rId6"/>
    <p:sldId id="2146847337" r:id="rId7"/>
    <p:sldId id="2146847338" r:id="rId8"/>
    <p:sldId id="2146847339" r:id="rId9"/>
    <p:sldId id="2146847340" r:id="rId10"/>
    <p:sldId id="2146847341" r:id="rId11"/>
    <p:sldId id="2146847342" r:id="rId12"/>
    <p:sldId id="2146847343" r:id="rId13"/>
  </p:sldIdLst>
  <p:sldSz cx="12192000" cy="6858000"/>
  <p:notesSz cx="6858000" cy="9144000"/>
  <p:embeddedFontLst>
    <p:embeddedFont>
      <p:font typeface="Calibri" panose="020F0502020204030204" pitchFamily="34" charset="0"/>
      <p:regular r:id="rId15"/>
      <p:bold r:id="rId16"/>
      <p:italic r:id="rId17"/>
      <p:boldItalic r:id="rId18"/>
    </p:embeddedFont>
    <p:embeddedFont>
      <p:font typeface="Calibri Light" panose="020F0302020204030204" pitchFamily="34" charset="0"/>
      <p:regular r:id="rId19"/>
      <p:italic r:id="rId20"/>
    </p:embeddedFont>
    <p:embeddedFont>
      <p:font typeface="Ubuntu" panose="020B0504030602030204" pitchFamily="34" charset="0"/>
      <p:regular r:id="rId21"/>
      <p:bold r:id="rId22"/>
      <p:italic r:id="rId23"/>
      <p:boldItalic r:id="rId24"/>
    </p:embeddedFont>
    <p:embeddedFont>
      <p:font typeface="Verdana" panose="020B0604030504040204" pitchFamily="34" charset="0"/>
      <p:regular r:id="rId25"/>
      <p:bold r:id="rId26"/>
      <p:italic r:id="rId27"/>
      <p:boldItalic r:id="rId28"/>
    </p:embeddedFont>
  </p:embeddedFontLst>
  <p:custDataLst>
    <p:tags r:id="rId2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id="{8909578D-B73A-4EBE-A9A6-6803E9071510}">
          <p14:sldIdLst/>
        </p14:section>
        <p14:section name="Template" id="{2930BF25-F155-425B-9989-50CCCE048BFA}">
          <p14:sldIdLst>
            <p14:sldId id="2146847335"/>
            <p14:sldId id="2146847336"/>
            <p14:sldId id="2146847337"/>
            <p14:sldId id="2146847338"/>
            <p14:sldId id="2146847339"/>
            <p14:sldId id="2146847340"/>
            <p14:sldId id="2146847341"/>
            <p14:sldId id="2146847342"/>
            <p14:sldId id="21468473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2202106-ED13-55C2-8CF8-01B15DEC83A7}" name="tatiana.khanberg@igu.org" initials="ta" userId="S::urn:spo:guest#tatiana.khanberg@igu.org::" providerId="AD"/>
  <p188:author id="{4EC08E23-2E60-376B-7422-64B1A3021644}" name="Joshua Ong" initials="JO" userId="S::Joshua.Ong@rystadenergy.com::8a1287b8-199b-45bd-a1c6-9b3a2545d3de" providerId="AD"/>
  <p188:author id="{D880085B-2382-EE83-CDC6-68866F9C6A9E}" name="Andre Risnes Nordbo" initials="ARN" userId="S::Andre.Nordbo@rystadenergy.com::c256a964-d5e0-4bcd-9ae6-c517f1be0748" providerId="AD"/>
  <p188:author id="{3EC63D78-79BE-6485-0EB8-6D8CC180291D}" name="Joshua Ong" initials="JO" userId="S::joshua.ong@rystadenergy.com::8a1287b8-199b-45bd-a1c6-9b3a2545d3de" providerId="AD"/>
  <p188:author id="{4A1B3497-7160-7D7A-2037-F6FB2D18DBD2}" name="Astrid Valderhaug" initials="AV" userId="S::Astrid.Valderhaug@rystadenergy.com::5cedb391-0140-4964-afc9-57248f1dfc79" providerId="AD"/>
  <p188:author id="{942105E9-D82F-7946-F757-90DE2180BFCA}" name="Andreas Nilssen Skorpen" initials="ANS" userId="S::andreas.skorpen@rystadenergy.com::f182d5fc-611d-4402-9d0e-602c5d17eabd" providerId="AD"/>
  <p188:author id="{B30F21FF-D92A-0E65-FACB-9EC0DABB7EAA}" name="Mengqi Shi" initials="MS" userId="S::Mengqi.Shi@rystadenergy.com::a5dc66f8-f5c1-4214-a174-5f0be848917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6BA57"/>
    <a:srgbClr val="01436C"/>
    <a:srgbClr val="FEB949"/>
    <a:srgbClr val="036931"/>
    <a:srgbClr val="006B95"/>
    <a:srgbClr val="6DA887"/>
    <a:srgbClr val="D9D9D9"/>
    <a:srgbClr val="0664A3"/>
    <a:srgbClr val="F9982D"/>
    <a:srgbClr val="5C369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48"/>
  </p:normalViewPr>
  <p:slideViewPr>
    <p:cSldViewPr snapToGrid="0">
      <p:cViewPr varScale="1">
        <p:scale>
          <a:sx n="58" d="100"/>
          <a:sy n="58" d="100"/>
        </p:scale>
        <p:origin x="964" y="5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4.fntdata"/><Relationship Id="rId26" Type="http://schemas.openxmlformats.org/officeDocument/2006/relationships/font" Target="fonts/font12.fntdata"/><Relationship Id="rId3" Type="http://schemas.openxmlformats.org/officeDocument/2006/relationships/customXml" Target="../customXml/item3.xml"/><Relationship Id="rId21" Type="http://schemas.openxmlformats.org/officeDocument/2006/relationships/font" Target="fonts/font7.fntdata"/><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3.fntdata"/><Relationship Id="rId25" Type="http://schemas.openxmlformats.org/officeDocument/2006/relationships/font" Target="fonts/font11.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2.fntdata"/><Relationship Id="rId20" Type="http://schemas.openxmlformats.org/officeDocument/2006/relationships/font" Target="fonts/font6.fntdata"/><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0.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font" Target="fonts/font14.fntdata"/><Relationship Id="rId10" Type="http://schemas.openxmlformats.org/officeDocument/2006/relationships/slide" Target="slides/slide6.xml"/><Relationship Id="rId19" Type="http://schemas.openxmlformats.org/officeDocument/2006/relationships/font" Target="fonts/font5.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openxmlformats.org/officeDocument/2006/relationships/font" Target="fonts/font8.fntdata"/><Relationship Id="rId27" Type="http://schemas.openxmlformats.org/officeDocument/2006/relationships/font" Target="fonts/font13.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6.xml"/><Relationship Id="rId1" Type="http://schemas.microsoft.com/office/2011/relationships/chartStyle" Target="style16.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370754439732987"/>
          <c:y val="0"/>
          <c:w val="0.66629885561133861"/>
          <c:h val="1"/>
        </c:manualLayout>
      </c:layout>
      <c:doughnut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tx2"/>
                </a:solidFill>
              </a:ln>
              <a:effectLst/>
            </c:spPr>
            <c:extLst>
              <c:ext xmlns:c16="http://schemas.microsoft.com/office/drawing/2014/chart" uri="{C3380CC4-5D6E-409C-BE32-E72D297353CC}">
                <c16:uniqueId val="{00000001-CA1B-4127-81EE-B9800ADEF92E}"/>
              </c:ext>
            </c:extLst>
          </c:dPt>
          <c:dPt>
            <c:idx val="1"/>
            <c:bubble3D val="0"/>
            <c:spPr>
              <a:solidFill>
                <a:schemeClr val="bg1"/>
              </a:solidFill>
              <a:ln w="19050">
                <a:solidFill>
                  <a:schemeClr val="tx2"/>
                </a:solidFill>
              </a:ln>
              <a:effectLst/>
            </c:spPr>
            <c:extLst>
              <c:ext xmlns:c16="http://schemas.microsoft.com/office/drawing/2014/chart" uri="{C3380CC4-5D6E-409C-BE32-E72D297353CC}">
                <c16:uniqueId val="{00000003-CA1B-4127-81EE-B9800ADEF9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CA1B-4127-81EE-B9800ADEF92E}"/>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CA1B-4127-81EE-B9800ADEF92E}"/>
              </c:ext>
            </c:extLst>
          </c:dPt>
          <c:cat>
            <c:strRef>
              <c:f>Sheet1!$A$2:$A$3</c:f>
              <c:strCache>
                <c:ptCount val="2"/>
                <c:pt idx="0">
                  <c:v>1st Qtr</c:v>
                </c:pt>
                <c:pt idx="1">
                  <c:v>2nd Qtr</c:v>
                </c:pt>
              </c:strCache>
            </c:strRef>
          </c:cat>
          <c:val>
            <c:numRef>
              <c:f>Sheet1!$B$2:$B$3</c:f>
              <c:numCache>
                <c:formatCode>General</c:formatCode>
                <c:ptCount val="2"/>
                <c:pt idx="0">
                  <c:v>20</c:v>
                </c:pt>
                <c:pt idx="1">
                  <c:v>20</c:v>
                </c:pt>
              </c:numCache>
            </c:numRef>
          </c:val>
          <c:extLst>
            <c:ext xmlns:c16="http://schemas.microsoft.com/office/drawing/2014/chart" uri="{C3380CC4-5D6E-409C-BE32-E72D297353CC}">
              <c16:uniqueId val="{00000008-CA1B-4127-81EE-B9800ADEF92E}"/>
            </c:ext>
          </c:extLst>
        </c:ser>
        <c:dLbls>
          <c:showLegendKey val="0"/>
          <c:showVal val="0"/>
          <c:showCatName val="0"/>
          <c:showSerName val="0"/>
          <c:showPercent val="0"/>
          <c:showBubbleSize val="0"/>
          <c:showLeaderLines val="1"/>
        </c:dLbls>
        <c:firstSliceAng val="0"/>
        <c:holeSize val="78"/>
      </c:doughnutChart>
      <c:spPr>
        <a:solidFill>
          <a:schemeClr val="bg1"/>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strRef>
              <c:f>Sheet1!$C$1</c:f>
              <c:strCache>
                <c:ptCount val="1"/>
                <c:pt idx="0">
                  <c:v>Henry Hub</c:v>
                </c:pt>
              </c:strCache>
            </c:strRef>
          </c:tx>
          <c:spPr>
            <a:ln w="28575" cap="rnd">
              <a:solidFill>
                <a:srgbClr val="FEA20C"/>
              </a:solidFill>
              <a:round/>
            </a:ln>
            <a:effectLst/>
          </c:spPr>
          <c:marker>
            <c:symbol val="none"/>
          </c:marker>
          <c:cat>
            <c:numRef>
              <c:f>Sheet1!$A$2:$A$1209</c:f>
              <c:numCache>
                <c:formatCode>m/d/yyyy</c:formatCode>
                <c:ptCount val="1208"/>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pt idx="51">
                  <c:v>45017</c:v>
                </c:pt>
                <c:pt idx="52">
                  <c:v>45047</c:v>
                </c:pt>
                <c:pt idx="53">
                  <c:v>45078</c:v>
                </c:pt>
                <c:pt idx="54">
                  <c:v>45108</c:v>
                </c:pt>
                <c:pt idx="55">
                  <c:v>45139</c:v>
                </c:pt>
                <c:pt idx="56">
                  <c:v>45170</c:v>
                </c:pt>
              </c:numCache>
            </c:numRef>
          </c:cat>
          <c:val>
            <c:numRef>
              <c:f>Sheet1!$C$2:$C$1209</c:f>
              <c:numCache>
                <c:formatCode>0.00</c:formatCode>
                <c:ptCount val="1208"/>
                <c:pt idx="0">
                  <c:v>0.23221628271923747</c:v>
                </c:pt>
                <c:pt idx="1">
                  <c:v>8.6749121597430298E-2</c:v>
                </c:pt>
                <c:pt idx="2">
                  <c:v>6.1368789439567827E-2</c:v>
                </c:pt>
                <c:pt idx="3">
                  <c:v>8.4398138926640998E-2</c:v>
                </c:pt>
                <c:pt idx="4">
                  <c:v>4.7448474998866078E-2</c:v>
                </c:pt>
                <c:pt idx="5">
                  <c:v>6.2483007028810267E-2</c:v>
                </c:pt>
                <c:pt idx="6">
                  <c:v>9.3242958983119642E-2</c:v>
                </c:pt>
                <c:pt idx="7">
                  <c:v>6.1533580682720107E-2</c:v>
                </c:pt>
                <c:pt idx="8">
                  <c:v>0.10541910772243915</c:v>
                </c:pt>
                <c:pt idx="9">
                  <c:v>0.12700160132167668</c:v>
                </c:pt>
                <c:pt idx="10">
                  <c:v>0.1389470662291932</c:v>
                </c:pt>
                <c:pt idx="11">
                  <c:v>8.0004829313856163E-2</c:v>
                </c:pt>
                <c:pt idx="12">
                  <c:v>0.12852588764749842</c:v>
                </c:pt>
                <c:pt idx="13">
                  <c:v>6.6076387173981774E-2</c:v>
                </c:pt>
                <c:pt idx="14">
                  <c:v>9.8894176816865645E-2</c:v>
                </c:pt>
                <c:pt idx="15">
                  <c:v>0.11016775484633312</c:v>
                </c:pt>
                <c:pt idx="16">
                  <c:v>0.11834396520972502</c:v>
                </c:pt>
                <c:pt idx="17">
                  <c:v>9.6598648327086908E-2</c:v>
                </c:pt>
                <c:pt idx="18">
                  <c:v>6.1097028176994049E-2</c:v>
                </c:pt>
                <c:pt idx="19">
                  <c:v>0.16894847846336619</c:v>
                </c:pt>
                <c:pt idx="20">
                  <c:v>0.22319557795331504</c:v>
                </c:pt>
                <c:pt idx="21">
                  <c:v>0.23619042362441514</c:v>
                </c:pt>
                <c:pt idx="22">
                  <c:v>0.15838727991296025</c:v>
                </c:pt>
                <c:pt idx="23">
                  <c:v>0.13911671488674451</c:v>
                </c:pt>
                <c:pt idx="24">
                  <c:v>9.415798919314565E-2</c:v>
                </c:pt>
                <c:pt idx="25">
                  <c:v>0.11701150269392042</c:v>
                </c:pt>
                <c:pt idx="26">
                  <c:v>0.10086473367086722</c:v>
                </c:pt>
                <c:pt idx="27">
                  <c:v>0.13792321708866109</c:v>
                </c:pt>
                <c:pt idx="28">
                  <c:v>4.4359914770372925E-2</c:v>
                </c:pt>
                <c:pt idx="29">
                  <c:v>0.18243649788371308</c:v>
                </c:pt>
                <c:pt idx="30">
                  <c:v>0.16755721685713187</c:v>
                </c:pt>
                <c:pt idx="31">
                  <c:v>0.16774075932794286</c:v>
                </c:pt>
                <c:pt idx="32">
                  <c:v>0.37982978749161495</c:v>
                </c:pt>
                <c:pt idx="33">
                  <c:v>0.38191408295090501</c:v>
                </c:pt>
                <c:pt idx="34">
                  <c:v>0.29171454078526726</c:v>
                </c:pt>
                <c:pt idx="35">
                  <c:v>0.15942024222771412</c:v>
                </c:pt>
                <c:pt idx="36">
                  <c:v>0.81867192547411016</c:v>
                </c:pt>
                <c:pt idx="37">
                  <c:v>0.35569571894568142</c:v>
                </c:pt>
                <c:pt idx="38">
                  <c:v>0.33132898587280307</c:v>
                </c:pt>
                <c:pt idx="39">
                  <c:v>0.55613443696125331</c:v>
                </c:pt>
                <c:pt idx="40">
                  <c:v>0.56592597226937413</c:v>
                </c:pt>
                <c:pt idx="41">
                  <c:v>1.0767302747804304</c:v>
                </c:pt>
                <c:pt idx="42">
                  <c:v>1.1610876344454037</c:v>
                </c:pt>
                <c:pt idx="43">
                  <c:v>0.63330158512584633</c:v>
                </c:pt>
                <c:pt idx="44">
                  <c:v>0.7521665747175883</c:v>
                </c:pt>
                <c:pt idx="45">
                  <c:v>0.67480800047521505</c:v>
                </c:pt>
                <c:pt idx="46">
                  <c:v>0.42591497651797006</c:v>
                </c:pt>
                <c:pt idx="47">
                  <c:v>0.7321550850592401</c:v>
                </c:pt>
                <c:pt idx="48">
                  <c:v>0.33440518203045033</c:v>
                </c:pt>
                <c:pt idx="49">
                  <c:v>0.12050185330560476</c:v>
                </c:pt>
                <c:pt idx="50">
                  <c:v>0.28251124230084118</c:v>
                </c:pt>
                <c:pt idx="51">
                  <c:v>9.0912192013893625E-2</c:v>
                </c:pt>
                <c:pt idx="52">
                  <c:v>0.67258198450183915</c:v>
                </c:pt>
                <c:pt idx="53">
                  <c:v>0.21551485038146043</c:v>
                </c:pt>
                <c:pt idx="54">
                  <c:v>8.690284537711962E-2</c:v>
                </c:pt>
                <c:pt idx="55">
                  <c:v>0.11752468809621956</c:v>
                </c:pt>
                <c:pt idx="56">
                  <c:v>8.2688615147238145E-2</c:v>
                </c:pt>
              </c:numCache>
            </c:numRef>
          </c:val>
          <c:smooth val="1"/>
          <c:extLst>
            <c:ext xmlns:c16="http://schemas.microsoft.com/office/drawing/2014/chart" uri="{C3380CC4-5D6E-409C-BE32-E72D297353CC}">
              <c16:uniqueId val="{00000000-A782-49EE-880C-CCE519442D85}"/>
            </c:ext>
          </c:extLst>
        </c:ser>
        <c:ser>
          <c:idx val="2"/>
          <c:order val="1"/>
          <c:tx>
            <c:strRef>
              <c:f>Sheet1!$D$1</c:f>
              <c:strCache>
                <c:ptCount val="1"/>
                <c:pt idx="0">
                  <c:v>LNG Northeast Asia</c:v>
                </c:pt>
              </c:strCache>
            </c:strRef>
          </c:tx>
          <c:spPr>
            <a:ln w="28575" cap="rnd">
              <a:solidFill>
                <a:srgbClr val="003E6E"/>
              </a:solidFill>
              <a:round/>
            </a:ln>
            <a:effectLst/>
          </c:spPr>
          <c:marker>
            <c:symbol val="none"/>
          </c:marker>
          <c:cat>
            <c:numRef>
              <c:f>Sheet1!$A$2:$A$1209</c:f>
              <c:numCache>
                <c:formatCode>m/d/yyyy</c:formatCode>
                <c:ptCount val="1208"/>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pt idx="51">
                  <c:v>45017</c:v>
                </c:pt>
                <c:pt idx="52">
                  <c:v>45047</c:v>
                </c:pt>
                <c:pt idx="53">
                  <c:v>45078</c:v>
                </c:pt>
                <c:pt idx="54">
                  <c:v>45108</c:v>
                </c:pt>
                <c:pt idx="55">
                  <c:v>45139</c:v>
                </c:pt>
                <c:pt idx="56">
                  <c:v>45170</c:v>
                </c:pt>
              </c:numCache>
            </c:numRef>
          </c:cat>
          <c:val>
            <c:numRef>
              <c:f>Sheet1!$D$2:$D$1209</c:f>
              <c:numCache>
                <c:formatCode>0.00</c:formatCode>
                <c:ptCount val="1208"/>
                <c:pt idx="0">
                  <c:v>0.5391583940494904</c:v>
                </c:pt>
                <c:pt idx="1">
                  <c:v>0.50854049165931836</c:v>
                </c:pt>
                <c:pt idx="2">
                  <c:v>0.65282045391792409</c:v>
                </c:pt>
                <c:pt idx="3">
                  <c:v>0.37831705999041182</c:v>
                </c:pt>
                <c:pt idx="4">
                  <c:v>0.40795407503139886</c:v>
                </c:pt>
                <c:pt idx="5">
                  <c:v>0.10994795479070534</c:v>
                </c:pt>
                <c:pt idx="6">
                  <c:v>0.10925516815010504</c:v>
                </c:pt>
                <c:pt idx="7">
                  <c:v>0.15677089974564365</c:v>
                </c:pt>
                <c:pt idx="8">
                  <c:v>0.6103217228552863</c:v>
                </c:pt>
                <c:pt idx="9">
                  <c:v>0.39895022712937311</c:v>
                </c:pt>
                <c:pt idx="10">
                  <c:v>0.18394023950673122</c:v>
                </c:pt>
                <c:pt idx="11">
                  <c:v>0.16685858263742126</c:v>
                </c:pt>
                <c:pt idx="12">
                  <c:v>0.60258736944476976</c:v>
                </c:pt>
                <c:pt idx="13">
                  <c:v>0.26271883735278673</c:v>
                </c:pt>
                <c:pt idx="14">
                  <c:v>0.34350443896226329</c:v>
                </c:pt>
                <c:pt idx="15">
                  <c:v>0.28945160459904273</c:v>
                </c:pt>
                <c:pt idx="16">
                  <c:v>0.25262095506663151</c:v>
                </c:pt>
                <c:pt idx="17">
                  <c:v>5.4624942082538278E-2</c:v>
                </c:pt>
                <c:pt idx="18">
                  <c:v>0.16961426269521332</c:v>
                </c:pt>
                <c:pt idx="19">
                  <c:v>0.48217336764134383</c:v>
                </c:pt>
                <c:pt idx="20">
                  <c:v>0.17482118963989313</c:v>
                </c:pt>
                <c:pt idx="21">
                  <c:v>0.89826416626552341</c:v>
                </c:pt>
                <c:pt idx="22">
                  <c:v>0.26353174304405308</c:v>
                </c:pt>
                <c:pt idx="23">
                  <c:v>2.4721750026760323</c:v>
                </c:pt>
                <c:pt idx="24">
                  <c:v>10.338220108477948</c:v>
                </c:pt>
                <c:pt idx="25">
                  <c:v>0.77390709229208265</c:v>
                </c:pt>
                <c:pt idx="26">
                  <c:v>0.53497751838706631</c:v>
                </c:pt>
                <c:pt idx="27">
                  <c:v>0.61608501345321898</c:v>
                </c:pt>
                <c:pt idx="28">
                  <c:v>0.38639754298454049</c:v>
                </c:pt>
                <c:pt idx="29">
                  <c:v>0.73866545397260996</c:v>
                </c:pt>
                <c:pt idx="30">
                  <c:v>0.75089725942693131</c:v>
                </c:pt>
                <c:pt idx="31">
                  <c:v>0.74774250468044512</c:v>
                </c:pt>
                <c:pt idx="32">
                  <c:v>4.2467398348858731</c:v>
                </c:pt>
                <c:pt idx="33">
                  <c:v>2.3840848679517204</c:v>
                </c:pt>
                <c:pt idx="34">
                  <c:v>3.9748430565573885</c:v>
                </c:pt>
                <c:pt idx="35">
                  <c:v>4.1943470233731253</c:v>
                </c:pt>
                <c:pt idx="36">
                  <c:v>3.7617337342640647</c:v>
                </c:pt>
                <c:pt idx="37">
                  <c:v>3.5228403533405426</c:v>
                </c:pt>
                <c:pt idx="38">
                  <c:v>6.9836877719461343</c:v>
                </c:pt>
                <c:pt idx="39">
                  <c:v>3.9154245858526919</c:v>
                </c:pt>
                <c:pt idx="40">
                  <c:v>1.1026176851643501</c:v>
                </c:pt>
                <c:pt idx="41">
                  <c:v>6.1828365497119098</c:v>
                </c:pt>
                <c:pt idx="42">
                  <c:v>2.2721060026988176</c:v>
                </c:pt>
                <c:pt idx="43">
                  <c:v>8.8038734578349906</c:v>
                </c:pt>
                <c:pt idx="44">
                  <c:v>7.3744955629016609</c:v>
                </c:pt>
                <c:pt idx="45">
                  <c:v>3.299611139735938</c:v>
                </c:pt>
                <c:pt idx="46">
                  <c:v>1.4534441073679543</c:v>
                </c:pt>
                <c:pt idx="47">
                  <c:v>2.6933487614901281</c:v>
                </c:pt>
                <c:pt idx="48">
                  <c:v>2.4483277328617623</c:v>
                </c:pt>
                <c:pt idx="49">
                  <c:v>1.6629125543997096</c:v>
                </c:pt>
                <c:pt idx="50">
                  <c:v>0.65226680497870371</c:v>
                </c:pt>
                <c:pt idx="51">
                  <c:v>0.40809176527943891</c:v>
                </c:pt>
                <c:pt idx="52">
                  <c:v>0.753176091765141</c:v>
                </c:pt>
                <c:pt idx="53">
                  <c:v>1.1416529682876624</c:v>
                </c:pt>
                <c:pt idx="54">
                  <c:v>0.66366876729810065</c:v>
                </c:pt>
                <c:pt idx="55">
                  <c:v>0.89894592198928069</c:v>
                </c:pt>
                <c:pt idx="56">
                  <c:v>#N/A</c:v>
                </c:pt>
                <c:pt idx="1207" formatCode="General">
                  <c:v>1</c:v>
                </c:pt>
              </c:numCache>
            </c:numRef>
          </c:val>
          <c:smooth val="1"/>
          <c:extLst>
            <c:ext xmlns:c16="http://schemas.microsoft.com/office/drawing/2014/chart" uri="{C3380CC4-5D6E-409C-BE32-E72D297353CC}">
              <c16:uniqueId val="{00000001-A782-49EE-880C-CCE519442D85}"/>
            </c:ext>
          </c:extLst>
        </c:ser>
        <c:ser>
          <c:idx val="0"/>
          <c:order val="2"/>
          <c:tx>
            <c:strRef>
              <c:f>Sheet1!$B$1</c:f>
              <c:strCache>
                <c:ptCount val="1"/>
                <c:pt idx="0">
                  <c:v>TTF</c:v>
                </c:pt>
              </c:strCache>
            </c:strRef>
          </c:tx>
          <c:spPr>
            <a:ln w="28575" cap="rnd">
              <a:solidFill>
                <a:srgbClr val="6F7278"/>
              </a:solidFill>
              <a:round/>
            </a:ln>
            <a:effectLst/>
          </c:spPr>
          <c:marker>
            <c:symbol val="none"/>
          </c:marker>
          <c:cat>
            <c:numRef>
              <c:f>Sheet1!$A$2:$A$1209</c:f>
              <c:numCache>
                <c:formatCode>m/d/yyyy</c:formatCode>
                <c:ptCount val="1208"/>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pt idx="51">
                  <c:v>45017</c:v>
                </c:pt>
                <c:pt idx="52">
                  <c:v>45047</c:v>
                </c:pt>
                <c:pt idx="53">
                  <c:v>45078</c:v>
                </c:pt>
                <c:pt idx="54">
                  <c:v>45108</c:v>
                </c:pt>
                <c:pt idx="55">
                  <c:v>45139</c:v>
                </c:pt>
                <c:pt idx="56">
                  <c:v>45170</c:v>
                </c:pt>
              </c:numCache>
            </c:numRef>
          </c:cat>
          <c:val>
            <c:numRef>
              <c:f>Sheet1!$B$2:$B$1209</c:f>
              <c:numCache>
                <c:formatCode>0.00</c:formatCode>
                <c:ptCount val="1208"/>
                <c:pt idx="0">
                  <c:v>0.26701927593690866</c:v>
                </c:pt>
                <c:pt idx="1">
                  <c:v>0.24964917335283326</c:v>
                </c:pt>
                <c:pt idx="2">
                  <c:v>0.36322840287932218</c:v>
                </c:pt>
                <c:pt idx="3">
                  <c:v>0.29213057538355525</c:v>
                </c:pt>
                <c:pt idx="4">
                  <c:v>0.32844165303056799</c:v>
                </c:pt>
                <c:pt idx="5">
                  <c:v>0.23355537458271822</c:v>
                </c:pt>
                <c:pt idx="6">
                  <c:v>0.3471874441444836</c:v>
                </c:pt>
                <c:pt idx="7">
                  <c:v>0.2261104415318371</c:v>
                </c:pt>
                <c:pt idx="8">
                  <c:v>0.42200475552983124</c:v>
                </c:pt>
                <c:pt idx="9">
                  <c:v>0.21725402317828466</c:v>
                </c:pt>
                <c:pt idx="10">
                  <c:v>0.13249987490941487</c:v>
                </c:pt>
                <c:pt idx="11">
                  <c:v>0.38330163476766815</c:v>
                </c:pt>
                <c:pt idx="12">
                  <c:v>0.29723024359905276</c:v>
                </c:pt>
                <c:pt idx="13">
                  <c:v>8.9584828011088413E-2</c:v>
                </c:pt>
                <c:pt idx="14">
                  <c:v>0.26482554641419315</c:v>
                </c:pt>
                <c:pt idx="15">
                  <c:v>0.1633271799660555</c:v>
                </c:pt>
                <c:pt idx="16">
                  <c:v>0.23876436491991418</c:v>
                </c:pt>
                <c:pt idx="17">
                  <c:v>0.14557553993972491</c:v>
                </c:pt>
                <c:pt idx="18">
                  <c:v>0.14653583435221015</c:v>
                </c:pt>
                <c:pt idx="19">
                  <c:v>0.40163701728372636</c:v>
                </c:pt>
                <c:pt idx="20">
                  <c:v>0.21074408505487333</c:v>
                </c:pt>
                <c:pt idx="21">
                  <c:v>0.24043195636732853</c:v>
                </c:pt>
                <c:pt idx="22">
                  <c:v>0.17648330875528909</c:v>
                </c:pt>
                <c:pt idx="23">
                  <c:v>0.59134451724203696</c:v>
                </c:pt>
                <c:pt idx="24">
                  <c:v>0.59732808757028988</c:v>
                </c:pt>
                <c:pt idx="25">
                  <c:v>0.39817337767054622</c:v>
                </c:pt>
                <c:pt idx="26">
                  <c:v>0.33357162582560645</c:v>
                </c:pt>
                <c:pt idx="27">
                  <c:v>0.45521711497713274</c:v>
                </c:pt>
                <c:pt idx="28">
                  <c:v>0.41409270369818441</c:v>
                </c:pt>
                <c:pt idx="29">
                  <c:v>0.8187811275408996</c:v>
                </c:pt>
                <c:pt idx="30">
                  <c:v>0.77846746689027813</c:v>
                </c:pt>
                <c:pt idx="31">
                  <c:v>0.92359405808786799</c:v>
                </c:pt>
                <c:pt idx="32">
                  <c:v>3.9950208450117812</c:v>
                </c:pt>
                <c:pt idx="33">
                  <c:v>2.5890097859821712</c:v>
                </c:pt>
                <c:pt idx="34">
                  <c:v>2.8457800670254425</c:v>
                </c:pt>
                <c:pt idx="35">
                  <c:v>8.5400369881573202</c:v>
                </c:pt>
                <c:pt idx="36">
                  <c:v>2.1417928098347043</c:v>
                </c:pt>
                <c:pt idx="37">
                  <c:v>5.4528074570321658</c:v>
                </c:pt>
                <c:pt idx="38">
                  <c:v>11.776187283287292</c:v>
                </c:pt>
                <c:pt idx="39">
                  <c:v>1.9545154129849849</c:v>
                </c:pt>
                <c:pt idx="40">
                  <c:v>2.0316602213013719</c:v>
                </c:pt>
                <c:pt idx="41">
                  <c:v>6.6061864917411253</c:v>
                </c:pt>
                <c:pt idx="42">
                  <c:v>5.1165528855435136</c:v>
                </c:pt>
                <c:pt idx="43">
                  <c:v>11.885688783210561</c:v>
                </c:pt>
                <c:pt idx="44">
                  <c:v>5.5142888682657381</c:v>
                </c:pt>
                <c:pt idx="45">
                  <c:v>7.5195046491812851</c:v>
                </c:pt>
                <c:pt idx="46">
                  <c:v>2.2277762117603923</c:v>
                </c:pt>
                <c:pt idx="47">
                  <c:v>7.4372341912411999</c:v>
                </c:pt>
                <c:pt idx="48">
                  <c:v>1.7995658665108778</c:v>
                </c:pt>
                <c:pt idx="49">
                  <c:v>1.1026138354248156</c:v>
                </c:pt>
                <c:pt idx="50">
                  <c:v>0.89725519987751423</c:v>
                </c:pt>
                <c:pt idx="51">
                  <c:v>0.92945664976295073</c:v>
                </c:pt>
                <c:pt idx="52">
                  <c:v>1.5206001926968753</c:v>
                </c:pt>
                <c:pt idx="53">
                  <c:v>1.657843353890921</c:v>
                </c:pt>
                <c:pt idx="54">
                  <c:v>0.73762845345925632</c:v>
                </c:pt>
                <c:pt idx="55">
                  <c:v>1.2737663084466853</c:v>
                </c:pt>
                <c:pt idx="56">
                  <c:v>0.90736009277696505</c:v>
                </c:pt>
              </c:numCache>
            </c:numRef>
          </c:val>
          <c:smooth val="1"/>
          <c:extLst>
            <c:ext xmlns:c16="http://schemas.microsoft.com/office/drawing/2014/chart" uri="{C3380CC4-5D6E-409C-BE32-E72D297353CC}">
              <c16:uniqueId val="{00000002-A782-49EE-880C-CCE519442D85}"/>
            </c:ext>
          </c:extLst>
        </c:ser>
        <c:dLbls>
          <c:showLegendKey val="0"/>
          <c:showVal val="0"/>
          <c:showCatName val="0"/>
          <c:showSerName val="0"/>
          <c:showPercent val="0"/>
          <c:showBubbleSize val="0"/>
        </c:dLbls>
        <c:smooth val="0"/>
        <c:axId val="1242319567"/>
        <c:axId val="1070369535"/>
      </c:lineChart>
      <c:dateAx>
        <c:axId val="1242319567"/>
        <c:scaling>
          <c:orientation val="minMax"/>
        </c:scaling>
        <c:delete val="0"/>
        <c:axPos val="b"/>
        <c:numFmt formatCode="[$-409]mmm\-yy;@" sourceLinked="0"/>
        <c:majorTickMark val="none"/>
        <c:minorTickMark val="none"/>
        <c:tickLblPos val="nextTo"/>
        <c:spPr>
          <a:noFill/>
          <a:ln w="9525" cap="flat" cmpd="sng" algn="ctr">
            <a:solidFill>
              <a:schemeClr val="tx1">
                <a:lumMod val="85000"/>
                <a:lumOff val="15000"/>
              </a:schemeClr>
            </a:solidFill>
            <a:round/>
          </a:ln>
          <a:effectLst/>
        </c:spPr>
        <c:txPr>
          <a:bodyPr rot="0" spcFirstLastPara="1" vertOverflow="ellipsis"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1070369535"/>
        <c:crosses val="autoZero"/>
        <c:auto val="0"/>
        <c:lblOffset val="100"/>
        <c:baseTimeUnit val="days"/>
        <c:majorUnit val="12"/>
        <c:majorTimeUnit val="months"/>
      </c:dateAx>
      <c:valAx>
        <c:axId val="1070369535"/>
        <c:scaling>
          <c:orientation val="minMax"/>
          <c:max val="15"/>
          <c:min val="0"/>
        </c:scaling>
        <c:delete val="0"/>
        <c:axPos val="l"/>
        <c:numFmt formatCode="0" sourceLinked="0"/>
        <c:majorTickMark val="none"/>
        <c:minorTickMark val="none"/>
        <c:tickLblPos val="nextTo"/>
        <c:spPr>
          <a:noFill/>
          <a:ln>
            <a:solidFill>
              <a:schemeClr val="tx1">
                <a:lumMod val="85000"/>
                <a:lumOff val="15000"/>
              </a:schemeClr>
            </a:solid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1242319567"/>
        <c:crosses val="autoZero"/>
        <c:crossBetween val="midCat"/>
        <c:majorUnit val="1"/>
      </c:valAx>
      <c:spPr>
        <a:noFill/>
        <a:ln>
          <a:noFill/>
        </a:ln>
        <a:effectLst/>
      </c:spPr>
    </c:plotArea>
    <c:legend>
      <c:legendPos val="b"/>
      <c:layout>
        <c:manualLayout>
          <c:xMode val="edge"/>
          <c:yMode val="edge"/>
          <c:x val="0"/>
          <c:y val="0.92617938063864469"/>
          <c:w val="0.99953512129433697"/>
          <c:h val="5.6327907991092954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85000"/>
              <a:lumOff val="15000"/>
            </a:schemeClr>
          </a:solidFill>
          <a:latin typeface="Ubuntu" panose="020B050403060203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Power</c:v>
                </c:pt>
              </c:strCache>
            </c:strRef>
          </c:tx>
          <c:spPr>
            <a:solidFill>
              <a:srgbClr val="1963A1"/>
            </a:solidFill>
            <a:ln>
              <a:noFill/>
            </a:ln>
            <a:effectLst/>
          </c:spPr>
          <c:invertIfNegative val="0"/>
          <c:cat>
            <c:strRef>
              <c:f>Sheet1!$A$2:$A$9</c:f>
              <c:strCache>
                <c:ptCount val="8"/>
                <c:pt idx="0">
                  <c:v>North America</c:v>
                </c:pt>
                <c:pt idx="1">
                  <c:v>Africa</c:v>
                </c:pt>
                <c:pt idx="2">
                  <c:v>Middle East</c:v>
                </c:pt>
                <c:pt idx="3">
                  <c:v>Australia</c:v>
                </c:pt>
                <c:pt idx="4">
                  <c:v>South America</c:v>
                </c:pt>
                <c:pt idx="5">
                  <c:v>Asia</c:v>
                </c:pt>
                <c:pt idx="6">
                  <c:v>Russia</c:v>
                </c:pt>
                <c:pt idx="7">
                  <c:v>Europe</c:v>
                </c:pt>
              </c:strCache>
            </c:strRef>
          </c:cat>
          <c:val>
            <c:numRef>
              <c:f>Sheet1!$B$2:$B$9</c:f>
              <c:numCache>
                <c:formatCode>0.00</c:formatCode>
                <c:ptCount val="8"/>
                <c:pt idx="0">
                  <c:v>24.724648057631235</c:v>
                </c:pt>
                <c:pt idx="1">
                  <c:v>-0.60492534408328058</c:v>
                </c:pt>
                <c:pt idx="2">
                  <c:v>3.6847843921818906</c:v>
                </c:pt>
                <c:pt idx="3">
                  <c:v>1.5260199999999973</c:v>
                </c:pt>
                <c:pt idx="4">
                  <c:v>-10.888570882660336</c:v>
                </c:pt>
                <c:pt idx="5">
                  <c:v>-11.761430124553831</c:v>
                </c:pt>
                <c:pt idx="6">
                  <c:v>-4.7820196499713932</c:v>
                </c:pt>
                <c:pt idx="7">
                  <c:v>-0.68453405324047722</c:v>
                </c:pt>
              </c:numCache>
            </c:numRef>
          </c:val>
          <c:extLst>
            <c:ext xmlns:c16="http://schemas.microsoft.com/office/drawing/2014/chart" uri="{C3380CC4-5D6E-409C-BE32-E72D297353CC}">
              <c16:uniqueId val="{00000000-8115-4AC4-B1C4-E39456E4CA88}"/>
            </c:ext>
          </c:extLst>
        </c:ser>
        <c:ser>
          <c:idx val="1"/>
          <c:order val="1"/>
          <c:tx>
            <c:strRef>
              <c:f>Sheet1!$C$1</c:f>
              <c:strCache>
                <c:ptCount val="1"/>
                <c:pt idx="0">
                  <c:v>Industrial</c:v>
                </c:pt>
              </c:strCache>
            </c:strRef>
          </c:tx>
          <c:spPr>
            <a:solidFill>
              <a:srgbClr val="17A756"/>
            </a:solidFill>
            <a:ln>
              <a:noFill/>
            </a:ln>
            <a:effectLst/>
          </c:spPr>
          <c:invertIfNegative val="0"/>
          <c:cat>
            <c:strRef>
              <c:f>Sheet1!$A$2:$A$9</c:f>
              <c:strCache>
                <c:ptCount val="8"/>
                <c:pt idx="0">
                  <c:v>North America</c:v>
                </c:pt>
                <c:pt idx="1">
                  <c:v>Africa</c:v>
                </c:pt>
                <c:pt idx="2">
                  <c:v>Middle East</c:v>
                </c:pt>
                <c:pt idx="3">
                  <c:v>Australia</c:v>
                </c:pt>
                <c:pt idx="4">
                  <c:v>South America</c:v>
                </c:pt>
                <c:pt idx="5">
                  <c:v>Asia</c:v>
                </c:pt>
                <c:pt idx="6">
                  <c:v>Russia</c:v>
                </c:pt>
                <c:pt idx="7">
                  <c:v>Europe</c:v>
                </c:pt>
              </c:strCache>
            </c:strRef>
          </c:cat>
          <c:val>
            <c:numRef>
              <c:f>Sheet1!$C$2:$C$9</c:f>
              <c:numCache>
                <c:formatCode>0.00</c:formatCode>
                <c:ptCount val="8"/>
                <c:pt idx="0">
                  <c:v>6.4809055082150699</c:v>
                </c:pt>
                <c:pt idx="1">
                  <c:v>3.7545523100802534</c:v>
                </c:pt>
                <c:pt idx="2">
                  <c:v>-2.6415550250551543</c:v>
                </c:pt>
                <c:pt idx="3">
                  <c:v>0.36774999999999736</c:v>
                </c:pt>
                <c:pt idx="4">
                  <c:v>0.76124545375756791</c:v>
                </c:pt>
                <c:pt idx="5">
                  <c:v>-1.081355024802567</c:v>
                </c:pt>
                <c:pt idx="6">
                  <c:v>-1.1634612505505975</c:v>
                </c:pt>
                <c:pt idx="7">
                  <c:v>-27.326840865169103</c:v>
                </c:pt>
              </c:numCache>
            </c:numRef>
          </c:val>
          <c:extLst>
            <c:ext xmlns:c16="http://schemas.microsoft.com/office/drawing/2014/chart" uri="{C3380CC4-5D6E-409C-BE32-E72D297353CC}">
              <c16:uniqueId val="{00000001-8115-4AC4-B1C4-E39456E4CA88}"/>
            </c:ext>
          </c:extLst>
        </c:ser>
        <c:ser>
          <c:idx val="2"/>
          <c:order val="2"/>
          <c:tx>
            <c:strRef>
              <c:f>Sheet1!$D$1</c:f>
              <c:strCache>
                <c:ptCount val="1"/>
                <c:pt idx="0">
                  <c:v>Residential</c:v>
                </c:pt>
              </c:strCache>
            </c:strRef>
          </c:tx>
          <c:spPr>
            <a:solidFill>
              <a:srgbClr val="F99F3B"/>
            </a:solidFill>
            <a:ln>
              <a:noFill/>
            </a:ln>
            <a:effectLst/>
          </c:spPr>
          <c:invertIfNegative val="0"/>
          <c:cat>
            <c:strRef>
              <c:f>Sheet1!$A$2:$A$9</c:f>
              <c:strCache>
                <c:ptCount val="8"/>
                <c:pt idx="0">
                  <c:v>North America</c:v>
                </c:pt>
                <c:pt idx="1">
                  <c:v>Africa</c:v>
                </c:pt>
                <c:pt idx="2">
                  <c:v>Middle East</c:v>
                </c:pt>
                <c:pt idx="3">
                  <c:v>Australia</c:v>
                </c:pt>
                <c:pt idx="4">
                  <c:v>South America</c:v>
                </c:pt>
                <c:pt idx="5">
                  <c:v>Asia</c:v>
                </c:pt>
                <c:pt idx="6">
                  <c:v>Russia</c:v>
                </c:pt>
                <c:pt idx="7">
                  <c:v>Europe</c:v>
                </c:pt>
              </c:strCache>
            </c:strRef>
          </c:cat>
          <c:val>
            <c:numRef>
              <c:f>Sheet1!$D$2:$D$9</c:f>
              <c:numCache>
                <c:formatCode>0.00</c:formatCode>
                <c:ptCount val="8"/>
                <c:pt idx="0">
                  <c:v>8.0601623065397305</c:v>
                </c:pt>
                <c:pt idx="1">
                  <c:v>1.1865892885880311</c:v>
                </c:pt>
                <c:pt idx="2">
                  <c:v>-1.1992613116535915</c:v>
                </c:pt>
                <c:pt idx="3">
                  <c:v>0</c:v>
                </c:pt>
                <c:pt idx="4">
                  <c:v>-0.96620296807890949</c:v>
                </c:pt>
                <c:pt idx="5">
                  <c:v>-1.7327206809968729</c:v>
                </c:pt>
                <c:pt idx="6">
                  <c:v>-0.58173062527530217</c:v>
                </c:pt>
                <c:pt idx="7">
                  <c:v>-25.736887639957207</c:v>
                </c:pt>
              </c:numCache>
            </c:numRef>
          </c:val>
          <c:extLst>
            <c:ext xmlns:c16="http://schemas.microsoft.com/office/drawing/2014/chart" uri="{C3380CC4-5D6E-409C-BE32-E72D297353CC}">
              <c16:uniqueId val="{00000002-8115-4AC4-B1C4-E39456E4CA88}"/>
            </c:ext>
          </c:extLst>
        </c:ser>
        <c:ser>
          <c:idx val="3"/>
          <c:order val="3"/>
          <c:tx>
            <c:strRef>
              <c:f>Sheet1!$E$1</c:f>
              <c:strCache>
                <c:ptCount val="1"/>
                <c:pt idx="0">
                  <c:v>Others</c:v>
                </c:pt>
              </c:strCache>
            </c:strRef>
          </c:tx>
          <c:spPr>
            <a:solidFill>
              <a:srgbClr val="FEBD28"/>
            </a:solidFill>
            <a:ln>
              <a:noFill/>
            </a:ln>
            <a:effectLst/>
          </c:spPr>
          <c:invertIfNegative val="0"/>
          <c:cat>
            <c:strRef>
              <c:f>Sheet1!$A$2:$A$9</c:f>
              <c:strCache>
                <c:ptCount val="8"/>
                <c:pt idx="0">
                  <c:v>North America</c:v>
                </c:pt>
                <c:pt idx="1">
                  <c:v>Africa</c:v>
                </c:pt>
                <c:pt idx="2">
                  <c:v>Middle East</c:v>
                </c:pt>
                <c:pt idx="3">
                  <c:v>Australia</c:v>
                </c:pt>
                <c:pt idx="4">
                  <c:v>South America</c:v>
                </c:pt>
                <c:pt idx="5">
                  <c:v>Asia</c:v>
                </c:pt>
                <c:pt idx="6">
                  <c:v>Russia</c:v>
                </c:pt>
                <c:pt idx="7">
                  <c:v>Europe</c:v>
                </c:pt>
              </c:strCache>
            </c:strRef>
          </c:cat>
          <c:val>
            <c:numRef>
              <c:f>Sheet1!$E$2:$E$9</c:f>
              <c:numCache>
                <c:formatCode>0.00</c:formatCode>
                <c:ptCount val="8"/>
                <c:pt idx="0">
                  <c:v>7.0446901671119805E-2</c:v>
                </c:pt>
                <c:pt idx="1">
                  <c:v>-0.33370996298576122</c:v>
                </c:pt>
                <c:pt idx="2">
                  <c:v>0.96504167780369521</c:v>
                </c:pt>
                <c:pt idx="3">
                  <c:v>-0.26454600000000106</c:v>
                </c:pt>
                <c:pt idx="4">
                  <c:v>-0.29491708690396956</c:v>
                </c:pt>
                <c:pt idx="5">
                  <c:v>-0.22038181418635711</c:v>
                </c:pt>
                <c:pt idx="6">
                  <c:v>-0.80936181894552806</c:v>
                </c:pt>
                <c:pt idx="7">
                  <c:v>-0.43503056187532435</c:v>
                </c:pt>
              </c:numCache>
            </c:numRef>
          </c:val>
          <c:extLst>
            <c:ext xmlns:c16="http://schemas.microsoft.com/office/drawing/2014/chart" uri="{C3380CC4-5D6E-409C-BE32-E72D297353CC}">
              <c16:uniqueId val="{00000003-8115-4AC4-B1C4-E39456E4CA88}"/>
            </c:ext>
          </c:extLst>
        </c:ser>
        <c:ser>
          <c:idx val="4"/>
          <c:order val="4"/>
          <c:tx>
            <c:strRef>
              <c:f>Sheet1!$F$1</c:f>
              <c:strCache>
                <c:ptCount val="1"/>
                <c:pt idx="0">
                  <c:v>Commercial</c:v>
                </c:pt>
              </c:strCache>
            </c:strRef>
          </c:tx>
          <c:spPr>
            <a:solidFill>
              <a:srgbClr val="5298D2"/>
            </a:solidFill>
            <a:ln>
              <a:noFill/>
            </a:ln>
            <a:effectLst/>
          </c:spPr>
          <c:invertIfNegative val="0"/>
          <c:cat>
            <c:strRef>
              <c:f>Sheet1!$A$2:$A$9</c:f>
              <c:strCache>
                <c:ptCount val="8"/>
                <c:pt idx="0">
                  <c:v>North America</c:v>
                </c:pt>
                <c:pt idx="1">
                  <c:v>Africa</c:v>
                </c:pt>
                <c:pt idx="2">
                  <c:v>Middle East</c:v>
                </c:pt>
                <c:pt idx="3">
                  <c:v>Australia</c:v>
                </c:pt>
                <c:pt idx="4">
                  <c:v>South America</c:v>
                </c:pt>
                <c:pt idx="5">
                  <c:v>Asia</c:v>
                </c:pt>
                <c:pt idx="6">
                  <c:v>Russia</c:v>
                </c:pt>
                <c:pt idx="7">
                  <c:v>Europe</c:v>
                </c:pt>
              </c:strCache>
            </c:strRef>
          </c:cat>
          <c:val>
            <c:numRef>
              <c:f>Sheet1!$F$2:$F$9</c:f>
              <c:numCache>
                <c:formatCode>0.00</c:formatCode>
                <c:ptCount val="8"/>
                <c:pt idx="0">
                  <c:v>6.1286461917483548</c:v>
                </c:pt>
                <c:pt idx="1">
                  <c:v>1.3179168396367813</c:v>
                </c:pt>
                <c:pt idx="2">
                  <c:v>4.8972964817799967E-3</c:v>
                </c:pt>
                <c:pt idx="3">
                  <c:v>0</c:v>
                </c:pt>
                <c:pt idx="4">
                  <c:v>0.17230358364071627</c:v>
                </c:pt>
                <c:pt idx="5">
                  <c:v>-1.4109371057666906</c:v>
                </c:pt>
                <c:pt idx="6">
                  <c:v>-9.6955104212550228E-2</c:v>
                </c:pt>
                <c:pt idx="7">
                  <c:v>-10.890256877481255</c:v>
                </c:pt>
              </c:numCache>
            </c:numRef>
          </c:val>
          <c:extLst>
            <c:ext xmlns:c16="http://schemas.microsoft.com/office/drawing/2014/chart" uri="{C3380CC4-5D6E-409C-BE32-E72D297353CC}">
              <c16:uniqueId val="{00000004-8115-4AC4-B1C4-E39456E4CA88}"/>
            </c:ext>
          </c:extLst>
        </c:ser>
        <c:ser>
          <c:idx val="5"/>
          <c:order val="5"/>
          <c:tx>
            <c:strRef>
              <c:f>Sheet1!$G$1</c:f>
              <c:strCache>
                <c:ptCount val="1"/>
                <c:pt idx="0">
                  <c:v>Heat</c:v>
                </c:pt>
              </c:strCache>
            </c:strRef>
          </c:tx>
          <c:spPr>
            <a:solidFill>
              <a:srgbClr val="6DB256"/>
            </a:solidFill>
            <a:ln>
              <a:noFill/>
            </a:ln>
            <a:effectLst/>
          </c:spPr>
          <c:invertIfNegative val="0"/>
          <c:cat>
            <c:strRef>
              <c:f>Sheet1!$A$2:$A$9</c:f>
              <c:strCache>
                <c:ptCount val="8"/>
                <c:pt idx="0">
                  <c:v>North America</c:v>
                </c:pt>
                <c:pt idx="1">
                  <c:v>Africa</c:v>
                </c:pt>
                <c:pt idx="2">
                  <c:v>Middle East</c:v>
                </c:pt>
                <c:pt idx="3">
                  <c:v>Australia</c:v>
                </c:pt>
                <c:pt idx="4">
                  <c:v>South America</c:v>
                </c:pt>
                <c:pt idx="5">
                  <c:v>Asia</c:v>
                </c:pt>
                <c:pt idx="6">
                  <c:v>Russia</c:v>
                </c:pt>
                <c:pt idx="7">
                  <c:v>Europe</c:v>
                </c:pt>
              </c:strCache>
            </c:strRef>
          </c:cat>
          <c:val>
            <c:numRef>
              <c:f>Sheet1!$G$2:$G$9</c:f>
              <c:numCache>
                <c:formatCode>0.00</c:formatCode>
                <c:ptCount val="8"/>
                <c:pt idx="0">
                  <c:v>0</c:v>
                </c:pt>
                <c:pt idx="1">
                  <c:v>0</c:v>
                </c:pt>
                <c:pt idx="2">
                  <c:v>0</c:v>
                </c:pt>
                <c:pt idx="3">
                  <c:v>0</c:v>
                </c:pt>
                <c:pt idx="4">
                  <c:v>0</c:v>
                </c:pt>
                <c:pt idx="5">
                  <c:v>0.36502513085292304</c:v>
                </c:pt>
                <c:pt idx="6">
                  <c:v>-16.048202759469724</c:v>
                </c:pt>
                <c:pt idx="7">
                  <c:v>-1.747802058702669</c:v>
                </c:pt>
              </c:numCache>
            </c:numRef>
          </c:val>
          <c:extLst>
            <c:ext xmlns:c16="http://schemas.microsoft.com/office/drawing/2014/chart" uri="{C3380CC4-5D6E-409C-BE32-E72D297353CC}">
              <c16:uniqueId val="{00000005-8115-4AC4-B1C4-E39456E4CA88}"/>
            </c:ext>
          </c:extLst>
        </c:ser>
        <c:ser>
          <c:idx val="6"/>
          <c:order val="6"/>
          <c:tx>
            <c:strRef>
              <c:f>Sheet1!$H$1</c:f>
              <c:strCache>
                <c:ptCount val="1"/>
                <c:pt idx="0">
                  <c:v>Transportation</c:v>
                </c:pt>
              </c:strCache>
            </c:strRef>
          </c:tx>
          <c:spPr>
            <a:solidFill>
              <a:srgbClr val="54B9EA"/>
            </a:solidFill>
            <a:ln>
              <a:noFill/>
            </a:ln>
            <a:effectLst/>
          </c:spPr>
          <c:invertIfNegative val="0"/>
          <c:cat>
            <c:strRef>
              <c:f>Sheet1!$A$2:$A$9</c:f>
              <c:strCache>
                <c:ptCount val="8"/>
                <c:pt idx="0">
                  <c:v>North America</c:v>
                </c:pt>
                <c:pt idx="1">
                  <c:v>Africa</c:v>
                </c:pt>
                <c:pt idx="2">
                  <c:v>Middle East</c:v>
                </c:pt>
                <c:pt idx="3">
                  <c:v>Australia</c:v>
                </c:pt>
                <c:pt idx="4">
                  <c:v>South America</c:v>
                </c:pt>
                <c:pt idx="5">
                  <c:v>Asia</c:v>
                </c:pt>
                <c:pt idx="6">
                  <c:v>Russia</c:v>
                </c:pt>
                <c:pt idx="7">
                  <c:v>Europe</c:v>
                </c:pt>
              </c:strCache>
            </c:strRef>
          </c:cat>
          <c:val>
            <c:numRef>
              <c:f>Sheet1!$H$2:$H$9</c:f>
              <c:numCache>
                <c:formatCode>0.00</c:formatCode>
                <c:ptCount val="8"/>
                <c:pt idx="0">
                  <c:v>6.1065999148017823E-2</c:v>
                </c:pt>
                <c:pt idx="1">
                  <c:v>9.171191203681232E-3</c:v>
                </c:pt>
                <c:pt idx="2">
                  <c:v>0.33520097959146894</c:v>
                </c:pt>
                <c:pt idx="3">
                  <c:v>1.8040599999999962E-2</c:v>
                </c:pt>
                <c:pt idx="4">
                  <c:v>0.6871367714154103</c:v>
                </c:pt>
                <c:pt idx="5">
                  <c:v>-3.2044116492923602</c:v>
                </c:pt>
                <c:pt idx="6">
                  <c:v>0.19391020842510304</c:v>
                </c:pt>
                <c:pt idx="7">
                  <c:v>8.8080799622184638E-2</c:v>
                </c:pt>
              </c:numCache>
            </c:numRef>
          </c:val>
          <c:extLst>
            <c:ext xmlns:c16="http://schemas.microsoft.com/office/drawing/2014/chart" uri="{C3380CC4-5D6E-409C-BE32-E72D297353CC}">
              <c16:uniqueId val="{00000006-8115-4AC4-B1C4-E39456E4CA88}"/>
            </c:ext>
          </c:extLst>
        </c:ser>
        <c:ser>
          <c:idx val="7"/>
          <c:order val="7"/>
          <c:tx>
            <c:strRef>
              <c:f>Sheet1!$I$1</c:f>
              <c:strCache>
                <c:ptCount val="1"/>
                <c:pt idx="0">
                  <c:v>Fuel Gas</c:v>
                </c:pt>
              </c:strCache>
            </c:strRef>
          </c:tx>
          <c:spPr>
            <a:solidFill>
              <a:srgbClr val="02132B"/>
            </a:solidFill>
            <a:ln>
              <a:noFill/>
            </a:ln>
            <a:effectLst/>
          </c:spPr>
          <c:invertIfNegative val="0"/>
          <c:cat>
            <c:strRef>
              <c:f>Sheet1!$A$2:$A$9</c:f>
              <c:strCache>
                <c:ptCount val="8"/>
                <c:pt idx="0">
                  <c:v>North America</c:v>
                </c:pt>
                <c:pt idx="1">
                  <c:v>Africa</c:v>
                </c:pt>
                <c:pt idx="2">
                  <c:v>Middle East</c:v>
                </c:pt>
                <c:pt idx="3">
                  <c:v>Australia</c:v>
                </c:pt>
                <c:pt idx="4">
                  <c:v>South America</c:v>
                </c:pt>
                <c:pt idx="5">
                  <c:v>Asia</c:v>
                </c:pt>
                <c:pt idx="6">
                  <c:v>Russia</c:v>
                </c:pt>
                <c:pt idx="7">
                  <c:v>Europe</c:v>
                </c:pt>
              </c:strCache>
            </c:strRef>
          </c:cat>
          <c:val>
            <c:numRef>
              <c:f>Sheet1!$I$2:$I$9</c:f>
              <c:numCache>
                <c:formatCode>0.00</c:formatCode>
                <c:ptCount val="8"/>
                <c:pt idx="0">
                  <c:v>3.9017129550465923</c:v>
                </c:pt>
                <c:pt idx="1">
                  <c:v>-0.11957433233970352</c:v>
                </c:pt>
                <c:pt idx="2">
                  <c:v>1.4899140352763409</c:v>
                </c:pt>
                <c:pt idx="3">
                  <c:v>0</c:v>
                </c:pt>
                <c:pt idx="4">
                  <c:v>0.13645282982952933</c:v>
                </c:pt>
                <c:pt idx="5">
                  <c:v>0.19783254074574638</c:v>
                </c:pt>
                <c:pt idx="6">
                  <c:v>0</c:v>
                </c:pt>
                <c:pt idx="7">
                  <c:v>0.67268024949380212</c:v>
                </c:pt>
              </c:numCache>
            </c:numRef>
          </c:val>
          <c:extLst>
            <c:ext xmlns:c16="http://schemas.microsoft.com/office/drawing/2014/chart" uri="{C3380CC4-5D6E-409C-BE32-E72D297353CC}">
              <c16:uniqueId val="{00000007-8115-4AC4-B1C4-E39456E4CA88}"/>
            </c:ext>
          </c:extLst>
        </c:ser>
        <c:ser>
          <c:idx val="8"/>
          <c:order val="8"/>
          <c:tx>
            <c:strRef>
              <c:f>Sheet1!$J$1</c:f>
              <c:strCache>
                <c:ptCount val="1"/>
                <c:pt idx="0">
                  <c:v>Grand Total</c:v>
                </c:pt>
              </c:strCache>
            </c:strRef>
          </c:tx>
          <c:spPr>
            <a:no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orth America</c:v>
                </c:pt>
                <c:pt idx="1">
                  <c:v>Africa</c:v>
                </c:pt>
                <c:pt idx="2">
                  <c:v>Middle East</c:v>
                </c:pt>
                <c:pt idx="3">
                  <c:v>Australia</c:v>
                </c:pt>
                <c:pt idx="4">
                  <c:v>South America</c:v>
                </c:pt>
                <c:pt idx="5">
                  <c:v>Asia</c:v>
                </c:pt>
                <c:pt idx="6">
                  <c:v>Russia</c:v>
                </c:pt>
                <c:pt idx="7">
                  <c:v>Europe</c:v>
                </c:pt>
              </c:strCache>
            </c:strRef>
          </c:cat>
          <c:val>
            <c:numRef>
              <c:f>Sheet1!$J$2:$J$9</c:f>
              <c:numCache>
                <c:formatCode>0</c:formatCode>
                <c:ptCount val="8"/>
                <c:pt idx="0">
                  <c:v>49.427587920000121</c:v>
                </c:pt>
                <c:pt idx="1">
                  <c:v>5.2100199901000028</c:v>
                </c:pt>
                <c:pt idx="2">
                  <c:v>2.6390220446264299</c:v>
                </c:pt>
                <c:pt idx="3">
                  <c:v>1.6472645999999935</c:v>
                </c:pt>
                <c:pt idx="4">
                  <c:v>-10.392552298999993</c:v>
                </c:pt>
                <c:pt idx="5">
                  <c:v>-18.848378728000011</c:v>
                </c:pt>
                <c:pt idx="6">
                  <c:v>-23.287820999999994</c:v>
                </c:pt>
                <c:pt idx="7">
                  <c:v>-66.060591007310038</c:v>
                </c:pt>
              </c:numCache>
            </c:numRef>
          </c:val>
          <c:extLst>
            <c:ext xmlns:c16="http://schemas.microsoft.com/office/drawing/2014/chart" uri="{C3380CC4-5D6E-409C-BE32-E72D297353CC}">
              <c16:uniqueId val="{00000008-8115-4AC4-B1C4-E39456E4CA88}"/>
            </c:ext>
          </c:extLst>
        </c:ser>
        <c:dLbls>
          <c:showLegendKey val="0"/>
          <c:showVal val="0"/>
          <c:showCatName val="0"/>
          <c:showSerName val="0"/>
          <c:showPercent val="0"/>
          <c:showBubbleSize val="0"/>
        </c:dLbls>
        <c:gapWidth val="50"/>
        <c:overlap val="100"/>
        <c:axId val="318947744"/>
        <c:axId val="318942944"/>
      </c:barChart>
      <c:catAx>
        <c:axId val="318947744"/>
        <c:scaling>
          <c:orientation val="minMax"/>
        </c:scaling>
        <c:delete val="0"/>
        <c:axPos val="b"/>
        <c:numFmt formatCode="General" sourceLinked="1"/>
        <c:majorTickMark val="none"/>
        <c:minorTickMark val="none"/>
        <c:tickLblPos val="low"/>
        <c:spPr>
          <a:noFill/>
          <a:ln w="9525" cap="flat" cmpd="sng" algn="ctr">
            <a:solidFill>
              <a:schemeClr val="tx1"/>
            </a:solidFill>
            <a:round/>
          </a:ln>
          <a:effectLst/>
        </c:spPr>
        <c:txPr>
          <a:bodyPr rot="-2700000" spcFirstLastPara="1" vertOverflow="ellipsis" wrap="square" anchor="ctr" anchorCtr="1"/>
          <a:lstStyle/>
          <a:p>
            <a:pPr>
              <a:defRPr sz="1197"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318942944"/>
        <c:crosses val="autoZero"/>
        <c:auto val="1"/>
        <c:lblAlgn val="ctr"/>
        <c:lblOffset val="100"/>
        <c:noMultiLvlLbl val="0"/>
      </c:catAx>
      <c:valAx>
        <c:axId val="318942944"/>
        <c:scaling>
          <c:orientation val="minMax"/>
          <c:max val="60"/>
          <c:min val="-80"/>
        </c:scaling>
        <c:delete val="0"/>
        <c:axPos val="l"/>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318947744"/>
        <c:crosses val="autoZero"/>
        <c:crossBetween val="between"/>
      </c:valAx>
      <c:spPr>
        <a:noFill/>
        <a:ln>
          <a:noFill/>
        </a:ln>
        <a:effectLst/>
      </c:spPr>
    </c:plotArea>
    <c:legend>
      <c:legendPos val="b"/>
      <c:legendEntry>
        <c:idx val="8"/>
        <c:delete val="1"/>
      </c:legendEntry>
      <c:layout>
        <c:manualLayout>
          <c:xMode val="edge"/>
          <c:yMode val="edge"/>
          <c:x val="0"/>
          <c:y val="0.8743534815501004"/>
          <c:w val="0.99764926228881579"/>
          <c:h val="0.1081395156487792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North America</c:v>
                </c:pt>
              </c:strCache>
            </c:strRef>
          </c:tx>
          <c:spPr>
            <a:solidFill>
              <a:srgbClr val="7E1D3B"/>
            </a:solidFill>
            <a:ln>
              <a:noFill/>
            </a:ln>
            <a:effectLst/>
          </c:spPr>
          <c:invertIfNegative val="0"/>
          <c:dLbls>
            <c:dLbl>
              <c:idx val="0"/>
              <c:tx>
                <c:rich>
                  <a:bodyPr/>
                  <a:lstStyle/>
                  <a:p>
                    <a:r>
                      <a:rPr lang="en-US"/>
                      <a:t>27%</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245B-4EF3-AB3D-BCDD6EE7B894}"/>
                </c:ext>
              </c:extLst>
            </c:dLbl>
            <c:dLbl>
              <c:idx val="1"/>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245B-4EF3-AB3D-BCDD6EE7B894}"/>
                </c:ext>
              </c:extLst>
            </c:dLbl>
            <c:dLbl>
              <c:idx val="2"/>
              <c:tx>
                <c:rich>
                  <a:bodyPr/>
                  <a:lstStyle/>
                  <a:p>
                    <a:r>
                      <a:rPr lang="en-US"/>
                      <a:t>26%</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245B-4EF3-AB3D-BCDD6EE7B894}"/>
                </c:ext>
              </c:extLst>
            </c:dLbl>
            <c:dLbl>
              <c:idx val="3"/>
              <c:tx>
                <c:rich>
                  <a:bodyPr/>
                  <a:lstStyle/>
                  <a:p>
                    <a:r>
                      <a:rPr lang="en-US"/>
                      <a:t>28%</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245B-4EF3-AB3D-BCDD6EE7B89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Ubuntu" panose="020B0504030602030204" pitchFamily="34"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B$2:$B$5</c:f>
              <c:numCache>
                <c:formatCode>0.00</c:formatCode>
                <c:ptCount val="4"/>
                <c:pt idx="0">
                  <c:v>1076.89260932</c:v>
                </c:pt>
                <c:pt idx="1">
                  <c:v>1057.3254832099997</c:v>
                </c:pt>
                <c:pt idx="2">
                  <c:v>1072.6150217400002</c:v>
                </c:pt>
                <c:pt idx="3">
                  <c:v>1122.0426096600002</c:v>
                </c:pt>
              </c:numCache>
            </c:numRef>
          </c:val>
          <c:extLst>
            <c:ext xmlns:c15="http://schemas.microsoft.com/office/drawing/2012/chart" uri="{02D57815-91ED-43cb-92C2-25804820EDAC}">
              <c15:datalabelsRange>
                <c15:f>Sheet1!$B$9:$B$12</c15:f>
                <c15:dlblRangeCache>
                  <c:ptCount val="4"/>
                  <c:pt idx="0">
                    <c:v>27%</c:v>
                  </c:pt>
                  <c:pt idx="1">
                    <c:v>28%</c:v>
                  </c:pt>
                  <c:pt idx="2">
                    <c:v>26%</c:v>
                  </c:pt>
                  <c:pt idx="3">
                    <c:v>28%</c:v>
                  </c:pt>
                </c15:dlblRangeCache>
              </c15:datalabelsRange>
            </c:ext>
            <c:ext xmlns:c16="http://schemas.microsoft.com/office/drawing/2014/chart" uri="{C3380CC4-5D6E-409C-BE32-E72D297353CC}">
              <c16:uniqueId val="{00000004-245B-4EF3-AB3D-BCDD6EE7B894}"/>
            </c:ext>
          </c:extLst>
        </c:ser>
        <c:ser>
          <c:idx val="1"/>
          <c:order val="1"/>
          <c:tx>
            <c:strRef>
              <c:f>Sheet1!$C$1</c:f>
              <c:strCache>
                <c:ptCount val="1"/>
                <c:pt idx="0">
                  <c:v>Asia</c:v>
                </c:pt>
              </c:strCache>
            </c:strRef>
          </c:tx>
          <c:spPr>
            <a:solidFill>
              <a:srgbClr val="F99F3B"/>
            </a:solidFill>
            <a:ln>
              <a:noFill/>
            </a:ln>
            <a:effectLst/>
          </c:spPr>
          <c:invertIfNegative val="0"/>
          <c:dLbls>
            <c:dLbl>
              <c:idx val="0"/>
              <c:tx>
                <c:rich>
                  <a:bodyPr/>
                  <a:lstStyle/>
                  <a:p>
                    <a:r>
                      <a:rPr lang="en-US"/>
                      <a:t>2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245B-4EF3-AB3D-BCDD6EE7B894}"/>
                </c:ext>
              </c:extLst>
            </c:dLbl>
            <c:dLbl>
              <c:idx val="1"/>
              <c:tx>
                <c:rich>
                  <a:bodyPr/>
                  <a:lstStyle/>
                  <a:p>
                    <a:r>
                      <a:rPr lang="en-US"/>
                      <a:t>23%</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245B-4EF3-AB3D-BCDD6EE7B894}"/>
                </c:ext>
              </c:extLst>
            </c:dLbl>
            <c:dLbl>
              <c:idx val="2"/>
              <c:tx>
                <c:rich>
                  <a:bodyPr/>
                  <a:lstStyle/>
                  <a:p>
                    <a:r>
                      <a:rPr lang="en-US"/>
                      <a:t>2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7-245B-4EF3-AB3D-BCDD6EE7B894}"/>
                </c:ext>
              </c:extLst>
            </c:dLbl>
            <c:dLbl>
              <c:idx val="3"/>
              <c:tx>
                <c:rich>
                  <a:bodyPr/>
                  <a:lstStyle/>
                  <a:p>
                    <a:r>
                      <a:rPr lang="en-US"/>
                      <a:t>2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8-245B-4EF3-AB3D-BCDD6EE7B89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Ubuntu" panose="020B0504030602030204" pitchFamily="34"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C$2:$C$5</c:f>
              <c:numCache>
                <c:formatCode>0.00</c:formatCode>
                <c:ptCount val="4"/>
                <c:pt idx="0">
                  <c:v>897.2741714299998</c:v>
                </c:pt>
                <c:pt idx="1">
                  <c:v>891.42227218700032</c:v>
                </c:pt>
                <c:pt idx="2">
                  <c:v>963.26914250330026</c:v>
                </c:pt>
                <c:pt idx="3">
                  <c:v>944.42076377530009</c:v>
                </c:pt>
              </c:numCache>
            </c:numRef>
          </c:val>
          <c:extLst>
            <c:ext xmlns:c15="http://schemas.microsoft.com/office/drawing/2012/chart" uri="{02D57815-91ED-43cb-92C2-25804820EDAC}">
              <c15:datalabelsRange>
                <c15:f>Sheet1!$C$9:$C$12</c15:f>
                <c15:dlblRangeCache>
                  <c:ptCount val="4"/>
                  <c:pt idx="0">
                    <c:v>23%</c:v>
                  </c:pt>
                  <c:pt idx="1">
                    <c:v>23%</c:v>
                  </c:pt>
                  <c:pt idx="2">
                    <c:v>24%</c:v>
                  </c:pt>
                  <c:pt idx="3">
                    <c:v>24%</c:v>
                  </c:pt>
                </c15:dlblRangeCache>
              </c15:datalabelsRange>
            </c:ext>
            <c:ext xmlns:c16="http://schemas.microsoft.com/office/drawing/2014/chart" uri="{C3380CC4-5D6E-409C-BE32-E72D297353CC}">
              <c16:uniqueId val="{00000009-245B-4EF3-AB3D-BCDD6EE7B894}"/>
            </c:ext>
          </c:extLst>
        </c:ser>
        <c:ser>
          <c:idx val="2"/>
          <c:order val="2"/>
          <c:tx>
            <c:strRef>
              <c:f>Sheet1!$D$1</c:f>
              <c:strCache>
                <c:ptCount val="1"/>
                <c:pt idx="0">
                  <c:v>Middle East</c:v>
                </c:pt>
              </c:strCache>
            </c:strRef>
          </c:tx>
          <c:spPr>
            <a:solidFill>
              <a:srgbClr val="FEBF46"/>
            </a:solidFill>
            <a:ln>
              <a:noFill/>
            </a:ln>
            <a:effectLst/>
          </c:spPr>
          <c:invertIfNegative val="0"/>
          <c:dLbls>
            <c:dLbl>
              <c:idx val="0"/>
              <c:tx>
                <c:rich>
                  <a:bodyPr/>
                  <a:lstStyle/>
                  <a:p>
                    <a:r>
                      <a:rPr lang="en-US"/>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A-245B-4EF3-AB3D-BCDD6EE7B894}"/>
                </c:ext>
              </c:extLst>
            </c:dLbl>
            <c:dLbl>
              <c:idx val="1"/>
              <c:tx>
                <c:rich>
                  <a:bodyPr/>
                  <a:lstStyle/>
                  <a:p>
                    <a:r>
                      <a:rPr lang="en-US"/>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B-245B-4EF3-AB3D-BCDD6EE7B894}"/>
                </c:ext>
              </c:extLst>
            </c:dLbl>
            <c:dLbl>
              <c:idx val="2"/>
              <c:tx>
                <c:rich>
                  <a:bodyPr/>
                  <a:lstStyle/>
                  <a:p>
                    <a:r>
                      <a:rPr lang="en-US"/>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C-245B-4EF3-AB3D-BCDD6EE7B894}"/>
                </c:ext>
              </c:extLst>
            </c:dLbl>
            <c:dLbl>
              <c:idx val="3"/>
              <c:tx>
                <c:rich>
                  <a:bodyPr/>
                  <a:lstStyle/>
                  <a:p>
                    <a:r>
                      <a:rPr lang="en-US"/>
                      <a:t>15%</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D-245B-4EF3-AB3D-BCDD6EE7B89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D$2:$D$5</c:f>
              <c:numCache>
                <c:formatCode>0.00</c:formatCode>
                <c:ptCount val="4"/>
                <c:pt idx="0">
                  <c:v>567.67145521800001</c:v>
                </c:pt>
                <c:pt idx="1">
                  <c:v>573.83967663199996</c:v>
                </c:pt>
                <c:pt idx="2">
                  <c:v>612.41586298999994</c:v>
                </c:pt>
                <c:pt idx="3">
                  <c:v>615.05488503462675</c:v>
                </c:pt>
              </c:numCache>
            </c:numRef>
          </c:val>
          <c:extLst>
            <c:ext xmlns:c15="http://schemas.microsoft.com/office/drawing/2012/chart" uri="{02D57815-91ED-43cb-92C2-25804820EDAC}">
              <c15:datalabelsRange>
                <c15:f>Sheet1!$D$9:$D$12</c15:f>
                <c15:dlblRangeCache>
                  <c:ptCount val="4"/>
                  <c:pt idx="0">
                    <c:v>14%</c:v>
                  </c:pt>
                  <c:pt idx="1">
                    <c:v>15%</c:v>
                  </c:pt>
                  <c:pt idx="2">
                    <c:v>15%</c:v>
                  </c:pt>
                  <c:pt idx="3">
                    <c:v>15%</c:v>
                  </c:pt>
                </c15:dlblRangeCache>
              </c15:datalabelsRange>
            </c:ext>
            <c:ext xmlns:c16="http://schemas.microsoft.com/office/drawing/2014/chart" uri="{C3380CC4-5D6E-409C-BE32-E72D297353CC}">
              <c16:uniqueId val="{0000000E-245B-4EF3-AB3D-BCDD6EE7B894}"/>
            </c:ext>
          </c:extLst>
        </c:ser>
        <c:ser>
          <c:idx val="3"/>
          <c:order val="3"/>
          <c:tx>
            <c:strRef>
              <c:f>Sheet1!$E$1</c:f>
              <c:strCache>
                <c:ptCount val="1"/>
                <c:pt idx="0">
                  <c:v>Europe</c:v>
                </c:pt>
              </c:strCache>
            </c:strRef>
          </c:tx>
          <c:spPr>
            <a:solidFill>
              <a:srgbClr val="1963A1"/>
            </a:solidFill>
            <a:ln>
              <a:noFill/>
            </a:ln>
            <a:effectLst/>
          </c:spPr>
          <c:invertIfNegative val="0"/>
          <c:dLbls>
            <c:dLbl>
              <c:idx val="0"/>
              <c:tx>
                <c:rich>
                  <a:bodyPr/>
                  <a:lstStyle/>
                  <a:p>
                    <a:r>
                      <a:rPr lang="en-US"/>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245B-4EF3-AB3D-BCDD6EE7B894}"/>
                </c:ext>
              </c:extLst>
            </c:dLbl>
            <c:dLbl>
              <c:idx val="1"/>
              <c:tx>
                <c:rich>
                  <a:bodyPr/>
                  <a:lstStyle/>
                  <a:p>
                    <a:r>
                      <a:rPr lang="en-US"/>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245B-4EF3-AB3D-BCDD6EE7B894}"/>
                </c:ext>
              </c:extLst>
            </c:dLbl>
            <c:dLbl>
              <c:idx val="2"/>
              <c:tx>
                <c:rich>
                  <a:bodyPr/>
                  <a:lstStyle/>
                  <a:p>
                    <a:r>
                      <a:rPr lang="en-US"/>
                      <a:t>1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245B-4EF3-AB3D-BCDD6EE7B894}"/>
                </c:ext>
              </c:extLst>
            </c:dLbl>
            <c:dLbl>
              <c:idx val="3"/>
              <c:tx>
                <c:rich>
                  <a:bodyPr/>
                  <a:lstStyle/>
                  <a:p>
                    <a:r>
                      <a:rPr lang="en-US"/>
                      <a:t>1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2-245B-4EF3-AB3D-BCDD6EE7B89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Ubuntu" panose="020B0504030602030204" pitchFamily="34"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E$2:$E$5</c:f>
              <c:numCache>
                <c:formatCode>0.00</c:formatCode>
                <c:ptCount val="4"/>
                <c:pt idx="0">
                  <c:v>555.33203731650008</c:v>
                </c:pt>
                <c:pt idx="1">
                  <c:v>536.12830444807969</c:v>
                </c:pt>
                <c:pt idx="2">
                  <c:v>556.24228752035935</c:v>
                </c:pt>
                <c:pt idx="3">
                  <c:v>490.18169651304987</c:v>
                </c:pt>
              </c:numCache>
            </c:numRef>
          </c:val>
          <c:extLst>
            <c:ext xmlns:c15="http://schemas.microsoft.com/office/drawing/2012/chart" uri="{02D57815-91ED-43cb-92C2-25804820EDAC}">
              <c15:datalabelsRange>
                <c15:f>Sheet1!$E$9:$E$12</c15:f>
                <c15:dlblRangeCache>
                  <c:ptCount val="4"/>
                  <c:pt idx="0">
                    <c:v>14%</c:v>
                  </c:pt>
                  <c:pt idx="1">
                    <c:v>14%</c:v>
                  </c:pt>
                  <c:pt idx="2">
                    <c:v>14%</c:v>
                  </c:pt>
                  <c:pt idx="3">
                    <c:v>12%</c:v>
                  </c:pt>
                </c15:dlblRangeCache>
              </c15:datalabelsRange>
            </c:ext>
            <c:ext xmlns:c16="http://schemas.microsoft.com/office/drawing/2014/chart" uri="{C3380CC4-5D6E-409C-BE32-E72D297353CC}">
              <c16:uniqueId val="{00000013-245B-4EF3-AB3D-BCDD6EE7B894}"/>
            </c:ext>
          </c:extLst>
        </c:ser>
        <c:ser>
          <c:idx val="4"/>
          <c:order val="4"/>
          <c:tx>
            <c:strRef>
              <c:f>Sheet1!$F$1</c:f>
              <c:strCache>
                <c:ptCount val="1"/>
                <c:pt idx="0">
                  <c:v>Russia</c:v>
                </c:pt>
              </c:strCache>
            </c:strRef>
          </c:tx>
          <c:spPr>
            <a:solidFill>
              <a:srgbClr val="54B9EA"/>
            </a:solidFill>
            <a:ln>
              <a:noFill/>
            </a:ln>
            <a:effectLst/>
          </c:spPr>
          <c:invertIfNegative val="0"/>
          <c:dLbls>
            <c:dLbl>
              <c:idx val="0"/>
              <c:tx>
                <c:rich>
                  <a:bodyPr/>
                  <a:lstStyle/>
                  <a:p>
                    <a:r>
                      <a:rPr lang="en-US"/>
                      <a:t>1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4-245B-4EF3-AB3D-BCDD6EE7B894}"/>
                </c:ext>
              </c:extLst>
            </c:dLbl>
            <c:dLbl>
              <c:idx val="1"/>
              <c:tx>
                <c:rich>
                  <a:bodyPr/>
                  <a:lstStyle/>
                  <a:p>
                    <a:r>
                      <a:rPr lang="en-US"/>
                      <a:t>1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245B-4EF3-AB3D-BCDD6EE7B894}"/>
                </c:ext>
              </c:extLst>
            </c:dLbl>
            <c:dLbl>
              <c:idx val="2"/>
              <c:tx>
                <c:rich>
                  <a:bodyPr/>
                  <a:lstStyle/>
                  <a:p>
                    <a:r>
                      <a:rPr lang="en-US"/>
                      <a:t>12%</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6-245B-4EF3-AB3D-BCDD6EE7B894}"/>
                </c:ext>
              </c:extLst>
            </c:dLbl>
            <c:dLbl>
              <c:idx val="3"/>
              <c:tx>
                <c:rich>
                  <a:bodyPr/>
                  <a:lstStyle/>
                  <a:p>
                    <a:r>
                      <a:rPr lang="en-US"/>
                      <a:t>1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7-245B-4EF3-AB3D-BCDD6EE7B89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F$2:$F$5</c:f>
              <c:numCache>
                <c:formatCode>0.00</c:formatCode>
                <c:ptCount val="4"/>
                <c:pt idx="0">
                  <c:v>445.70000000000005</c:v>
                </c:pt>
                <c:pt idx="1">
                  <c:v>422.66449999999998</c:v>
                </c:pt>
                <c:pt idx="2">
                  <c:v>474.96109999999999</c:v>
                </c:pt>
                <c:pt idx="3">
                  <c:v>451.67327899999998</c:v>
                </c:pt>
              </c:numCache>
            </c:numRef>
          </c:val>
          <c:extLst>
            <c:ext xmlns:c15="http://schemas.microsoft.com/office/drawing/2012/chart" uri="{02D57815-91ED-43cb-92C2-25804820EDAC}">
              <c15:datalabelsRange>
                <c15:f>Sheet1!$F$9:$F$12</c15:f>
                <c15:dlblRangeCache>
                  <c:ptCount val="4"/>
                  <c:pt idx="0">
                    <c:v>11%</c:v>
                  </c:pt>
                  <c:pt idx="1">
                    <c:v>11%</c:v>
                  </c:pt>
                  <c:pt idx="2">
                    <c:v>12%</c:v>
                  </c:pt>
                  <c:pt idx="3">
                    <c:v>11%</c:v>
                  </c:pt>
                </c15:dlblRangeCache>
              </c15:datalabelsRange>
            </c:ext>
            <c:ext xmlns:c16="http://schemas.microsoft.com/office/drawing/2014/chart" uri="{C3380CC4-5D6E-409C-BE32-E72D297353CC}">
              <c16:uniqueId val="{00000018-245B-4EF3-AB3D-BCDD6EE7B894}"/>
            </c:ext>
          </c:extLst>
        </c:ser>
        <c:ser>
          <c:idx val="5"/>
          <c:order val="5"/>
          <c:tx>
            <c:strRef>
              <c:f>Sheet1!$G$1</c:f>
              <c:strCache>
                <c:ptCount val="1"/>
                <c:pt idx="0">
                  <c:v>Africa</c:v>
                </c:pt>
              </c:strCache>
            </c:strRef>
          </c:tx>
          <c:spPr>
            <a:solidFill>
              <a:srgbClr val="99A0A3"/>
            </a:solidFill>
            <a:ln>
              <a:noFill/>
            </a:ln>
            <a:effectLst/>
          </c:spPr>
          <c:invertIfNegative val="0"/>
          <c:dLbls>
            <c:dLbl>
              <c:idx val="0"/>
              <c:tx>
                <c:rich>
                  <a:bodyPr/>
                  <a:lstStyle/>
                  <a:p>
                    <a:r>
                      <a:rPr lang="en-US"/>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9-245B-4EF3-AB3D-BCDD6EE7B894}"/>
                </c:ext>
              </c:extLst>
            </c:dLbl>
            <c:dLbl>
              <c:idx val="1"/>
              <c:tx>
                <c:rich>
                  <a:bodyPr/>
                  <a:lstStyle/>
                  <a:p>
                    <a:r>
                      <a:rPr lang="en-US"/>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A-245B-4EF3-AB3D-BCDD6EE7B894}"/>
                </c:ext>
              </c:extLst>
            </c:dLbl>
            <c:dLbl>
              <c:idx val="2"/>
              <c:tx>
                <c:rich>
                  <a:bodyPr/>
                  <a:lstStyle/>
                  <a:p>
                    <a:r>
                      <a:rPr lang="en-US"/>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B-245B-4EF3-AB3D-BCDD6EE7B894}"/>
                </c:ext>
              </c:extLst>
            </c:dLbl>
            <c:dLbl>
              <c:idx val="3"/>
              <c:tx>
                <c:rich>
                  <a:bodyPr/>
                  <a:lstStyle/>
                  <a:p>
                    <a:r>
                      <a:rPr lang="en-US"/>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C-245B-4EF3-AB3D-BCDD6EE7B89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G$2:$G$5</c:f>
              <c:numCache>
                <c:formatCode>0.00</c:formatCode>
                <c:ptCount val="4"/>
                <c:pt idx="0">
                  <c:v>170.67226727490007</c:v>
                </c:pt>
                <c:pt idx="1">
                  <c:v>158.40797383715798</c:v>
                </c:pt>
                <c:pt idx="2">
                  <c:v>167.33289263189994</c:v>
                </c:pt>
                <c:pt idx="3">
                  <c:v>172.54291262199999</c:v>
                </c:pt>
              </c:numCache>
            </c:numRef>
          </c:val>
          <c:extLst>
            <c:ext xmlns:c15="http://schemas.microsoft.com/office/drawing/2012/chart" uri="{02D57815-91ED-43cb-92C2-25804820EDAC}">
              <c15:datalabelsRange>
                <c15:f>Sheet1!$G$9:$G$12</c15:f>
                <c15:dlblRangeCache>
                  <c:ptCount val="4"/>
                  <c:pt idx="0">
                    <c:v>4%</c:v>
                  </c:pt>
                  <c:pt idx="1">
                    <c:v>4%</c:v>
                  </c:pt>
                  <c:pt idx="2">
                    <c:v>4%</c:v>
                  </c:pt>
                  <c:pt idx="3">
                    <c:v>4%</c:v>
                  </c:pt>
                </c15:dlblRangeCache>
              </c15:datalabelsRange>
            </c:ext>
            <c:ext xmlns:c16="http://schemas.microsoft.com/office/drawing/2014/chart" uri="{C3380CC4-5D6E-409C-BE32-E72D297353CC}">
              <c16:uniqueId val="{0000001D-245B-4EF3-AB3D-BCDD6EE7B894}"/>
            </c:ext>
          </c:extLst>
        </c:ser>
        <c:ser>
          <c:idx val="6"/>
          <c:order val="6"/>
          <c:tx>
            <c:strRef>
              <c:f>Sheet1!$H$1</c:f>
              <c:strCache>
                <c:ptCount val="1"/>
                <c:pt idx="0">
                  <c:v>South America</c:v>
                </c:pt>
              </c:strCache>
            </c:strRef>
          </c:tx>
          <c:spPr>
            <a:solidFill>
              <a:srgbClr val="17A756"/>
            </a:solidFill>
            <a:ln>
              <a:noFill/>
            </a:ln>
            <a:effectLst/>
          </c:spPr>
          <c:invertIfNegative val="0"/>
          <c:dLbls>
            <c:dLbl>
              <c:idx val="0"/>
              <c:layout>
                <c:manualLayout>
                  <c:x val="6.2927004674577486E-2"/>
                  <c:y val="-2.6746500857184859E-17"/>
                </c:manualLayout>
              </c:layout>
              <c:tx>
                <c:rich>
                  <a:bodyPr/>
                  <a:lstStyle/>
                  <a:p>
                    <a:r>
                      <a:rPr lang="en-US"/>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E-245B-4EF3-AB3D-BCDD6EE7B894}"/>
                </c:ext>
              </c:extLst>
            </c:dLbl>
            <c:dLbl>
              <c:idx val="1"/>
              <c:layout>
                <c:manualLayout>
                  <c:x val="4.2700467457749011E-2"/>
                  <c:y val="0"/>
                </c:manualLayout>
              </c:layout>
              <c:tx>
                <c:rich>
                  <a:bodyPr/>
                  <a:lstStyle/>
                  <a:p>
                    <a:r>
                      <a:rPr lang="en-US"/>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F-245B-4EF3-AB3D-BCDD6EE7B894}"/>
                </c:ext>
              </c:extLst>
            </c:dLbl>
            <c:dLbl>
              <c:idx val="2"/>
              <c:layout>
                <c:manualLayout>
                  <c:x val="5.3937432578209196E-2"/>
                  <c:y val="-1.3373250428592429E-17"/>
                </c:manualLayout>
              </c:layout>
              <c:tx>
                <c:rich>
                  <a:bodyPr/>
                  <a:lstStyle/>
                  <a:p>
                    <a:r>
                      <a:rPr lang="en-US"/>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0-245B-4EF3-AB3D-BCDD6EE7B894}"/>
                </c:ext>
              </c:extLst>
            </c:dLbl>
            <c:dLbl>
              <c:idx val="3"/>
              <c:layout>
                <c:manualLayout>
                  <c:x val="5.3937432578209279E-2"/>
                  <c:y val="-1.3373250428592429E-17"/>
                </c:manualLayout>
              </c:layout>
              <c:tx>
                <c:rich>
                  <a:bodyPr/>
                  <a:lstStyle/>
                  <a:p>
                    <a:r>
                      <a:rPr lang="en-US"/>
                      <a:t>4%</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1-245B-4EF3-AB3D-BCDD6EE7B894}"/>
                </c:ext>
              </c:extLst>
            </c:dLbl>
            <c:spPr>
              <a:solidFill>
                <a:srgbClr val="17A756"/>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Ubuntu" panose="020B0504030602030204" pitchFamily="34"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H$2:$H$5</c:f>
              <c:numCache>
                <c:formatCode>0.00</c:formatCode>
                <c:ptCount val="4"/>
                <c:pt idx="0">
                  <c:v>163.54663811299994</c:v>
                </c:pt>
                <c:pt idx="1">
                  <c:v>144.91664724800003</c:v>
                </c:pt>
                <c:pt idx="2">
                  <c:v>158.50263100200002</c:v>
                </c:pt>
                <c:pt idx="3">
                  <c:v>148.110078703</c:v>
                </c:pt>
              </c:numCache>
            </c:numRef>
          </c:val>
          <c:extLst>
            <c:ext xmlns:c15="http://schemas.microsoft.com/office/drawing/2012/chart" uri="{02D57815-91ED-43cb-92C2-25804820EDAC}">
              <c15:datalabelsRange>
                <c15:f>Sheet1!$H$9:$H$12</c15:f>
                <c15:dlblRangeCache>
                  <c:ptCount val="4"/>
                  <c:pt idx="0">
                    <c:v>4%</c:v>
                  </c:pt>
                  <c:pt idx="1">
                    <c:v>4%</c:v>
                  </c:pt>
                  <c:pt idx="2">
                    <c:v>4%</c:v>
                  </c:pt>
                  <c:pt idx="3">
                    <c:v>4%</c:v>
                  </c:pt>
                </c15:dlblRangeCache>
              </c15:datalabelsRange>
            </c:ext>
            <c:ext xmlns:c16="http://schemas.microsoft.com/office/drawing/2014/chart" uri="{C3380CC4-5D6E-409C-BE32-E72D297353CC}">
              <c16:uniqueId val="{00000022-245B-4EF3-AB3D-BCDD6EE7B894}"/>
            </c:ext>
          </c:extLst>
        </c:ser>
        <c:ser>
          <c:idx val="7"/>
          <c:order val="7"/>
          <c:tx>
            <c:strRef>
              <c:f>Sheet1!$I$1</c:f>
              <c:strCache>
                <c:ptCount val="1"/>
                <c:pt idx="0">
                  <c:v>Australia</c:v>
                </c:pt>
              </c:strCache>
            </c:strRef>
          </c:tx>
          <c:spPr>
            <a:solidFill>
              <a:srgbClr val="613E98"/>
            </a:solidFill>
            <a:ln>
              <a:noFill/>
            </a:ln>
            <a:effectLst/>
          </c:spPr>
          <c:invertIfNegative val="0"/>
          <c:dLbls>
            <c:dLbl>
              <c:idx val="0"/>
              <c:tx>
                <c:rich>
                  <a:bodyPr/>
                  <a:lstStyle/>
                  <a:p>
                    <a:r>
                      <a:rPr lang="en-US"/>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3-245B-4EF3-AB3D-BCDD6EE7B894}"/>
                </c:ext>
              </c:extLst>
            </c:dLbl>
            <c:dLbl>
              <c:idx val="1"/>
              <c:layout>
                <c:manualLayout>
                  <c:x val="-2.696871628910472E-2"/>
                  <c:y val="0"/>
                </c:manualLayout>
              </c:layout>
              <c:tx>
                <c:rich>
                  <a:bodyPr/>
                  <a:lstStyle/>
                  <a:p>
                    <a:r>
                      <a:rPr lang="en-US"/>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4-245B-4EF3-AB3D-BCDD6EE7B894}"/>
                </c:ext>
              </c:extLst>
            </c:dLbl>
            <c:dLbl>
              <c:idx val="2"/>
              <c:layout>
                <c:manualLayout>
                  <c:x val="-2.2473930240920613E-2"/>
                  <c:y val="-1.3373250428592429E-17"/>
                </c:manualLayout>
              </c:layout>
              <c:tx>
                <c:rich>
                  <a:bodyPr/>
                  <a:lstStyle/>
                  <a:p>
                    <a:r>
                      <a:rPr lang="en-US"/>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5-245B-4EF3-AB3D-BCDD6EE7B894}"/>
                </c:ext>
              </c:extLst>
            </c:dLbl>
            <c:dLbl>
              <c:idx val="3"/>
              <c:layout>
                <c:manualLayout>
                  <c:x val="-2.2473930240920533E-2"/>
                  <c:y val="0"/>
                </c:manualLayout>
              </c:layout>
              <c:tx>
                <c:rich>
                  <a:bodyPr/>
                  <a:lstStyle/>
                  <a:p>
                    <a:r>
                      <a:rPr lang="en-US"/>
                      <a:t>1%</a:t>
                    </a:r>
                  </a:p>
                </c:rich>
              </c:tx>
              <c:dLblPos val="ct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26-245B-4EF3-AB3D-BCDD6EE7B894}"/>
                </c:ext>
              </c:extLst>
            </c:dLbl>
            <c:spPr>
              <a:solidFill>
                <a:srgbClr val="613D97"/>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Ubuntu" panose="020B0504030602030204" pitchFamily="34"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I$2:$I$5</c:f>
              <c:numCache>
                <c:formatCode>0.00</c:formatCode>
                <c:ptCount val="4"/>
                <c:pt idx="0">
                  <c:v>53.759776300000006</c:v>
                </c:pt>
                <c:pt idx="1">
                  <c:v>50.821681690000013</c:v>
                </c:pt>
                <c:pt idx="2">
                  <c:v>49.249497800000015</c:v>
                </c:pt>
                <c:pt idx="3">
                  <c:v>50.8967624</c:v>
                </c:pt>
              </c:numCache>
            </c:numRef>
          </c:val>
          <c:extLst>
            <c:ext xmlns:c15="http://schemas.microsoft.com/office/drawing/2012/chart" uri="{02D57815-91ED-43cb-92C2-25804820EDAC}">
              <c15:datalabelsRange>
                <c15:f>Sheet1!$I$9:$I$12</c15:f>
                <c15:dlblRangeCache>
                  <c:ptCount val="4"/>
                  <c:pt idx="0">
                    <c:v>1%</c:v>
                  </c:pt>
                  <c:pt idx="1">
                    <c:v>1%</c:v>
                  </c:pt>
                  <c:pt idx="2">
                    <c:v>1%</c:v>
                  </c:pt>
                  <c:pt idx="3">
                    <c:v>1%</c:v>
                  </c:pt>
                </c15:dlblRangeCache>
              </c15:datalabelsRange>
            </c:ext>
            <c:ext xmlns:c16="http://schemas.microsoft.com/office/drawing/2014/chart" uri="{C3380CC4-5D6E-409C-BE32-E72D297353CC}">
              <c16:uniqueId val="{00000027-245B-4EF3-AB3D-BCDD6EE7B894}"/>
            </c:ext>
          </c:extLst>
        </c:ser>
        <c:ser>
          <c:idx val="8"/>
          <c:order val="8"/>
          <c:tx>
            <c:strRef>
              <c:f>Sheet1!$J$1</c:f>
              <c:strCache>
                <c:ptCount val="1"/>
                <c:pt idx="0">
                  <c:v>Total</c:v>
                </c:pt>
              </c:strCache>
            </c:strRef>
          </c:tx>
          <c:spPr>
            <a:noFill/>
            <a:ln>
              <a:noFill/>
            </a:ln>
            <a:effectLst/>
          </c:spPr>
          <c:invertIfNegative val="0"/>
          <c:dLbls>
            <c:dLbl>
              <c:idx val="0"/>
              <c:layout>
                <c:manualLayout>
                  <c:x val="-4.1201729475792856E-17"/>
                  <c:y val="5.7568860877684404E-2"/>
                </c:manualLayout>
              </c:layout>
              <c:tx>
                <c:rich>
                  <a:bodyPr/>
                  <a:lstStyle/>
                  <a:p>
                    <a:fld id="{77E1B390-4611-4D69-86AD-F192CA9955FA}" type="VALUE">
                      <a:rPr lang="en-US">
                        <a:latin typeface="Ubuntu" panose="020B0504030602030204" pitchFamily="34" charset="0"/>
                      </a:rPr>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8-245B-4EF3-AB3D-BCDD6EE7B894}"/>
                </c:ext>
              </c:extLst>
            </c:dLbl>
            <c:dLbl>
              <c:idx val="1"/>
              <c:layout>
                <c:manualLayout>
                  <c:x val="3.3935634663790006E-3"/>
                  <c:y val="6.91119951917774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245B-4EF3-AB3D-BCDD6EE7B894}"/>
                </c:ext>
              </c:extLst>
            </c:dLbl>
            <c:dLbl>
              <c:idx val="2"/>
              <c:layout>
                <c:manualLayout>
                  <c:x val="0"/>
                  <c:y val="3.1323060720351133E-2"/>
                </c:manualLayout>
              </c:layout>
              <c:tx>
                <c:rich>
                  <a:bodyPr/>
                  <a:lstStyle/>
                  <a:p>
                    <a:fld id="{9B274815-0332-47FC-8B58-C337C1D36061}" type="VALUE">
                      <a:rPr lang="en-US">
                        <a:latin typeface="Ubuntu" panose="020B0504030602030204" pitchFamily="34" charset="0"/>
                      </a:rPr>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A-245B-4EF3-AB3D-BCDD6EE7B894}"/>
                </c:ext>
              </c:extLst>
            </c:dLbl>
            <c:dLbl>
              <c:idx val="3"/>
              <c:layout>
                <c:manualLayout>
                  <c:x val="-1.6480691790317142E-16"/>
                  <c:y val="4.627431681333951E-2"/>
                </c:manualLayout>
              </c:layout>
              <c:tx>
                <c:rich>
                  <a:bodyPr/>
                  <a:lstStyle/>
                  <a:p>
                    <a:fld id="{E5127510-F139-4B7B-8B33-66E2E3CD6AC2}" type="VALUE">
                      <a:rPr lang="en-US">
                        <a:latin typeface="Ubuntu" panose="020B0504030602030204" pitchFamily="34" charset="0"/>
                      </a:rPr>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B-245B-4EF3-AB3D-BCDD6EE7B89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J$2:$J$5</c:f>
              <c:numCache>
                <c:formatCode>General</c:formatCode>
                <c:ptCount val="4"/>
                <c:pt idx="0">
                  <c:v>3930.8489549724004</c:v>
                </c:pt>
                <c:pt idx="1">
                  <c:v>3835.5265392522374</c:v>
                </c:pt>
                <c:pt idx="2">
                  <c:v>4054.5884361875592</c:v>
                </c:pt>
                <c:pt idx="3">
                  <c:v>3994.922987707977</c:v>
                </c:pt>
              </c:numCache>
            </c:numRef>
          </c:val>
          <c:extLst>
            <c:ext xmlns:c16="http://schemas.microsoft.com/office/drawing/2014/chart" uri="{C3380CC4-5D6E-409C-BE32-E72D297353CC}">
              <c16:uniqueId val="{0000002C-245B-4EF3-AB3D-BCDD6EE7B894}"/>
            </c:ext>
          </c:extLst>
        </c:ser>
        <c:dLbls>
          <c:dLblPos val="ctr"/>
          <c:showLegendKey val="0"/>
          <c:showVal val="1"/>
          <c:showCatName val="0"/>
          <c:showSerName val="0"/>
          <c:showPercent val="0"/>
          <c:showBubbleSize val="0"/>
        </c:dLbls>
        <c:gapWidth val="50"/>
        <c:overlap val="100"/>
        <c:axId val="318947744"/>
        <c:axId val="318942944"/>
      </c:barChart>
      <c:catAx>
        <c:axId val="31894774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318942944"/>
        <c:crosses val="autoZero"/>
        <c:auto val="1"/>
        <c:lblAlgn val="ctr"/>
        <c:lblOffset val="100"/>
        <c:noMultiLvlLbl val="0"/>
      </c:catAx>
      <c:valAx>
        <c:axId val="318942944"/>
        <c:scaling>
          <c:orientation val="minMax"/>
          <c:max val="4500"/>
        </c:scaling>
        <c:delete val="0"/>
        <c:axPos val="l"/>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318947744"/>
        <c:crosses val="autoZero"/>
        <c:crossBetween val="between"/>
      </c:valAx>
      <c:spPr>
        <a:noFill/>
        <a:ln>
          <a:noFill/>
        </a:ln>
        <a:effectLst/>
      </c:spPr>
    </c:plotArea>
    <c:legend>
      <c:legendPos val="b"/>
      <c:legendEntry>
        <c:idx val="8"/>
        <c:delete val="1"/>
      </c:legendEntry>
      <c:layout>
        <c:manualLayout>
          <c:xMode val="edge"/>
          <c:yMode val="edge"/>
          <c:x val="1.0575134418877325E-3"/>
          <c:y val="0.87412189285162889"/>
          <c:w val="0.99788497311622459"/>
          <c:h val="0.1083711043472507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A$2</c:f>
              <c:strCache>
                <c:ptCount val="1"/>
                <c:pt idx="0">
                  <c:v>Change</c:v>
                </c:pt>
              </c:strCache>
            </c:strRef>
          </c:tx>
          <c:spPr>
            <a:solidFill>
              <a:schemeClr val="accent1"/>
            </a:solidFill>
            <a:ln>
              <a:noFill/>
            </a:ln>
            <a:effectLst/>
          </c:spPr>
          <c:invertIfNegative val="0"/>
          <c:dPt>
            <c:idx val="0"/>
            <c:invertIfNegative val="0"/>
            <c:bubble3D val="0"/>
            <c:spPr>
              <a:solidFill>
                <a:srgbClr val="7E1D3B"/>
              </a:solidFill>
              <a:ln>
                <a:noFill/>
              </a:ln>
              <a:effectLst/>
            </c:spPr>
            <c:extLst>
              <c:ext xmlns:c16="http://schemas.microsoft.com/office/drawing/2014/chart" uri="{C3380CC4-5D6E-409C-BE32-E72D297353CC}">
                <c16:uniqueId val="{00000001-2DBD-4A29-852F-DB4439E3B506}"/>
              </c:ext>
            </c:extLst>
          </c:dPt>
          <c:dPt>
            <c:idx val="1"/>
            <c:invertIfNegative val="0"/>
            <c:bubble3D val="0"/>
            <c:spPr>
              <a:solidFill>
                <a:srgbClr val="FEBF46"/>
              </a:solidFill>
              <a:ln>
                <a:noFill/>
              </a:ln>
              <a:effectLst/>
            </c:spPr>
            <c:extLst>
              <c:ext xmlns:c16="http://schemas.microsoft.com/office/drawing/2014/chart" uri="{C3380CC4-5D6E-409C-BE32-E72D297353CC}">
                <c16:uniqueId val="{00000003-2DBD-4A29-852F-DB4439E3B506}"/>
              </c:ext>
            </c:extLst>
          </c:dPt>
          <c:dPt>
            <c:idx val="2"/>
            <c:invertIfNegative val="0"/>
            <c:bubble3D val="0"/>
            <c:spPr>
              <a:solidFill>
                <a:srgbClr val="F99F3B"/>
              </a:solidFill>
              <a:ln>
                <a:noFill/>
              </a:ln>
              <a:effectLst/>
            </c:spPr>
            <c:extLst>
              <c:ext xmlns:c16="http://schemas.microsoft.com/office/drawing/2014/chart" uri="{C3380CC4-5D6E-409C-BE32-E72D297353CC}">
                <c16:uniqueId val="{00000005-2DBD-4A29-852F-DB4439E3B506}"/>
              </c:ext>
            </c:extLst>
          </c:dPt>
          <c:dPt>
            <c:idx val="3"/>
            <c:invertIfNegative val="0"/>
            <c:bubble3D val="0"/>
            <c:spPr>
              <a:solidFill>
                <a:srgbClr val="1963A1"/>
              </a:solidFill>
              <a:ln>
                <a:noFill/>
              </a:ln>
              <a:effectLst/>
            </c:spPr>
            <c:extLst>
              <c:ext xmlns:c16="http://schemas.microsoft.com/office/drawing/2014/chart" uri="{C3380CC4-5D6E-409C-BE32-E72D297353CC}">
                <c16:uniqueId val="{00000007-2DBD-4A29-852F-DB4439E3B506}"/>
              </c:ext>
            </c:extLst>
          </c:dPt>
          <c:dPt>
            <c:idx val="4"/>
            <c:invertIfNegative val="0"/>
            <c:bubble3D val="0"/>
            <c:spPr>
              <a:solidFill>
                <a:srgbClr val="17A756"/>
              </a:solidFill>
              <a:ln>
                <a:noFill/>
              </a:ln>
              <a:effectLst/>
            </c:spPr>
            <c:extLst>
              <c:ext xmlns:c16="http://schemas.microsoft.com/office/drawing/2014/chart" uri="{C3380CC4-5D6E-409C-BE32-E72D297353CC}">
                <c16:uniqueId val="{00000009-2DBD-4A29-852F-DB4439E3B506}"/>
              </c:ext>
            </c:extLst>
          </c:dPt>
          <c:dPt>
            <c:idx val="5"/>
            <c:invertIfNegative val="0"/>
            <c:bubble3D val="0"/>
            <c:spPr>
              <a:solidFill>
                <a:srgbClr val="5C3695"/>
              </a:solidFill>
              <a:ln>
                <a:noFill/>
              </a:ln>
              <a:effectLst/>
            </c:spPr>
            <c:extLst>
              <c:ext xmlns:c16="http://schemas.microsoft.com/office/drawing/2014/chart" uri="{C3380CC4-5D6E-409C-BE32-E72D297353CC}">
                <c16:uniqueId val="{0000000B-2DBD-4A29-852F-DB4439E3B506}"/>
              </c:ext>
            </c:extLst>
          </c:dPt>
          <c:dPt>
            <c:idx val="6"/>
            <c:invertIfNegative val="0"/>
            <c:bubble3D val="0"/>
            <c:spPr>
              <a:solidFill>
                <a:srgbClr val="99A0A3"/>
              </a:solidFill>
              <a:ln>
                <a:noFill/>
              </a:ln>
              <a:effectLst/>
            </c:spPr>
            <c:extLst>
              <c:ext xmlns:c16="http://schemas.microsoft.com/office/drawing/2014/chart" uri="{C3380CC4-5D6E-409C-BE32-E72D297353CC}">
                <c16:uniqueId val="{0000000D-2DBD-4A29-852F-DB4439E3B506}"/>
              </c:ext>
            </c:extLst>
          </c:dPt>
          <c:dPt>
            <c:idx val="7"/>
            <c:invertIfNegative val="0"/>
            <c:bubble3D val="0"/>
            <c:spPr>
              <a:solidFill>
                <a:srgbClr val="54B9EA"/>
              </a:solidFill>
              <a:ln>
                <a:noFill/>
              </a:ln>
              <a:effectLst/>
            </c:spPr>
            <c:extLst>
              <c:ext xmlns:c16="http://schemas.microsoft.com/office/drawing/2014/chart" uri="{C3380CC4-5D6E-409C-BE32-E72D297353CC}">
                <c16:uniqueId val="{0000000F-2DBD-4A29-852F-DB4439E3B506}"/>
              </c:ext>
            </c:extLst>
          </c:dPt>
          <c:dLbls>
            <c:dLbl>
              <c:idx val="4"/>
              <c:layout>
                <c:manualLayout>
                  <c:x val="0"/>
                  <c:y val="-2.6260504201680673E-2"/>
                </c:manualLayout>
              </c:layout>
              <c:tx>
                <c:rich>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fld id="{7C4D7B79-9CB7-49F3-8AE0-F1F496998C4C}" type="VALUE">
                      <a:rPr lang="en-US">
                        <a:solidFill>
                          <a:schemeClr val="tx1">
                            <a:lumMod val="85000"/>
                            <a:lumOff val="15000"/>
                          </a:schemeClr>
                        </a:solidFill>
                      </a:rPr>
                      <a:pPr>
                        <a:defRPr/>
                      </a:pPr>
                      <a:t>[VALUE]</a:t>
                    </a:fld>
                    <a:endParaRPr lang="en-GB"/>
                  </a:p>
                </c:rich>
              </c:tx>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2DBD-4A29-852F-DB4439E3B506}"/>
                </c:ext>
              </c:extLst>
            </c:dLbl>
            <c:dLbl>
              <c:idx val="5"/>
              <c:layout>
                <c:manualLayout>
                  <c:x val="-4.494786048184189E-3"/>
                  <c:y val="-4.0849213701228522E-2"/>
                </c:manualLayout>
              </c:layout>
              <c:tx>
                <c:rich>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fld id="{6B211C3F-0DC4-471C-A5C8-553271E3DA0C}" type="VALUE">
                      <a:rPr lang="en-US">
                        <a:solidFill>
                          <a:schemeClr val="tx1">
                            <a:lumMod val="85000"/>
                            <a:lumOff val="15000"/>
                          </a:schemeClr>
                        </a:solidFill>
                      </a:rPr>
                      <a:pPr>
                        <a:defRPr/>
                      </a:pPr>
                      <a:t>[VALUE]</a:t>
                    </a:fld>
                    <a:endParaRPr lang="en-GB"/>
                  </a:p>
                </c:rich>
              </c:tx>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2DBD-4A29-852F-DB4439E3B506}"/>
                </c:ext>
              </c:extLst>
            </c:dLbl>
            <c:dLbl>
              <c:idx val="6"/>
              <c:layout>
                <c:manualLayout>
                  <c:x val="-4.4947860481841066E-3"/>
                  <c:y val="-4.9602485351095765E-2"/>
                </c:manualLayout>
              </c:layout>
              <c:tx>
                <c:rich>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fld id="{7135CAFA-172E-4497-8867-A236C00F48E4}" type="VALUE">
                      <a:rPr lang="en-US">
                        <a:solidFill>
                          <a:schemeClr val="tx1">
                            <a:lumMod val="85000"/>
                            <a:lumOff val="15000"/>
                          </a:schemeClr>
                        </a:solidFill>
                      </a:rPr>
                      <a:pPr>
                        <a:defRPr/>
                      </a:pPr>
                      <a:t>[VALUE]</a:t>
                    </a:fld>
                    <a:endParaRPr lang="en-GB"/>
                  </a:p>
                </c:rich>
              </c:tx>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2DBD-4A29-852F-DB4439E3B506}"/>
                </c:ext>
              </c:extLst>
            </c:dLbl>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Ubuntu" panose="020B050403060203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North America</c:v>
                </c:pt>
                <c:pt idx="1">
                  <c:v>Middle East</c:v>
                </c:pt>
                <c:pt idx="2">
                  <c:v>Asia</c:v>
                </c:pt>
                <c:pt idx="3">
                  <c:v>Europe</c:v>
                </c:pt>
                <c:pt idx="4">
                  <c:v>South America</c:v>
                </c:pt>
                <c:pt idx="5">
                  <c:v>Australia</c:v>
                </c:pt>
                <c:pt idx="6">
                  <c:v>Africa</c:v>
                </c:pt>
                <c:pt idx="7">
                  <c:v>Russia</c:v>
                </c:pt>
              </c:strCache>
            </c:strRef>
          </c:cat>
          <c:val>
            <c:numRef>
              <c:f>Sheet1!$B$2:$I$2</c:f>
              <c:numCache>
                <c:formatCode>0.00</c:formatCode>
                <c:ptCount val="8"/>
                <c:pt idx="0">
                  <c:v>53.115416999999979</c:v>
                </c:pt>
                <c:pt idx="1">
                  <c:v>16.908985299999927</c:v>
                </c:pt>
                <c:pt idx="2">
                  <c:v>16.380480999999918</c:v>
                </c:pt>
                <c:pt idx="3">
                  <c:v>8.594144</c:v>
                </c:pt>
                <c:pt idx="4">
                  <c:v>4.1021350000000041</c:v>
                </c:pt>
                <c:pt idx="5">
                  <c:v>-0.72208799999998519</c:v>
                </c:pt>
                <c:pt idx="6">
                  <c:v>-2.9448170999999661</c:v>
                </c:pt>
                <c:pt idx="7">
                  <c:v>-87.180113300000016</c:v>
                </c:pt>
              </c:numCache>
            </c:numRef>
          </c:val>
          <c:extLst>
            <c:ext xmlns:c16="http://schemas.microsoft.com/office/drawing/2014/chart" uri="{C3380CC4-5D6E-409C-BE32-E72D297353CC}">
              <c16:uniqueId val="{00000010-2DBD-4A29-852F-DB4439E3B506}"/>
            </c:ext>
          </c:extLst>
        </c:ser>
        <c:dLbls>
          <c:dLblPos val="ctr"/>
          <c:showLegendKey val="0"/>
          <c:showVal val="1"/>
          <c:showCatName val="0"/>
          <c:showSerName val="0"/>
          <c:showPercent val="0"/>
          <c:showBubbleSize val="0"/>
        </c:dLbls>
        <c:gapWidth val="50"/>
        <c:overlap val="100"/>
        <c:axId val="318947744"/>
        <c:axId val="318942944"/>
      </c:barChart>
      <c:catAx>
        <c:axId val="318947744"/>
        <c:scaling>
          <c:orientation val="minMax"/>
        </c:scaling>
        <c:delete val="0"/>
        <c:axPos val="b"/>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318942944"/>
        <c:crosses val="autoZero"/>
        <c:auto val="1"/>
        <c:lblAlgn val="ctr"/>
        <c:lblOffset val="100"/>
        <c:noMultiLvlLbl val="0"/>
      </c:catAx>
      <c:valAx>
        <c:axId val="318942944"/>
        <c:scaling>
          <c:orientation val="minMax"/>
          <c:max val="60"/>
        </c:scaling>
        <c:delete val="0"/>
        <c:axPos val="l"/>
        <c:numFmt formatCode="#\ ##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3189477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85000"/>
              <a:lumOff val="15000"/>
            </a:schemeClr>
          </a:solidFill>
          <a:latin typeface="Ubuntu" panose="020B050403060203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North America</c:v>
                </c:pt>
              </c:strCache>
            </c:strRef>
          </c:tx>
          <c:spPr>
            <a:solidFill>
              <a:srgbClr val="7E1D3B"/>
            </a:solidFill>
            <a:ln>
              <a:noFill/>
            </a:ln>
            <a:effectLst/>
          </c:spPr>
          <c:invertIfNegative val="0"/>
          <c:dLbls>
            <c:dLbl>
              <c:idx val="0"/>
              <c:tx>
                <c:rich>
                  <a:bodyPr/>
                  <a:lstStyle/>
                  <a:p>
                    <a:fld id="{694A0D6E-930F-431A-9C60-41513C9557A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F31-458C-8843-ECAE3D4C0567}"/>
                </c:ext>
              </c:extLst>
            </c:dLbl>
            <c:dLbl>
              <c:idx val="1"/>
              <c:tx>
                <c:rich>
                  <a:bodyPr/>
                  <a:lstStyle/>
                  <a:p>
                    <a:fld id="{9E476F2E-E4B0-4367-A209-F886677EC86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F31-458C-8843-ECAE3D4C0567}"/>
                </c:ext>
              </c:extLst>
            </c:dLbl>
            <c:dLbl>
              <c:idx val="2"/>
              <c:tx>
                <c:rich>
                  <a:bodyPr/>
                  <a:lstStyle/>
                  <a:p>
                    <a:fld id="{9DCA6CFE-4113-422E-933E-551BD0F7EAD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F31-458C-8843-ECAE3D4C0567}"/>
                </c:ext>
              </c:extLst>
            </c:dLbl>
            <c:dLbl>
              <c:idx val="3"/>
              <c:tx>
                <c:rich>
                  <a:bodyPr/>
                  <a:lstStyle/>
                  <a:p>
                    <a:fld id="{61B83E39-1A0D-4CA0-9643-BEFD8C89718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F31-458C-8843-ECAE3D4C0567}"/>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Ubuntu" panose="020B0504030602030204" pitchFamily="34"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B$2:$B$5</c:f>
              <c:numCache>
                <c:formatCode>0.00</c:formatCode>
                <c:ptCount val="4"/>
                <c:pt idx="0">
                  <c:v>1147.2264626639999</c:v>
                </c:pt>
                <c:pt idx="1">
                  <c:v>1131.19877114</c:v>
                </c:pt>
                <c:pt idx="2">
                  <c:v>1160.2811801940002</c:v>
                </c:pt>
                <c:pt idx="3">
                  <c:v>1213.396011241</c:v>
                </c:pt>
              </c:numCache>
            </c:numRef>
          </c:val>
          <c:extLst>
            <c:ext xmlns:c15="http://schemas.microsoft.com/office/drawing/2012/chart" uri="{02D57815-91ED-43cb-92C2-25804820EDAC}">
              <c15:datalabelsRange>
                <c15:f>Sheet1!$B$9:$B$12</c15:f>
                <c15:dlblRangeCache>
                  <c:ptCount val="4"/>
                  <c:pt idx="0">
                    <c:v>29%</c:v>
                  </c:pt>
                  <c:pt idx="1">
                    <c:v>29%</c:v>
                  </c:pt>
                  <c:pt idx="2">
                    <c:v>29%</c:v>
                  </c:pt>
                  <c:pt idx="3">
                    <c:v>30%</c:v>
                  </c:pt>
                </c15:dlblRangeCache>
              </c15:datalabelsRange>
            </c:ext>
            <c:ext xmlns:c16="http://schemas.microsoft.com/office/drawing/2014/chart" uri="{C3380CC4-5D6E-409C-BE32-E72D297353CC}">
              <c16:uniqueId val="{00000004-EF31-458C-8843-ECAE3D4C0567}"/>
            </c:ext>
          </c:extLst>
        </c:ser>
        <c:ser>
          <c:idx val="1"/>
          <c:order val="1"/>
          <c:tx>
            <c:strRef>
              <c:f>Sheet1!$C$1</c:f>
              <c:strCache>
                <c:ptCount val="1"/>
                <c:pt idx="0">
                  <c:v>Asia</c:v>
                </c:pt>
              </c:strCache>
            </c:strRef>
          </c:tx>
          <c:spPr>
            <a:solidFill>
              <a:srgbClr val="F99F3B"/>
            </a:solidFill>
            <a:ln>
              <a:noFill/>
            </a:ln>
            <a:effectLst/>
          </c:spPr>
          <c:invertIfNegative val="0"/>
          <c:dLbls>
            <c:dLbl>
              <c:idx val="0"/>
              <c:tx>
                <c:rich>
                  <a:bodyPr/>
                  <a:lstStyle/>
                  <a:p>
                    <a:fld id="{F5768DE2-23BE-43BD-87E1-11E704681226}"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F31-458C-8843-ECAE3D4C0567}"/>
                </c:ext>
              </c:extLst>
            </c:dLbl>
            <c:dLbl>
              <c:idx val="1"/>
              <c:tx>
                <c:rich>
                  <a:bodyPr/>
                  <a:lstStyle/>
                  <a:p>
                    <a:fld id="{15F0DDA7-6265-4530-9491-598F548A5CA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F31-458C-8843-ECAE3D4C0567}"/>
                </c:ext>
              </c:extLst>
            </c:dLbl>
            <c:dLbl>
              <c:idx val="2"/>
              <c:tx>
                <c:rich>
                  <a:bodyPr/>
                  <a:lstStyle/>
                  <a:p>
                    <a:fld id="{82A7D575-B272-4685-B757-113F0FA2E097}"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F31-458C-8843-ECAE3D4C0567}"/>
                </c:ext>
              </c:extLst>
            </c:dLbl>
            <c:dLbl>
              <c:idx val="3"/>
              <c:tx>
                <c:rich>
                  <a:bodyPr/>
                  <a:lstStyle/>
                  <a:p>
                    <a:fld id="{DF6D3758-44A3-403F-A634-1D8FF6C1067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F31-458C-8843-ECAE3D4C0567}"/>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C$2:$C$5</c:f>
              <c:numCache>
                <c:formatCode>0.00</c:formatCode>
                <c:ptCount val="4"/>
                <c:pt idx="0">
                  <c:v>663.85175189599988</c:v>
                </c:pt>
                <c:pt idx="1">
                  <c:v>647.7583507239998</c:v>
                </c:pt>
                <c:pt idx="2">
                  <c:v>695.85932387399976</c:v>
                </c:pt>
                <c:pt idx="3">
                  <c:v>712.23989532600001</c:v>
                </c:pt>
              </c:numCache>
            </c:numRef>
          </c:val>
          <c:extLst>
            <c:ext xmlns:c15="http://schemas.microsoft.com/office/drawing/2012/chart" uri="{02D57815-91ED-43cb-92C2-25804820EDAC}">
              <c15:datalabelsRange>
                <c15:f>Sheet1!$C$9:$C$12</c15:f>
                <c15:dlblRangeCache>
                  <c:ptCount val="4"/>
                  <c:pt idx="0">
                    <c:v>17%</c:v>
                  </c:pt>
                  <c:pt idx="1">
                    <c:v>17%</c:v>
                  </c:pt>
                  <c:pt idx="2">
                    <c:v>17%</c:v>
                  </c:pt>
                  <c:pt idx="3">
                    <c:v>18%</c:v>
                  </c:pt>
                </c15:dlblRangeCache>
              </c15:datalabelsRange>
            </c:ext>
            <c:ext xmlns:c16="http://schemas.microsoft.com/office/drawing/2014/chart" uri="{C3380CC4-5D6E-409C-BE32-E72D297353CC}">
              <c16:uniqueId val="{00000009-EF31-458C-8843-ECAE3D4C0567}"/>
            </c:ext>
          </c:extLst>
        </c:ser>
        <c:ser>
          <c:idx val="2"/>
          <c:order val="2"/>
          <c:tx>
            <c:strRef>
              <c:f>Sheet1!$D$1</c:f>
              <c:strCache>
                <c:ptCount val="1"/>
                <c:pt idx="0">
                  <c:v>Middle East</c:v>
                </c:pt>
              </c:strCache>
            </c:strRef>
          </c:tx>
          <c:spPr>
            <a:solidFill>
              <a:srgbClr val="FEBF46"/>
            </a:solidFill>
            <a:ln>
              <a:noFill/>
            </a:ln>
            <a:effectLst/>
          </c:spPr>
          <c:invertIfNegative val="0"/>
          <c:dLbls>
            <c:dLbl>
              <c:idx val="0"/>
              <c:tx>
                <c:rich>
                  <a:bodyPr/>
                  <a:lstStyle/>
                  <a:p>
                    <a:fld id="{B7E9E0D7-0D7F-4B7E-B5C1-3433F407227A}"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F31-458C-8843-ECAE3D4C0567}"/>
                </c:ext>
              </c:extLst>
            </c:dLbl>
            <c:dLbl>
              <c:idx val="1"/>
              <c:tx>
                <c:rich>
                  <a:bodyPr/>
                  <a:lstStyle/>
                  <a:p>
                    <a:fld id="{FB68010B-3D1D-446E-82D2-1168D51094C9}"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F31-458C-8843-ECAE3D4C0567}"/>
                </c:ext>
              </c:extLst>
            </c:dLbl>
            <c:dLbl>
              <c:idx val="2"/>
              <c:tx>
                <c:rich>
                  <a:bodyPr/>
                  <a:lstStyle/>
                  <a:p>
                    <a:fld id="{139F2A60-05DD-44B1-9AB9-67FB6AB95738}"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F31-458C-8843-ECAE3D4C0567}"/>
                </c:ext>
              </c:extLst>
            </c:dLbl>
            <c:dLbl>
              <c:idx val="3"/>
              <c:tx>
                <c:rich>
                  <a:bodyPr/>
                  <a:lstStyle/>
                  <a:p>
                    <a:fld id="{AE06D812-4C08-443D-B2BC-FCB33BF02C8F}"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F31-458C-8843-ECAE3D4C0567}"/>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D$2:$D$5</c:f>
              <c:numCache>
                <c:formatCode>0.00</c:formatCode>
                <c:ptCount val="4"/>
                <c:pt idx="0">
                  <c:v>627.82853144700016</c:v>
                </c:pt>
                <c:pt idx="1">
                  <c:v>644.22080979700002</c:v>
                </c:pt>
                <c:pt idx="2">
                  <c:v>670.1306639390001</c:v>
                </c:pt>
                <c:pt idx="3">
                  <c:v>687.03985719900015</c:v>
                </c:pt>
              </c:numCache>
            </c:numRef>
          </c:val>
          <c:extLst>
            <c:ext xmlns:c15="http://schemas.microsoft.com/office/drawing/2012/chart" uri="{02D57815-91ED-43cb-92C2-25804820EDAC}">
              <c15:datalabelsRange>
                <c15:f>Sheet1!$D$9:$D$12</c15:f>
                <c15:dlblRangeCache>
                  <c:ptCount val="4"/>
                  <c:pt idx="0">
                    <c:v>16%</c:v>
                  </c:pt>
                  <c:pt idx="1">
                    <c:v>17%</c:v>
                  </c:pt>
                  <c:pt idx="2">
                    <c:v>17%</c:v>
                  </c:pt>
                  <c:pt idx="3">
                    <c:v>17%</c:v>
                  </c:pt>
                </c15:dlblRangeCache>
              </c15:datalabelsRange>
            </c:ext>
            <c:ext xmlns:c16="http://schemas.microsoft.com/office/drawing/2014/chart" uri="{C3380CC4-5D6E-409C-BE32-E72D297353CC}">
              <c16:uniqueId val="{0000000E-EF31-458C-8843-ECAE3D4C0567}"/>
            </c:ext>
          </c:extLst>
        </c:ser>
        <c:ser>
          <c:idx val="3"/>
          <c:order val="3"/>
          <c:tx>
            <c:strRef>
              <c:f>Sheet1!$E$1</c:f>
              <c:strCache>
                <c:ptCount val="1"/>
                <c:pt idx="0">
                  <c:v>Russia</c:v>
                </c:pt>
              </c:strCache>
            </c:strRef>
          </c:tx>
          <c:spPr>
            <a:solidFill>
              <a:srgbClr val="54B9EA"/>
            </a:solidFill>
            <a:ln>
              <a:noFill/>
            </a:ln>
            <a:effectLst/>
          </c:spPr>
          <c:invertIfNegative val="0"/>
          <c:dLbls>
            <c:dLbl>
              <c:idx val="0"/>
              <c:tx>
                <c:rich>
                  <a:bodyPr/>
                  <a:lstStyle/>
                  <a:p>
                    <a:fld id="{26A16E28-7166-4F6A-9189-8D0DE5E025AB}"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F31-458C-8843-ECAE3D4C0567}"/>
                </c:ext>
              </c:extLst>
            </c:dLbl>
            <c:dLbl>
              <c:idx val="1"/>
              <c:tx>
                <c:rich>
                  <a:bodyPr/>
                  <a:lstStyle/>
                  <a:p>
                    <a:fld id="{8A9DF6AB-80D4-49AA-90F1-9401CB793E2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F31-458C-8843-ECAE3D4C0567}"/>
                </c:ext>
              </c:extLst>
            </c:dLbl>
            <c:dLbl>
              <c:idx val="2"/>
              <c:tx>
                <c:rich>
                  <a:bodyPr/>
                  <a:lstStyle/>
                  <a:p>
                    <a:fld id="{1A7BCBC6-F0EB-4B6A-AD25-E25E62A6803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F31-458C-8843-ECAE3D4C0567}"/>
                </c:ext>
              </c:extLst>
            </c:dLbl>
            <c:dLbl>
              <c:idx val="3"/>
              <c:tx>
                <c:rich>
                  <a:bodyPr/>
                  <a:lstStyle/>
                  <a:p>
                    <a:fld id="{B4ADFCE9-2270-4949-A8CE-5367BBEE07A2}"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EF31-458C-8843-ECAE3D4C0567}"/>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E$2:$E$5</c:f>
              <c:numCache>
                <c:formatCode>0.00</c:formatCode>
                <c:ptCount val="4"/>
                <c:pt idx="0">
                  <c:v>697.33451399440003</c:v>
                </c:pt>
                <c:pt idx="1">
                  <c:v>629.87065399440007</c:v>
                </c:pt>
                <c:pt idx="2">
                  <c:v>709.68170594959997</c:v>
                </c:pt>
                <c:pt idx="3">
                  <c:v>622.50158391039997</c:v>
                </c:pt>
              </c:numCache>
            </c:numRef>
          </c:val>
          <c:extLst>
            <c:ext xmlns:c15="http://schemas.microsoft.com/office/drawing/2012/chart" uri="{02D57815-91ED-43cb-92C2-25804820EDAC}">
              <c15:datalabelsRange>
                <c15:f>Sheet1!$E$9:$E$12</c15:f>
                <c15:dlblRangeCache>
                  <c:ptCount val="4"/>
                  <c:pt idx="0">
                    <c:v>18%</c:v>
                  </c:pt>
                  <c:pt idx="1">
                    <c:v>16%</c:v>
                  </c:pt>
                  <c:pt idx="2">
                    <c:v>18%</c:v>
                  </c:pt>
                  <c:pt idx="3">
                    <c:v>15%</c:v>
                  </c:pt>
                </c15:dlblRangeCache>
              </c15:datalabelsRange>
            </c:ext>
            <c:ext xmlns:c16="http://schemas.microsoft.com/office/drawing/2014/chart" uri="{C3380CC4-5D6E-409C-BE32-E72D297353CC}">
              <c16:uniqueId val="{00000013-EF31-458C-8843-ECAE3D4C0567}"/>
            </c:ext>
          </c:extLst>
        </c:ser>
        <c:ser>
          <c:idx val="4"/>
          <c:order val="4"/>
          <c:tx>
            <c:strRef>
              <c:f>Sheet1!$F$1</c:f>
              <c:strCache>
                <c:ptCount val="1"/>
                <c:pt idx="0">
                  <c:v>Europe</c:v>
                </c:pt>
              </c:strCache>
            </c:strRef>
          </c:tx>
          <c:spPr>
            <a:solidFill>
              <a:srgbClr val="1963A1"/>
            </a:solidFill>
            <a:ln>
              <a:noFill/>
            </a:ln>
            <a:effectLst/>
          </c:spPr>
          <c:invertIfNegative val="0"/>
          <c:dLbls>
            <c:dLbl>
              <c:idx val="0"/>
              <c:tx>
                <c:rich>
                  <a:bodyPr/>
                  <a:lstStyle/>
                  <a:p>
                    <a:fld id="{5894AE87-814A-4855-B59B-BB6CB3B80684}"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EF31-458C-8843-ECAE3D4C0567}"/>
                </c:ext>
              </c:extLst>
            </c:dLbl>
            <c:dLbl>
              <c:idx val="1"/>
              <c:tx>
                <c:rich>
                  <a:bodyPr/>
                  <a:lstStyle/>
                  <a:p>
                    <a:fld id="{6008D3DF-C2CF-40C0-A891-0EA1FC5460DD}"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EF31-458C-8843-ECAE3D4C0567}"/>
                </c:ext>
              </c:extLst>
            </c:dLbl>
            <c:dLbl>
              <c:idx val="2"/>
              <c:tx>
                <c:rich>
                  <a:bodyPr/>
                  <a:lstStyle/>
                  <a:p>
                    <a:fld id="{B5D1BA0A-8BEE-4141-A24E-DEF7FE5BD4B5}"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EF31-458C-8843-ECAE3D4C0567}"/>
                </c:ext>
              </c:extLst>
            </c:dLbl>
            <c:dLbl>
              <c:idx val="3"/>
              <c:tx>
                <c:rich>
                  <a:bodyPr/>
                  <a:lstStyle/>
                  <a:p>
                    <a:fld id="{7B484B61-EE92-48C1-AEC2-BB2846FD6421}"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EF31-458C-8843-ECAE3D4C0567}"/>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Ubuntu" panose="020B0504030602030204" pitchFamily="34"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F$2:$F$5</c:f>
              <c:numCache>
                <c:formatCode>0.00</c:formatCode>
                <c:ptCount val="4"/>
                <c:pt idx="0">
                  <c:v>250.33036672399993</c:v>
                </c:pt>
                <c:pt idx="1">
                  <c:v>232.95513585300006</c:v>
                </c:pt>
                <c:pt idx="2">
                  <c:v>224.39678570399997</c:v>
                </c:pt>
                <c:pt idx="3">
                  <c:v>232.99101455499994</c:v>
                </c:pt>
              </c:numCache>
            </c:numRef>
          </c:val>
          <c:extLst>
            <c:ext xmlns:c15="http://schemas.microsoft.com/office/drawing/2012/chart" uri="{02D57815-91ED-43cb-92C2-25804820EDAC}">
              <c15:datalabelsRange>
                <c15:f>Sheet1!$F$9:$F$12</c15:f>
                <c15:dlblRangeCache>
                  <c:ptCount val="4"/>
                  <c:pt idx="0">
                    <c:v>6%</c:v>
                  </c:pt>
                  <c:pt idx="1">
                    <c:v>6%</c:v>
                  </c:pt>
                  <c:pt idx="2">
                    <c:v>6%</c:v>
                  </c:pt>
                  <c:pt idx="3">
                    <c:v>6%</c:v>
                  </c:pt>
                </c15:dlblRangeCache>
              </c15:datalabelsRange>
            </c:ext>
            <c:ext xmlns:c16="http://schemas.microsoft.com/office/drawing/2014/chart" uri="{C3380CC4-5D6E-409C-BE32-E72D297353CC}">
              <c16:uniqueId val="{00000018-EF31-458C-8843-ECAE3D4C0567}"/>
            </c:ext>
          </c:extLst>
        </c:ser>
        <c:ser>
          <c:idx val="5"/>
          <c:order val="5"/>
          <c:tx>
            <c:strRef>
              <c:f>Sheet1!$G$1</c:f>
              <c:strCache>
                <c:ptCount val="1"/>
                <c:pt idx="0">
                  <c:v>Africa</c:v>
                </c:pt>
              </c:strCache>
            </c:strRef>
          </c:tx>
          <c:spPr>
            <a:solidFill>
              <a:srgbClr val="99A0A3"/>
            </a:solidFill>
            <a:ln>
              <a:noFill/>
            </a:ln>
            <a:effectLst/>
          </c:spPr>
          <c:invertIfNegative val="0"/>
          <c:dLbls>
            <c:dLbl>
              <c:idx val="0"/>
              <c:layout>
                <c:manualLayout>
                  <c:x val="0"/>
                  <c:y val="-2.9178338001867683E-3"/>
                </c:manualLayout>
              </c:layout>
              <c:tx>
                <c:rich>
                  <a:bodyPr/>
                  <a:lstStyle/>
                  <a:p>
                    <a:fld id="{675DDD2B-87F7-EF43-823D-16EDC296D256}"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EF31-458C-8843-ECAE3D4C0567}"/>
                </c:ext>
              </c:extLst>
            </c:dLbl>
            <c:dLbl>
              <c:idx val="1"/>
              <c:layout>
                <c:manualLayout>
                  <c:x val="-8.2403458951585712E-17"/>
                  <c:y val="-2.6746500857184859E-17"/>
                </c:manualLayout>
              </c:layout>
              <c:tx>
                <c:rich>
                  <a:bodyPr/>
                  <a:lstStyle/>
                  <a:p>
                    <a:fld id="{FD899F7F-1A3C-7B46-BE27-3453C7047B0B}"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EF31-458C-8843-ECAE3D4C0567}"/>
                </c:ext>
              </c:extLst>
            </c:dLbl>
            <c:dLbl>
              <c:idx val="2"/>
              <c:layout>
                <c:manualLayout>
                  <c:x val="-1.6480691790317142E-16"/>
                  <c:y val="0"/>
                </c:manualLayout>
              </c:layout>
              <c:tx>
                <c:rich>
                  <a:bodyPr/>
                  <a:lstStyle/>
                  <a:p>
                    <a:fld id="{599E0E19-47EC-B649-A8D9-2271C719BB43}"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EF31-458C-8843-ECAE3D4C0567}"/>
                </c:ext>
              </c:extLst>
            </c:dLbl>
            <c:dLbl>
              <c:idx val="3"/>
              <c:tx>
                <c:rich>
                  <a:bodyPr/>
                  <a:lstStyle/>
                  <a:p>
                    <a:fld id="{BC0AF0C9-BC2B-4ADD-9884-52DBE8F6687C}" type="CELLRANGE">
                      <a:rPr lang="en-GB"/>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EF31-458C-8843-ECAE3D4C0567}"/>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G$2:$G$5</c:f>
              <c:numCache>
                <c:formatCode>0.00</c:formatCode>
                <c:ptCount val="4"/>
                <c:pt idx="0">
                  <c:v>250.20005138840003</c:v>
                </c:pt>
                <c:pt idx="1">
                  <c:v>232.87637627639995</c:v>
                </c:pt>
                <c:pt idx="2">
                  <c:v>264.08627431340005</c:v>
                </c:pt>
                <c:pt idx="3">
                  <c:v>261.14144522339996</c:v>
                </c:pt>
              </c:numCache>
            </c:numRef>
          </c:val>
          <c:extLst>
            <c:ext xmlns:c15="http://schemas.microsoft.com/office/drawing/2012/chart" uri="{02D57815-91ED-43cb-92C2-25804820EDAC}">
              <c15:datalabelsRange>
                <c15:f>Sheet1!$G$9:$G$12</c15:f>
                <c15:dlblRangeCache>
                  <c:ptCount val="4"/>
                  <c:pt idx="0">
                    <c:v>6%</c:v>
                  </c:pt>
                  <c:pt idx="1">
                    <c:v>6%</c:v>
                  </c:pt>
                  <c:pt idx="2">
                    <c:v>7%</c:v>
                  </c:pt>
                  <c:pt idx="3">
                    <c:v>6%</c:v>
                  </c:pt>
                </c15:dlblRangeCache>
              </c15:datalabelsRange>
            </c:ext>
            <c:ext xmlns:c16="http://schemas.microsoft.com/office/drawing/2014/chart" uri="{C3380CC4-5D6E-409C-BE32-E72D297353CC}">
              <c16:uniqueId val="{0000001D-EF31-458C-8843-ECAE3D4C0567}"/>
            </c:ext>
          </c:extLst>
        </c:ser>
        <c:ser>
          <c:idx val="6"/>
          <c:order val="6"/>
          <c:tx>
            <c:strRef>
              <c:f>Sheet1!$H$1</c:f>
              <c:strCache>
                <c:ptCount val="1"/>
                <c:pt idx="0">
                  <c:v>Australia</c:v>
                </c:pt>
              </c:strCache>
            </c:strRef>
          </c:tx>
          <c:spPr>
            <a:solidFill>
              <a:srgbClr val="5C3695"/>
            </a:solidFill>
            <a:ln>
              <a:noFill/>
            </a:ln>
            <a:effectLst/>
          </c:spPr>
          <c:invertIfNegative val="0"/>
          <c:dLbls>
            <c:dLbl>
              <c:idx val="0"/>
              <c:layout>
                <c:manualLayout>
                  <c:x val="5.6184825602301328E-2"/>
                  <c:y val="0"/>
                </c:manualLayout>
              </c:layout>
              <c:tx>
                <c:rich>
                  <a:bodyPr/>
                  <a:lstStyle/>
                  <a:p>
                    <a:fld id="{85538946-F8F7-8B43-A00F-7EA209C9EE37}"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EF31-458C-8843-ECAE3D4C0567}"/>
                </c:ext>
              </c:extLst>
            </c:dLbl>
            <c:dLbl>
              <c:idx val="1"/>
              <c:layout>
                <c:manualLayout>
                  <c:x val="5.1690039554117141E-2"/>
                  <c:y val="0"/>
                </c:manualLayout>
              </c:layout>
              <c:tx>
                <c:rich>
                  <a:bodyPr/>
                  <a:lstStyle/>
                  <a:p>
                    <a:fld id="{72DC556D-AA29-4E66-B8EF-E2B5584402B4}" type="CELLRANGE">
                      <a:rPr lang="en-US" dirty="0">
                        <a:latin typeface="Ubuntu" panose="020B0504030602030204" pitchFamily="34" charset="0"/>
                      </a:rPr>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EF31-458C-8843-ECAE3D4C0567}"/>
                </c:ext>
              </c:extLst>
            </c:dLbl>
            <c:dLbl>
              <c:idx val="2"/>
              <c:layout>
                <c:manualLayout>
                  <c:x val="6.0679611650485271E-2"/>
                  <c:y val="0"/>
                </c:manualLayout>
              </c:layout>
              <c:tx>
                <c:rich>
                  <a:bodyPr/>
                  <a:lstStyle/>
                  <a:p>
                    <a:fld id="{BDFD8216-E18F-AA42-89A6-A26F89EEA17A}"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EF31-458C-8843-ECAE3D4C0567}"/>
                </c:ext>
              </c:extLst>
            </c:dLbl>
            <c:dLbl>
              <c:idx val="3"/>
              <c:layout>
                <c:manualLayout>
                  <c:x val="3.8205681409564908E-2"/>
                  <c:y val="0"/>
                </c:manualLayout>
              </c:layout>
              <c:tx>
                <c:rich>
                  <a:bodyPr/>
                  <a:lstStyle/>
                  <a:p>
                    <a:fld id="{E7739B01-C68B-6446-A016-9DA5C7F7137D}"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EF31-458C-8843-ECAE3D4C0567}"/>
                </c:ext>
              </c:extLst>
            </c:dLbl>
            <c:spPr>
              <a:solidFill>
                <a:srgbClr val="5C3695"/>
              </a:solidFill>
              <a:ln>
                <a:noFill/>
              </a:ln>
              <a:effectLst/>
            </c:spPr>
            <c:txPr>
              <a:bodyPr rot="0" spcFirstLastPara="1" vertOverflow="ellipsis" vert="horz" wrap="square" anchor="ctr" anchorCtr="1"/>
              <a:lstStyle/>
              <a:p>
                <a:pPr>
                  <a:defRPr sz="1200" b="0" i="0" u="none" strike="noStrike" kern="1200" baseline="0">
                    <a:solidFill>
                      <a:schemeClr val="bg1"/>
                    </a:solidFill>
                    <a:latin typeface="Ubuntu" panose="020B0504030602030204" pitchFamily="34"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H$2:$H$5</c:f>
              <c:numCache>
                <c:formatCode>0.00</c:formatCode>
                <c:ptCount val="4"/>
                <c:pt idx="0">
                  <c:v>167.45893148800005</c:v>
                </c:pt>
                <c:pt idx="1">
                  <c:v>167.98828452500001</c:v>
                </c:pt>
                <c:pt idx="2">
                  <c:v>168.25299340999999</c:v>
                </c:pt>
                <c:pt idx="3">
                  <c:v>167.53094753999997</c:v>
                </c:pt>
              </c:numCache>
            </c:numRef>
          </c:val>
          <c:extLst>
            <c:ext xmlns:c15="http://schemas.microsoft.com/office/drawing/2012/chart" uri="{02D57815-91ED-43cb-92C2-25804820EDAC}">
              <c15:datalabelsRange>
                <c15:f>Sheet1!$H$9:$H$12</c15:f>
                <c15:dlblRangeCache>
                  <c:ptCount val="4"/>
                  <c:pt idx="0">
                    <c:v>4%</c:v>
                  </c:pt>
                  <c:pt idx="1">
                    <c:v>4%</c:v>
                  </c:pt>
                  <c:pt idx="2">
                    <c:v>4%</c:v>
                  </c:pt>
                  <c:pt idx="3">
                    <c:v>4%</c:v>
                  </c:pt>
                </c15:dlblRangeCache>
              </c15:datalabelsRange>
            </c:ext>
            <c:ext xmlns:c16="http://schemas.microsoft.com/office/drawing/2014/chart" uri="{C3380CC4-5D6E-409C-BE32-E72D297353CC}">
              <c16:uniqueId val="{00000022-EF31-458C-8843-ECAE3D4C0567}"/>
            </c:ext>
          </c:extLst>
        </c:ser>
        <c:ser>
          <c:idx val="7"/>
          <c:order val="7"/>
          <c:tx>
            <c:strRef>
              <c:f>Sheet1!$I$1</c:f>
              <c:strCache>
                <c:ptCount val="1"/>
                <c:pt idx="0">
                  <c:v>South America</c:v>
                </c:pt>
              </c:strCache>
            </c:strRef>
          </c:tx>
          <c:spPr>
            <a:solidFill>
              <a:srgbClr val="17A756"/>
            </a:solidFill>
            <a:ln>
              <a:noFill/>
            </a:ln>
            <a:effectLst/>
          </c:spPr>
          <c:invertIfNegative val="0"/>
          <c:dLbls>
            <c:dLbl>
              <c:idx val="0"/>
              <c:layout>
                <c:manualLayout>
                  <c:x val="-2.0226537216828478E-2"/>
                  <c:y val="-2.9178338001867414E-3"/>
                </c:manualLayout>
              </c:layout>
              <c:tx>
                <c:rich>
                  <a:bodyPr/>
                  <a:lstStyle/>
                  <a:p>
                    <a:fld id="{3AD538AD-F8C7-4B40-8289-3F86691CD31B}" type="CELLRANGE">
                      <a:rPr lang="en-US" dirty="0"/>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EF31-458C-8843-ECAE3D4C0567}"/>
                </c:ext>
              </c:extLst>
            </c:dLbl>
            <c:dLbl>
              <c:idx val="1"/>
              <c:layout>
                <c:manualLayout>
                  <c:x val="-2.6968716289104681E-2"/>
                  <c:y val="-5.8356676003734828E-3"/>
                </c:manualLayout>
              </c:layout>
              <c:tx>
                <c:rich>
                  <a:bodyPr/>
                  <a:lstStyle/>
                  <a:p>
                    <a:fld id="{7551ACFC-F463-4B50-9F7A-6DD960E799D1}" type="CELLRANGE">
                      <a:rPr lang="en-US" dirty="0"/>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4-EF31-458C-8843-ECAE3D4C0567}"/>
                </c:ext>
              </c:extLst>
            </c:dLbl>
            <c:dLbl>
              <c:idx val="2"/>
              <c:layout>
                <c:manualLayout>
                  <c:x val="-1.797914419273651E-2"/>
                  <c:y val="-2.917833800186728E-3"/>
                </c:manualLayout>
              </c:layout>
              <c:tx>
                <c:rich>
                  <a:bodyPr/>
                  <a:lstStyle/>
                  <a:p>
                    <a:fld id="{7669D1EF-882C-804B-9517-DC84AC954643}"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5-EF31-458C-8843-ECAE3D4C0567}"/>
                </c:ext>
              </c:extLst>
            </c:dLbl>
            <c:dLbl>
              <c:idx val="3"/>
              <c:layout>
                <c:manualLayout>
                  <c:x val="-3.3710895361380798E-2"/>
                  <c:y val="0"/>
                </c:manualLayout>
              </c:layout>
              <c:tx>
                <c:rich>
                  <a:bodyPr/>
                  <a:lstStyle/>
                  <a:p>
                    <a:fld id="{A5EAF0FE-0DA2-1147-B489-8FF663C3FE14}" type="CELLRANGE">
                      <a:rPr lang="en-US"/>
                      <a:pPr/>
                      <a:t>[CELLRANGE]</a:t>
                    </a:fld>
                    <a:endParaRPr lang="en-GB"/>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6-EF31-458C-8843-ECAE3D4C0567}"/>
                </c:ext>
              </c:extLst>
            </c:dLbl>
            <c:spPr>
              <a:solidFill>
                <a:srgbClr val="17A756"/>
              </a:solidFill>
              <a:ln>
                <a:noFill/>
              </a:ln>
              <a:effectLst/>
            </c:spPr>
            <c:txPr>
              <a:bodyPr rot="0" spcFirstLastPara="1" vertOverflow="ellipsis" vert="horz" wrap="square" anchor="ctr" anchorCtr="1"/>
              <a:lstStyle/>
              <a:p>
                <a:pPr>
                  <a:defRPr sz="1200" b="0" i="0" u="none" strike="noStrike" kern="1200" baseline="0">
                    <a:solidFill>
                      <a:schemeClr val="bg1"/>
                    </a:solidFill>
                    <a:latin typeface="Ubuntu" panose="020B0504030602030204" pitchFamily="34" charset="0"/>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I$2:$I$5</c:f>
              <c:numCache>
                <c:formatCode>0.00</c:formatCode>
                <c:ptCount val="4"/>
                <c:pt idx="0">
                  <c:v>168.40237532300003</c:v>
                </c:pt>
                <c:pt idx="1">
                  <c:v>150.995391977</c:v>
                </c:pt>
                <c:pt idx="2">
                  <c:v>148.35012620499995</c:v>
                </c:pt>
                <c:pt idx="3">
                  <c:v>152.452260849</c:v>
                </c:pt>
              </c:numCache>
            </c:numRef>
          </c:val>
          <c:extLst>
            <c:ext xmlns:c15="http://schemas.microsoft.com/office/drawing/2012/chart" uri="{02D57815-91ED-43cb-92C2-25804820EDAC}">
              <c15:datalabelsRange>
                <c15:f>Sheet1!$I$9:$I$12</c15:f>
                <c15:dlblRangeCache>
                  <c:ptCount val="4"/>
                  <c:pt idx="0">
                    <c:v>4%</c:v>
                  </c:pt>
                  <c:pt idx="1">
                    <c:v>4%</c:v>
                  </c:pt>
                  <c:pt idx="2">
                    <c:v>4%</c:v>
                  </c:pt>
                  <c:pt idx="3">
                    <c:v>4%</c:v>
                  </c:pt>
                </c15:dlblRangeCache>
              </c15:datalabelsRange>
            </c:ext>
            <c:ext xmlns:c16="http://schemas.microsoft.com/office/drawing/2014/chart" uri="{C3380CC4-5D6E-409C-BE32-E72D297353CC}">
              <c16:uniqueId val="{00000027-EF31-458C-8843-ECAE3D4C0567}"/>
            </c:ext>
          </c:extLst>
        </c:ser>
        <c:ser>
          <c:idx val="8"/>
          <c:order val="8"/>
          <c:tx>
            <c:strRef>
              <c:f>Sheet1!$J$1</c:f>
              <c:strCache>
                <c:ptCount val="1"/>
                <c:pt idx="0">
                  <c:v>Total</c:v>
                </c:pt>
              </c:strCache>
            </c:strRef>
          </c:tx>
          <c:spPr>
            <a:noFill/>
            <a:ln>
              <a:noFill/>
            </a:ln>
            <a:effectLst/>
          </c:spPr>
          <c:invertIfNegative val="0"/>
          <c:dLbls>
            <c:dLbl>
              <c:idx val="0"/>
              <c:layout>
                <c:manualLayout>
                  <c:x val="-4.1201729475792856E-17"/>
                  <c:y val="6.3404528478057887E-2"/>
                </c:manualLayout>
              </c:layout>
              <c:tx>
                <c:rich>
                  <a:bodyPr/>
                  <a:lstStyle/>
                  <a:p>
                    <a:fld id="{A0E5F338-3505-4111-850B-1C2560A2E6FF}" type="VALUE">
                      <a:rPr lang="en-US">
                        <a:latin typeface="Ubuntu" panose="020B0504030602030204" pitchFamily="34" charset="0"/>
                      </a:rPr>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8-EF31-458C-8843-ECAE3D4C0567}"/>
                </c:ext>
              </c:extLst>
            </c:dLbl>
            <c:dLbl>
              <c:idx val="1"/>
              <c:layout>
                <c:manualLayout>
                  <c:x val="0"/>
                  <c:y val="6.6337066322592023E-2"/>
                </c:manualLayout>
              </c:layout>
              <c:tx>
                <c:rich>
                  <a:bodyPr/>
                  <a:lstStyle/>
                  <a:p>
                    <a:fld id="{E68F5D77-4653-462D-97B0-3A39EF41F46D}" type="VALUE">
                      <a:rPr lang="en-US">
                        <a:latin typeface="Ubuntu" panose="020B0504030602030204" pitchFamily="34" charset="0"/>
                      </a:rPr>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9-EF31-458C-8843-ECAE3D4C0567}"/>
                </c:ext>
              </c:extLst>
            </c:dLbl>
            <c:dLbl>
              <c:idx val="2"/>
              <c:layout>
                <c:manualLayout>
                  <c:x val="0"/>
                  <c:y val="4.9192150613526248E-2"/>
                </c:manualLayout>
              </c:layout>
              <c:tx>
                <c:rich>
                  <a:bodyPr/>
                  <a:lstStyle/>
                  <a:p>
                    <a:fld id="{1B13AF48-451B-4C15-8C2F-F0457BB88E11}" type="VALUE">
                      <a:rPr lang="en-US">
                        <a:latin typeface="Ubuntu" panose="020B0504030602030204" pitchFamily="34" charset="0"/>
                      </a:rPr>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A-EF31-458C-8843-ECAE3D4C0567}"/>
                </c:ext>
              </c:extLst>
            </c:dLbl>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9</c:v>
                </c:pt>
                <c:pt idx="1">
                  <c:v>2020</c:v>
                </c:pt>
                <c:pt idx="2">
                  <c:v>2021</c:v>
                </c:pt>
                <c:pt idx="3">
                  <c:v>2022</c:v>
                </c:pt>
              </c:numCache>
            </c:numRef>
          </c:cat>
          <c:val>
            <c:numRef>
              <c:f>Sheet1!$J$2:$J$5</c:f>
              <c:numCache>
                <c:formatCode>0.00</c:formatCode>
                <c:ptCount val="4"/>
                <c:pt idx="0">
                  <c:v>3972.6329849247995</c:v>
                </c:pt>
                <c:pt idx="1">
                  <c:v>3837.8637742868004</c:v>
                </c:pt>
                <c:pt idx="2">
                  <c:v>4041.0390535890001</c:v>
                </c:pt>
                <c:pt idx="3">
                  <c:v>4049.2930158437998</c:v>
                </c:pt>
              </c:numCache>
            </c:numRef>
          </c:val>
          <c:extLst>
            <c:ext xmlns:c16="http://schemas.microsoft.com/office/drawing/2014/chart" uri="{C3380CC4-5D6E-409C-BE32-E72D297353CC}">
              <c16:uniqueId val="{0000002B-EF31-458C-8843-ECAE3D4C0567}"/>
            </c:ext>
          </c:extLst>
        </c:ser>
        <c:dLbls>
          <c:dLblPos val="ctr"/>
          <c:showLegendKey val="0"/>
          <c:showVal val="1"/>
          <c:showCatName val="0"/>
          <c:showSerName val="0"/>
          <c:showPercent val="0"/>
          <c:showBubbleSize val="0"/>
        </c:dLbls>
        <c:gapWidth val="50"/>
        <c:overlap val="100"/>
        <c:axId val="318947744"/>
        <c:axId val="318942944"/>
      </c:barChart>
      <c:catAx>
        <c:axId val="31894774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318942944"/>
        <c:crosses val="autoZero"/>
        <c:auto val="1"/>
        <c:lblAlgn val="ctr"/>
        <c:lblOffset val="100"/>
        <c:noMultiLvlLbl val="0"/>
      </c:catAx>
      <c:valAx>
        <c:axId val="318942944"/>
        <c:scaling>
          <c:orientation val="minMax"/>
          <c:max val="4500"/>
        </c:scaling>
        <c:delete val="0"/>
        <c:axPos val="l"/>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318947744"/>
        <c:crosses val="autoZero"/>
        <c:crossBetween val="between"/>
      </c:valAx>
      <c:spPr>
        <a:noFill/>
        <a:ln>
          <a:noFill/>
        </a:ln>
        <a:effectLst/>
      </c:spPr>
    </c:plotArea>
    <c:legend>
      <c:legendPos val="b"/>
      <c:legendEntry>
        <c:idx val="8"/>
        <c:delete val="1"/>
      </c:legendEntry>
      <c:layout>
        <c:manualLayout>
          <c:xMode val="edge"/>
          <c:yMode val="edge"/>
          <c:x val="0"/>
          <c:y val="0.8674490137262254"/>
          <c:w val="1"/>
          <c:h val="0.1150439834726541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85000"/>
              <a:lumOff val="15000"/>
            </a:schemeClr>
          </a:solidFill>
          <a:latin typeface="Ubuntu" panose="020B050403060203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Blue</c:v>
                </c:pt>
              </c:strCache>
            </c:strRef>
          </c:tx>
          <c:spPr>
            <a:solidFill>
              <a:srgbClr val="044572"/>
            </a:solidFill>
            <a:ln>
              <a:noFill/>
            </a:ln>
            <a:effectLst/>
          </c:spPr>
          <c:invertIfNegative val="0"/>
          <c:cat>
            <c:numRef>
              <c:f>Sheet1!$A$2:$A$22</c:f>
              <c:numCache>
                <c:formatCode>General</c:formatCode>
                <c:ptCount val="2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numCache>
            </c:numRef>
          </c:cat>
          <c:val>
            <c:numRef>
              <c:f>Sheet1!$B$2:$B$22</c:f>
              <c:numCache>
                <c:formatCode>General</c:formatCode>
                <c:ptCount val="21"/>
                <c:pt idx="0">
                  <c:v>1089.778</c:v>
                </c:pt>
                <c:pt idx="1">
                  <c:v>1089.778</c:v>
                </c:pt>
                <c:pt idx="2">
                  <c:v>1300.8690000000001</c:v>
                </c:pt>
                <c:pt idx="3">
                  <c:v>1974.2790000000002</c:v>
                </c:pt>
                <c:pt idx="4">
                  <c:v>1974.2790000000002</c:v>
                </c:pt>
                <c:pt idx="5">
                  <c:v>2483.5050000000001</c:v>
                </c:pt>
                <c:pt idx="6">
                  <c:v>2483.5050000000001</c:v>
                </c:pt>
                <c:pt idx="7">
                  <c:v>2483.5050000000001</c:v>
                </c:pt>
                <c:pt idx="8">
                  <c:v>2483.5050000000001</c:v>
                </c:pt>
                <c:pt idx="9">
                  <c:v>2483.5050000000001</c:v>
                </c:pt>
                <c:pt idx="10">
                  <c:v>3027.25</c:v>
                </c:pt>
                <c:pt idx="11">
                  <c:v>3027.25</c:v>
                </c:pt>
                <c:pt idx="12">
                  <c:v>3097.25</c:v>
                </c:pt>
                <c:pt idx="13">
                  <c:v>3097.25</c:v>
                </c:pt>
                <c:pt idx="14">
                  <c:v>3102.5059999999999</c:v>
                </c:pt>
                <c:pt idx="15">
                  <c:v>3129.1289999999999</c:v>
                </c:pt>
                <c:pt idx="16">
                  <c:v>3129.1289999999999</c:v>
                </c:pt>
                <c:pt idx="17">
                  <c:v>3129.1289999999999</c:v>
                </c:pt>
                <c:pt idx="18">
                  <c:v>3129.1289999999999</c:v>
                </c:pt>
                <c:pt idx="19">
                  <c:v>3129.1289999999999</c:v>
                </c:pt>
                <c:pt idx="20">
                  <c:v>3129.1289999999999</c:v>
                </c:pt>
              </c:numCache>
            </c:numRef>
          </c:val>
          <c:extLst>
            <c:ext xmlns:c16="http://schemas.microsoft.com/office/drawing/2014/chart" uri="{C3380CC4-5D6E-409C-BE32-E72D297353CC}">
              <c16:uniqueId val="{00000000-67EE-45B1-810C-94DDEE41FEA2}"/>
            </c:ext>
          </c:extLst>
        </c:ser>
        <c:ser>
          <c:idx val="1"/>
          <c:order val="1"/>
          <c:tx>
            <c:strRef>
              <c:f>Sheet1!$C$1</c:f>
              <c:strCache>
                <c:ptCount val="1"/>
                <c:pt idx="0">
                  <c:v>Green</c:v>
                </c:pt>
              </c:strCache>
            </c:strRef>
          </c:tx>
          <c:spPr>
            <a:solidFill>
              <a:srgbClr val="047638"/>
            </a:solidFill>
            <a:ln>
              <a:noFill/>
            </a:ln>
            <a:effectLst/>
          </c:spPr>
          <c:invertIfNegative val="0"/>
          <c:cat>
            <c:numRef>
              <c:f>Sheet1!$A$2:$A$22</c:f>
              <c:numCache>
                <c:formatCode>General</c:formatCode>
                <c:ptCount val="2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numCache>
            </c:numRef>
          </c:cat>
          <c:val>
            <c:numRef>
              <c:f>Sheet1!$C$2:$C$22</c:f>
              <c:numCache>
                <c:formatCode>General</c:formatCode>
                <c:ptCount val="21"/>
                <c:pt idx="0">
                  <c:v>0.25850260000000003</c:v>
                </c:pt>
                <c:pt idx="1">
                  <c:v>0.47337050000000003</c:v>
                </c:pt>
                <c:pt idx="2">
                  <c:v>1.2198705000000001</c:v>
                </c:pt>
                <c:pt idx="3">
                  <c:v>2.2231648139765747</c:v>
                </c:pt>
                <c:pt idx="4">
                  <c:v>6.4560908055278956</c:v>
                </c:pt>
                <c:pt idx="5">
                  <c:v>6.4560908055278956</c:v>
                </c:pt>
                <c:pt idx="6">
                  <c:v>6.6598008055278957</c:v>
                </c:pt>
                <c:pt idx="7">
                  <c:v>7.2123408055278961</c:v>
                </c:pt>
                <c:pt idx="8">
                  <c:v>11.070213825527897</c:v>
                </c:pt>
                <c:pt idx="9">
                  <c:v>12.253372308642303</c:v>
                </c:pt>
                <c:pt idx="10">
                  <c:v>15.901702787520607</c:v>
                </c:pt>
                <c:pt idx="11">
                  <c:v>32.152045520460604</c:v>
                </c:pt>
                <c:pt idx="12">
                  <c:v>71.218755520460604</c:v>
                </c:pt>
                <c:pt idx="13">
                  <c:v>177.66049670555458</c:v>
                </c:pt>
                <c:pt idx="14">
                  <c:v>449.51539888760919</c:v>
                </c:pt>
                <c:pt idx="15">
                  <c:v>633.81412888760917</c:v>
                </c:pt>
                <c:pt idx="16">
                  <c:v>752.43912888760917</c:v>
                </c:pt>
                <c:pt idx="17">
                  <c:v>770.43912888760917</c:v>
                </c:pt>
                <c:pt idx="18">
                  <c:v>889.06412888760917</c:v>
                </c:pt>
                <c:pt idx="19">
                  <c:v>889.06412888760917</c:v>
                </c:pt>
                <c:pt idx="20">
                  <c:v>889.06412888760917</c:v>
                </c:pt>
              </c:numCache>
            </c:numRef>
          </c:val>
          <c:extLst>
            <c:ext xmlns:c16="http://schemas.microsoft.com/office/drawing/2014/chart" uri="{C3380CC4-5D6E-409C-BE32-E72D297353CC}">
              <c16:uniqueId val="{00000001-67EE-45B1-810C-94DDEE41FEA2}"/>
            </c:ext>
          </c:extLst>
        </c:ser>
        <c:dLbls>
          <c:showLegendKey val="0"/>
          <c:showVal val="0"/>
          <c:showCatName val="0"/>
          <c:showSerName val="0"/>
          <c:showPercent val="0"/>
          <c:showBubbleSize val="0"/>
        </c:dLbls>
        <c:gapWidth val="50"/>
        <c:overlap val="100"/>
        <c:axId val="718340112"/>
        <c:axId val="718335792"/>
      </c:barChart>
      <c:catAx>
        <c:axId val="71834011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718335792"/>
        <c:crosses val="autoZero"/>
        <c:auto val="1"/>
        <c:lblAlgn val="ctr"/>
        <c:lblOffset val="100"/>
        <c:tickLblSkip val="5"/>
        <c:noMultiLvlLbl val="0"/>
      </c:catAx>
      <c:valAx>
        <c:axId val="718335792"/>
        <c:scaling>
          <c:orientation val="minMax"/>
          <c:max val="5000"/>
        </c:scaling>
        <c:delete val="0"/>
        <c:axPos val="l"/>
        <c:numFmt formatCode="#,##0.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718340112"/>
        <c:crosses val="autoZero"/>
        <c:crossBetween val="between"/>
        <c:dispUnits>
          <c:builtInUnit val="thousands"/>
        </c:dispUnits>
      </c:valAx>
      <c:spPr>
        <a:noFill/>
        <a:ln>
          <a:noFill/>
        </a:ln>
        <a:effectLst/>
      </c:spPr>
    </c:plotArea>
    <c:legend>
      <c:legendPos val="b"/>
      <c:layout>
        <c:manualLayout>
          <c:xMode val="edge"/>
          <c:yMode val="edge"/>
          <c:x val="1.0647279972871412E-3"/>
          <c:y val="0.92617938063864469"/>
          <c:w val="0.99787036711092536"/>
          <c:h val="5.6327907991092947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Ubuntu" panose="020B050403060203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Operational</c:v>
                </c:pt>
              </c:strCache>
            </c:strRef>
          </c:tx>
          <c:spPr>
            <a:solidFill>
              <a:srgbClr val="9B4B00"/>
            </a:solidFill>
            <a:ln>
              <a:noFill/>
            </a:ln>
            <a:effectLst/>
          </c:spPr>
          <c:invertIfNegative val="0"/>
          <c:cat>
            <c:numRef>
              <c:f>Sheet1!$A$2:$A$22</c:f>
              <c:numCache>
                <c:formatCode>General</c:formatCode>
                <c:ptCount val="2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numCache>
            </c:numRef>
          </c:cat>
          <c:val>
            <c:numRef>
              <c:f>Sheet1!$B$2:$B$22</c:f>
              <c:numCache>
                <c:formatCode>General</c:formatCode>
                <c:ptCount val="21"/>
                <c:pt idx="0">
                  <c:v>1090.0365026000002</c:v>
                </c:pt>
                <c:pt idx="1">
                  <c:v>1090.2513705000001</c:v>
                </c:pt>
                <c:pt idx="2">
                  <c:v>1302.0888705000002</c:v>
                </c:pt>
                <c:pt idx="3">
                  <c:v>1976.5021648139768</c:v>
                </c:pt>
                <c:pt idx="4">
                  <c:v>1980.7350908055282</c:v>
                </c:pt>
                <c:pt idx="5">
                  <c:v>2489.9610908055283</c:v>
                </c:pt>
                <c:pt idx="6">
                  <c:v>2490.1648008055281</c:v>
                </c:pt>
                <c:pt idx="7">
                  <c:v>2490.7173408055282</c:v>
                </c:pt>
                <c:pt idx="8">
                  <c:v>2494.5752138255284</c:v>
                </c:pt>
                <c:pt idx="9">
                  <c:v>2495.7583723086427</c:v>
                </c:pt>
                <c:pt idx="10">
                  <c:v>3043.1517027875211</c:v>
                </c:pt>
                <c:pt idx="11">
                  <c:v>3059.4020455204609</c:v>
                </c:pt>
                <c:pt idx="12">
                  <c:v>3168.4687555204609</c:v>
                </c:pt>
                <c:pt idx="13">
                  <c:v>3199.3138555204609</c:v>
                </c:pt>
                <c:pt idx="14">
                  <c:v>3199.3138555204609</c:v>
                </c:pt>
                <c:pt idx="15">
                  <c:v>3199.3138555204609</c:v>
                </c:pt>
                <c:pt idx="16">
                  <c:v>3199.3138555204609</c:v>
                </c:pt>
                <c:pt idx="17">
                  <c:v>3199.3138555204609</c:v>
                </c:pt>
                <c:pt idx="18">
                  <c:v>3199.3138555204609</c:v>
                </c:pt>
                <c:pt idx="19">
                  <c:v>3199.3138555204609</c:v>
                </c:pt>
                <c:pt idx="20">
                  <c:v>3199.3138555204609</c:v>
                </c:pt>
              </c:numCache>
            </c:numRef>
          </c:val>
          <c:extLst>
            <c:ext xmlns:c16="http://schemas.microsoft.com/office/drawing/2014/chart" uri="{C3380CC4-5D6E-409C-BE32-E72D297353CC}">
              <c16:uniqueId val="{00000000-14CA-42FE-8802-61779D954FBB}"/>
            </c:ext>
          </c:extLst>
        </c:ser>
        <c:ser>
          <c:idx val="1"/>
          <c:order val="1"/>
          <c:tx>
            <c:strRef>
              <c:f>Sheet1!$C$1</c:f>
              <c:strCache>
                <c:ptCount val="1"/>
                <c:pt idx="0">
                  <c:v>FID/Under Construction</c:v>
                </c:pt>
              </c:strCache>
            </c:strRef>
          </c:tx>
          <c:spPr>
            <a:solidFill>
              <a:srgbClr val="F4F53A"/>
            </a:solidFill>
            <a:ln>
              <a:noFill/>
            </a:ln>
            <a:effectLst/>
          </c:spPr>
          <c:invertIfNegative val="0"/>
          <c:cat>
            <c:numRef>
              <c:f>Sheet1!$A$2:$A$22</c:f>
              <c:numCache>
                <c:formatCode>General</c:formatCode>
                <c:ptCount val="2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numCache>
            </c:numRef>
          </c:cat>
          <c:val>
            <c:numRef>
              <c:f>Sheet1!$C$2:$C$22</c:f>
              <c:numCache>
                <c:formatCode>General</c:formatCode>
                <c:ptCount val="21"/>
                <c:pt idx="0">
                  <c:v>0</c:v>
                </c:pt>
                <c:pt idx="1">
                  <c:v>0</c:v>
                </c:pt>
                <c:pt idx="2">
                  <c:v>0</c:v>
                </c:pt>
                <c:pt idx="3">
                  <c:v>0</c:v>
                </c:pt>
                <c:pt idx="4">
                  <c:v>0</c:v>
                </c:pt>
                <c:pt idx="5">
                  <c:v>0</c:v>
                </c:pt>
                <c:pt idx="6">
                  <c:v>0</c:v>
                </c:pt>
                <c:pt idx="7">
                  <c:v>0</c:v>
                </c:pt>
                <c:pt idx="8">
                  <c:v>0</c:v>
                </c:pt>
                <c:pt idx="9">
                  <c:v>0</c:v>
                </c:pt>
                <c:pt idx="10">
                  <c:v>0</c:v>
                </c:pt>
                <c:pt idx="11">
                  <c:v>0</c:v>
                </c:pt>
                <c:pt idx="12">
                  <c:v>0</c:v>
                </c:pt>
                <c:pt idx="13">
                  <c:v>75.596641185093972</c:v>
                </c:pt>
                <c:pt idx="14">
                  <c:v>352.70754336714862</c:v>
                </c:pt>
                <c:pt idx="15">
                  <c:v>563.62927336714858</c:v>
                </c:pt>
                <c:pt idx="16">
                  <c:v>682.25427336714858</c:v>
                </c:pt>
                <c:pt idx="17">
                  <c:v>700.25427336714858</c:v>
                </c:pt>
                <c:pt idx="18">
                  <c:v>818.87927336714858</c:v>
                </c:pt>
                <c:pt idx="19">
                  <c:v>818.87927336714858</c:v>
                </c:pt>
                <c:pt idx="20">
                  <c:v>818.87927336714858</c:v>
                </c:pt>
              </c:numCache>
            </c:numRef>
          </c:val>
          <c:extLst>
            <c:ext xmlns:c16="http://schemas.microsoft.com/office/drawing/2014/chart" uri="{C3380CC4-5D6E-409C-BE32-E72D297353CC}">
              <c16:uniqueId val="{00000001-14CA-42FE-8802-61779D954FBB}"/>
            </c:ext>
          </c:extLst>
        </c:ser>
        <c:ser>
          <c:idx val="2"/>
          <c:order val="2"/>
          <c:tx>
            <c:strRef>
              <c:f>Sheet1!$D$1</c:f>
              <c:strCache>
                <c:ptCount val="1"/>
                <c:pt idx="0">
                  <c:v>Pre-FID</c:v>
                </c:pt>
              </c:strCache>
            </c:strRef>
          </c:tx>
          <c:spPr>
            <a:solidFill>
              <a:srgbClr val="6BD236"/>
            </a:solidFill>
            <a:ln>
              <a:noFill/>
            </a:ln>
            <a:effectLst/>
          </c:spPr>
          <c:invertIfNegative val="0"/>
          <c:cat>
            <c:numRef>
              <c:f>Sheet1!$A$2:$A$22</c:f>
              <c:numCache>
                <c:formatCode>General</c:formatCode>
                <c:ptCount val="2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numCache>
            </c:numRef>
          </c:cat>
          <c:val>
            <c:numRef>
              <c:f>Sheet1!$D$2:$D$22</c:f>
              <c:numCache>
                <c:formatCode>General</c:formatCode>
                <c:ptCount val="21"/>
                <c:pt idx="0">
                  <c:v>0</c:v>
                </c:pt>
                <c:pt idx="1">
                  <c:v>0</c:v>
                </c:pt>
                <c:pt idx="2">
                  <c:v>0</c:v>
                </c:pt>
                <c:pt idx="3">
                  <c:v>0</c:v>
                </c:pt>
                <c:pt idx="4">
                  <c:v>0</c:v>
                </c:pt>
                <c:pt idx="5">
                  <c:v>0</c:v>
                </c:pt>
                <c:pt idx="6">
                  <c:v>0</c:v>
                </c:pt>
                <c:pt idx="7">
                  <c:v>0</c:v>
                </c:pt>
                <c:pt idx="8">
                  <c:v>0</c:v>
                </c:pt>
                <c:pt idx="9">
                  <c:v>0</c:v>
                </c:pt>
                <c:pt idx="10">
                  <c:v>0</c:v>
                </c:pt>
                <c:pt idx="11">
                  <c:v>0</c:v>
                </c:pt>
                <c:pt idx="12">
                  <c:v>0</c:v>
                </c:pt>
                <c:pt idx="13">
                  <c:v>57.14599503411759</c:v>
                </c:pt>
                <c:pt idx="14">
                  <c:v>440.64306478580693</c:v>
                </c:pt>
                <c:pt idx="15">
                  <c:v>1998.2238177820141</c:v>
                </c:pt>
                <c:pt idx="16">
                  <c:v>7681.1536959733003</c:v>
                </c:pt>
                <c:pt idx="17">
                  <c:v>19939.462122547353</c:v>
                </c:pt>
                <c:pt idx="18">
                  <c:v>28215.758433861534</c:v>
                </c:pt>
                <c:pt idx="19">
                  <c:v>35983.713065915501</c:v>
                </c:pt>
                <c:pt idx="20">
                  <c:v>43589.136359138873</c:v>
                </c:pt>
              </c:numCache>
            </c:numRef>
          </c:val>
          <c:extLst>
            <c:ext xmlns:c16="http://schemas.microsoft.com/office/drawing/2014/chart" uri="{C3380CC4-5D6E-409C-BE32-E72D297353CC}">
              <c16:uniqueId val="{00000002-14CA-42FE-8802-61779D954FBB}"/>
            </c:ext>
          </c:extLst>
        </c:ser>
        <c:dLbls>
          <c:showLegendKey val="0"/>
          <c:showVal val="0"/>
          <c:showCatName val="0"/>
          <c:showSerName val="0"/>
          <c:showPercent val="0"/>
          <c:showBubbleSize val="0"/>
        </c:dLbls>
        <c:gapWidth val="50"/>
        <c:overlap val="100"/>
        <c:axId val="718340112"/>
        <c:axId val="718335792"/>
      </c:barChart>
      <c:catAx>
        <c:axId val="71834011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718335792"/>
        <c:crosses val="autoZero"/>
        <c:auto val="1"/>
        <c:lblAlgn val="ctr"/>
        <c:lblOffset val="100"/>
        <c:tickLblSkip val="5"/>
        <c:noMultiLvlLbl val="0"/>
      </c:catAx>
      <c:valAx>
        <c:axId val="718335792"/>
        <c:scaling>
          <c:orientation val="minMax"/>
        </c:scaling>
        <c:delete val="0"/>
        <c:axPos val="l"/>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718340112"/>
        <c:crosses val="autoZero"/>
        <c:crossBetween val="between"/>
        <c:dispUnits>
          <c:builtInUnit val="thousands"/>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Ubuntu" panose="020B050403060203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tx>
            <c:strRef>
              <c:f>Sheet1!$B$1</c:f>
              <c:strCache>
                <c:ptCount val="1"/>
                <c:pt idx="0">
                  <c:v>Abandoned</c:v>
                </c:pt>
              </c:strCache>
            </c:strRef>
          </c:tx>
          <c:spPr>
            <a:solidFill>
              <a:srgbClr val="141400"/>
            </a:solidFill>
            <a:ln>
              <a:solidFill>
                <a:schemeClr val="tx1"/>
              </a:solidFill>
            </a:ln>
            <a:effectLst/>
          </c:spPr>
          <c:cat>
            <c:numRef>
              <c:f>Sheet1!$A$2:$A$42</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numRef>
          </c:cat>
          <c:val>
            <c:numRef>
              <c:f>Sheet1!$B$2:$B$42</c:f>
              <c:numCache>
                <c:formatCode>_(* #,##0.00_);_(* \(#,##0.00\);_(* "-"??_);_(@_)</c:formatCode>
                <c:ptCount val="41"/>
                <c:pt idx="0">
                  <c:v>186.22728709999998</c:v>
                </c:pt>
                <c:pt idx="1">
                  <c:v>166.7668817</c:v>
                </c:pt>
                <c:pt idx="2">
                  <c:v>144.65111730000001</c:v>
                </c:pt>
                <c:pt idx="3">
                  <c:v>123.63924689999999</c:v>
                </c:pt>
                <c:pt idx="4">
                  <c:v>105.68145660000002</c:v>
                </c:pt>
                <c:pt idx="5">
                  <c:v>90.710356689999998</c:v>
                </c:pt>
                <c:pt idx="6">
                  <c:v>80.376602900000009</c:v>
                </c:pt>
                <c:pt idx="7">
                  <c:v>63.875803100000006</c:v>
                </c:pt>
                <c:pt idx="8">
                  <c:v>51.332068959999994</c:v>
                </c:pt>
                <c:pt idx="9">
                  <c:v>40.193866409999998</c:v>
                </c:pt>
                <c:pt idx="10">
                  <c:v>29.898874499999998</c:v>
                </c:pt>
                <c:pt idx="11">
                  <c:v>23.421219300000001</c:v>
                </c:pt>
                <c:pt idx="12">
                  <c:v>13.6476632</c:v>
                </c:pt>
                <c:pt idx="13">
                  <c:v>5.6853067259999994</c:v>
                </c:pt>
                <c:pt idx="14">
                  <c:v>5.0413701000000005E-2</c:v>
                </c:pt>
                <c:pt idx="15">
                  <c:v>4.2679968800000002E-2</c:v>
                </c:pt>
                <c:pt idx="16">
                  <c:v>3.8379673600000004E-2</c:v>
                </c:pt>
                <c:pt idx="17">
                  <c:v>3.4657286700000005E-2</c:v>
                </c:pt>
                <c:pt idx="18">
                  <c:v>3.1597798599999997E-2</c:v>
                </c:pt>
                <c:pt idx="19">
                  <c:v>2.87422658E-2</c:v>
                </c:pt>
                <c:pt idx="20">
                  <c:v>2.5512798600000001E-2</c:v>
                </c:pt>
                <c:pt idx="21">
                  <c:v>2.2300327000000002E-2</c:v>
                </c:pt>
                <c:pt idx="22">
                  <c:v>1.8951877000000002E-2</c:v>
                </c:pt>
                <c:pt idx="23">
                  <c:v>1.4141671000000001E-2</c:v>
                </c:pt>
                <c:pt idx="24">
                  <c:v>2.1552450599999998E-2</c:v>
                </c:pt>
                <c:pt idx="25">
                  <c:v>8.9915193000000004E-2</c:v>
                </c:pt>
                <c:pt idx="26">
                  <c:v>7.7490232999999992E-2</c:v>
                </c:pt>
                <c:pt idx="27">
                  <c:v>6.7104947999999998E-2</c:v>
                </c:pt>
                <c:pt idx="28">
                  <c:v>5.8028437000000002E-2</c:v>
                </c:pt>
                <c:pt idx="29">
                  <c:v>5.0515678000000001E-2</c:v>
                </c:pt>
                <c:pt idx="30">
                  <c:v>4.4362688999999997E-2</c:v>
                </c:pt>
                <c:pt idx="31">
                  <c:v>4.2662977000000005E-2</c:v>
                </c:pt>
                <c:pt idx="32">
                  <c:v>3.7291856999999998E-2</c:v>
                </c:pt>
                <c:pt idx="33">
                  <c:v>3.2719613000000002E-2</c:v>
                </c:pt>
                <c:pt idx="34">
                  <c:v>2.9048215999999998E-2</c:v>
                </c:pt>
                <c:pt idx="35">
                  <c:v>2.5614781E-2</c:v>
                </c:pt>
                <c:pt idx="36">
                  <c:v>2.2028372999999997E-2</c:v>
                </c:pt>
                <c:pt idx="37">
                  <c:v>1.7932047E-2</c:v>
                </c:pt>
                <c:pt idx="38">
                  <c:v>1.5858385999999999E-2</c:v>
                </c:pt>
                <c:pt idx="39">
                  <c:v>1.4039688000000002E-2</c:v>
                </c:pt>
                <c:pt idx="40">
                  <c:v>1.2526936999999998E-2</c:v>
                </c:pt>
              </c:numCache>
            </c:numRef>
          </c:val>
          <c:extLst>
            <c:ext xmlns:c16="http://schemas.microsoft.com/office/drawing/2014/chart" uri="{C3380CC4-5D6E-409C-BE32-E72D297353CC}">
              <c16:uniqueId val="{00000000-4D61-4A98-B7CD-13D461780390}"/>
            </c:ext>
          </c:extLst>
        </c:ser>
        <c:ser>
          <c:idx val="1"/>
          <c:order val="1"/>
          <c:tx>
            <c:strRef>
              <c:f>Sheet1!$C$1</c:f>
              <c:strCache>
                <c:ptCount val="1"/>
                <c:pt idx="0">
                  <c:v>Producing</c:v>
                </c:pt>
              </c:strCache>
            </c:strRef>
          </c:tx>
          <c:spPr>
            <a:solidFill>
              <a:srgbClr val="9B4B00"/>
            </a:solidFill>
            <a:ln>
              <a:solidFill>
                <a:schemeClr val="tx1"/>
              </a:solidFill>
            </a:ln>
            <a:effectLst/>
          </c:spPr>
          <c:cat>
            <c:numRef>
              <c:f>Sheet1!$A$2:$A$42</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numRef>
          </c:cat>
          <c:val>
            <c:numRef>
              <c:f>Sheet1!$C$2:$C$42</c:f>
              <c:numCache>
                <c:formatCode>_(* #,##0.00_);_(* \(#,##0.00\);_(* "-"??_);_(@_)</c:formatCode>
                <c:ptCount val="41"/>
                <c:pt idx="0">
                  <c:v>3000.17004</c:v>
                </c:pt>
                <c:pt idx="1">
                  <c:v>3124.24872</c:v>
                </c:pt>
                <c:pt idx="2">
                  <c:v>3207.0442800000001</c:v>
                </c:pt>
                <c:pt idx="3">
                  <c:v>3253.8318799999997</c:v>
                </c:pt>
                <c:pt idx="4">
                  <c:v>3330.0449499999995</c:v>
                </c:pt>
                <c:pt idx="5">
                  <c:v>3387.1896100000004</c:v>
                </c:pt>
                <c:pt idx="6">
                  <c:v>3444.4588699999999</c:v>
                </c:pt>
                <c:pt idx="7">
                  <c:v>3608.5109000000002</c:v>
                </c:pt>
                <c:pt idx="8">
                  <c:v>3802.9264000000003</c:v>
                </c:pt>
                <c:pt idx="9">
                  <c:v>3932.4392000000003</c:v>
                </c:pt>
                <c:pt idx="10">
                  <c:v>3807.9648999999999</c:v>
                </c:pt>
                <c:pt idx="11">
                  <c:v>4017.6170000000002</c:v>
                </c:pt>
                <c:pt idx="12">
                  <c:v>4035.6447000000007</c:v>
                </c:pt>
                <c:pt idx="13">
                  <c:v>4020.0810999999999</c:v>
                </c:pt>
                <c:pt idx="14">
                  <c:v>3758.1584000000003</c:v>
                </c:pt>
                <c:pt idx="15">
                  <c:v>3503.5554999999999</c:v>
                </c:pt>
                <c:pt idx="16">
                  <c:v>3306.4549999999999</c:v>
                </c:pt>
                <c:pt idx="17">
                  <c:v>3115.0282999999999</c:v>
                </c:pt>
                <c:pt idx="18">
                  <c:v>2942.1117000000004</c:v>
                </c:pt>
                <c:pt idx="19">
                  <c:v>2761.3809200000001</c:v>
                </c:pt>
                <c:pt idx="20">
                  <c:v>2610.39851</c:v>
                </c:pt>
                <c:pt idx="21">
                  <c:v>2474.5117399999999</c:v>
                </c:pt>
                <c:pt idx="22">
                  <c:v>2342.3815100000002</c:v>
                </c:pt>
                <c:pt idx="23">
                  <c:v>2215.2723900000001</c:v>
                </c:pt>
                <c:pt idx="24">
                  <c:v>2095.7460000000001</c:v>
                </c:pt>
                <c:pt idx="25">
                  <c:v>1978.4258499999999</c:v>
                </c:pt>
                <c:pt idx="26">
                  <c:v>1877.2578299999998</c:v>
                </c:pt>
                <c:pt idx="27">
                  <c:v>1771.1410000000003</c:v>
                </c:pt>
                <c:pt idx="28">
                  <c:v>1680.3744699999997</c:v>
                </c:pt>
                <c:pt idx="29">
                  <c:v>1591.3348599999999</c:v>
                </c:pt>
                <c:pt idx="30">
                  <c:v>1502.8899899999999</c:v>
                </c:pt>
                <c:pt idx="31">
                  <c:v>1416.8771299999999</c:v>
                </c:pt>
                <c:pt idx="32">
                  <c:v>1320.0313199999998</c:v>
                </c:pt>
                <c:pt idx="33">
                  <c:v>1231.5672399999999</c:v>
                </c:pt>
                <c:pt idx="34">
                  <c:v>1148.2326499999999</c:v>
                </c:pt>
                <c:pt idx="35">
                  <c:v>1064.485561</c:v>
                </c:pt>
                <c:pt idx="36">
                  <c:v>998.18388300000004</c:v>
                </c:pt>
                <c:pt idx="37">
                  <c:v>939.35176199999989</c:v>
                </c:pt>
                <c:pt idx="38">
                  <c:v>886.04316900000015</c:v>
                </c:pt>
                <c:pt idx="39">
                  <c:v>829.84085100000004</c:v>
                </c:pt>
                <c:pt idx="40">
                  <c:v>781.11145800000008</c:v>
                </c:pt>
              </c:numCache>
            </c:numRef>
          </c:val>
          <c:extLst>
            <c:ext xmlns:c16="http://schemas.microsoft.com/office/drawing/2014/chart" uri="{C3380CC4-5D6E-409C-BE32-E72D297353CC}">
              <c16:uniqueId val="{00000001-4D61-4A98-B7CD-13D461780390}"/>
            </c:ext>
          </c:extLst>
        </c:ser>
        <c:ser>
          <c:idx val="2"/>
          <c:order val="2"/>
          <c:tx>
            <c:strRef>
              <c:f>Sheet1!$D$1</c:f>
              <c:strCache>
                <c:ptCount val="1"/>
                <c:pt idx="0">
                  <c:v>Under development</c:v>
                </c:pt>
              </c:strCache>
            </c:strRef>
          </c:tx>
          <c:spPr>
            <a:solidFill>
              <a:srgbClr val="FEFF00"/>
            </a:solidFill>
            <a:ln w="12700">
              <a:solidFill>
                <a:schemeClr val="tx1"/>
              </a:solidFill>
            </a:ln>
            <a:effectLst/>
          </c:spPr>
          <c:cat>
            <c:numRef>
              <c:f>Sheet1!$A$2:$A$42</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numRef>
          </c:cat>
          <c:val>
            <c:numRef>
              <c:f>Sheet1!$D$2:$D$42</c:f>
              <c:numCache>
                <c:formatCode>General</c:formatCode>
                <c:ptCount val="41"/>
                <c:pt idx="4" formatCode="_(* #,##0.00_);_(* \(#,##0.00\);_(* &quot;-&quot;??_);_(@_)">
                  <c:v>0</c:v>
                </c:pt>
                <c:pt idx="5" formatCode="_(* #,##0.00_);_(* \(#,##0.00\);_(* &quot;-&quot;??_);_(@_)">
                  <c:v>0</c:v>
                </c:pt>
                <c:pt idx="6" formatCode="_(* #,##0.00_);_(* \(#,##0.00\);_(* &quot;-&quot;??_);_(@_)">
                  <c:v>0</c:v>
                </c:pt>
                <c:pt idx="7" formatCode="_(* #,##0.00_);_(* \(#,##0.00\);_(* &quot;-&quot;??_);_(@_)">
                  <c:v>0</c:v>
                </c:pt>
                <c:pt idx="8" formatCode="_(* #,##0.00_);_(* \(#,##0.00\);_(* &quot;-&quot;??_);_(@_)">
                  <c:v>0</c:v>
                </c:pt>
                <c:pt idx="9" formatCode="_(* #,##0.00_);_(* \(#,##0.00\);_(* &quot;-&quot;??_);_(@_)">
                  <c:v>0</c:v>
                </c:pt>
                <c:pt idx="10" formatCode="_(* #,##0.00_);_(* \(#,##0.00\);_(* &quot;-&quot;??_);_(@_)">
                  <c:v>0</c:v>
                </c:pt>
                <c:pt idx="11" formatCode="_(* #,##0.00_);_(* \(#,##0.00\);_(* &quot;-&quot;??_);_(@_)">
                  <c:v>0</c:v>
                </c:pt>
                <c:pt idx="12" formatCode="_(* #,##0.00_);_(* \(#,##0.00\);_(* &quot;-&quot;??_);_(@_)">
                  <c:v>0</c:v>
                </c:pt>
                <c:pt idx="13" formatCode="_(* #,##0.00_);_(* \(#,##0.00\);_(* &quot;-&quot;??_);_(@_)">
                  <c:v>77.693585100000007</c:v>
                </c:pt>
                <c:pt idx="14" formatCode="_(* #,##0.00_);_(* \(#,##0.00\);_(* &quot;-&quot;??_);_(@_)">
                  <c:v>288.24084799999997</c:v>
                </c:pt>
                <c:pt idx="15" formatCode="_(* #,##0.00_);_(* \(#,##0.00\);_(* &quot;-&quot;??_);_(@_)">
                  <c:v>342.15106400000002</c:v>
                </c:pt>
                <c:pt idx="16" formatCode="_(* #,##0.00_);_(* \(#,##0.00\);_(* &quot;-&quot;??_);_(@_)">
                  <c:v>396.00860999999998</c:v>
                </c:pt>
                <c:pt idx="17" formatCode="_(* #,##0.00_);_(* \(#,##0.00\);_(* &quot;-&quot;??_);_(@_)">
                  <c:v>456.61123000000003</c:v>
                </c:pt>
                <c:pt idx="18" formatCode="_(* #,##0.00_);_(* \(#,##0.00\);_(* &quot;-&quot;??_);_(@_)">
                  <c:v>497.83681999999999</c:v>
                </c:pt>
                <c:pt idx="19" formatCode="_(* #,##0.00_);_(* \(#,##0.00\);_(* &quot;-&quot;??_);_(@_)">
                  <c:v>520.82442999999989</c:v>
                </c:pt>
                <c:pt idx="20" formatCode="_(* #,##0.00_);_(* \(#,##0.00\);_(* &quot;-&quot;??_);_(@_)">
                  <c:v>524.04519000000005</c:v>
                </c:pt>
                <c:pt idx="21" formatCode="_(* #,##0.00_);_(* \(#,##0.00\);_(* &quot;-&quot;??_);_(@_)">
                  <c:v>524.86572999999999</c:v>
                </c:pt>
                <c:pt idx="22" formatCode="_(* #,##0.00_);_(* \(#,##0.00\);_(* &quot;-&quot;??_);_(@_)">
                  <c:v>513.98452000000009</c:v>
                </c:pt>
                <c:pt idx="23" formatCode="_(* #,##0.00_);_(* \(#,##0.00\);_(* &quot;-&quot;??_);_(@_)">
                  <c:v>496.52708000000001</c:v>
                </c:pt>
                <c:pt idx="24" formatCode="_(* #,##0.00_);_(* \(#,##0.00\);_(* &quot;-&quot;??_);_(@_)">
                  <c:v>475.46474699999999</c:v>
                </c:pt>
                <c:pt idx="25" formatCode="_(* #,##0.00_);_(* \(#,##0.00\);_(* &quot;-&quot;??_);_(@_)">
                  <c:v>453.52357400000011</c:v>
                </c:pt>
                <c:pt idx="26" formatCode="_(* #,##0.00_);_(* \(#,##0.00\);_(* &quot;-&quot;??_);_(@_)">
                  <c:v>431.36402399999997</c:v>
                </c:pt>
                <c:pt idx="27" formatCode="_(* #,##0.00_);_(* \(#,##0.00\);_(* &quot;-&quot;??_);_(@_)">
                  <c:v>407.76069000000001</c:v>
                </c:pt>
                <c:pt idx="28" formatCode="_(* #,##0.00_);_(* \(#,##0.00\);_(* &quot;-&quot;??_);_(@_)">
                  <c:v>383.36663399999998</c:v>
                </c:pt>
                <c:pt idx="29" formatCode="_(* #,##0.00_);_(* \(#,##0.00\);_(* &quot;-&quot;??_);_(@_)">
                  <c:v>360.575177</c:v>
                </c:pt>
                <c:pt idx="30" formatCode="_(* #,##0.00_);_(* \(#,##0.00\);_(* &quot;-&quot;??_);_(@_)">
                  <c:v>345.70001400000001</c:v>
                </c:pt>
                <c:pt idx="31" formatCode="_(* #,##0.00_);_(* \(#,##0.00\);_(* &quot;-&quot;??_);_(@_)">
                  <c:v>325.35824200000002</c:v>
                </c:pt>
                <c:pt idx="32" formatCode="_(* #,##0.00_);_(* \(#,##0.00\);_(* &quot;-&quot;??_);_(@_)">
                  <c:v>308.01548500000001</c:v>
                </c:pt>
                <c:pt idx="33" formatCode="_(* #,##0.00_);_(* \(#,##0.00\);_(* &quot;-&quot;??_);_(@_)">
                  <c:v>291.84506300000004</c:v>
                </c:pt>
                <c:pt idx="34" formatCode="_(* #,##0.00_);_(* \(#,##0.00\);_(* &quot;-&quot;??_);_(@_)">
                  <c:v>277.22120899999999</c:v>
                </c:pt>
                <c:pt idx="35" formatCode="_(* #,##0.00_);_(* \(#,##0.00\);_(* &quot;-&quot;??_);_(@_)">
                  <c:v>263.04282080000002</c:v>
                </c:pt>
                <c:pt idx="36" formatCode="_(* #,##0.00_);_(* \(#,##0.00\);_(* &quot;-&quot;??_);_(@_)">
                  <c:v>246.52976079999999</c:v>
                </c:pt>
                <c:pt idx="37" formatCode="_(* #,##0.00_);_(* \(#,##0.00\);_(* &quot;-&quot;??_);_(@_)">
                  <c:v>233.75950370000001</c:v>
                </c:pt>
                <c:pt idx="38" formatCode="_(* #,##0.00_);_(* \(#,##0.00\);_(* &quot;-&quot;??_);_(@_)">
                  <c:v>219.5798935</c:v>
                </c:pt>
                <c:pt idx="39" formatCode="_(* #,##0.00_);_(* \(#,##0.00\);_(* &quot;-&quot;??_);_(@_)">
                  <c:v>205.37058409999997</c:v>
                </c:pt>
                <c:pt idx="40" formatCode="_(* #,##0.00_);_(* \(#,##0.00\);_(* &quot;-&quot;??_);_(@_)">
                  <c:v>193.04604939999999</c:v>
                </c:pt>
              </c:numCache>
            </c:numRef>
          </c:val>
          <c:extLst>
            <c:ext xmlns:c16="http://schemas.microsoft.com/office/drawing/2014/chart" uri="{C3380CC4-5D6E-409C-BE32-E72D297353CC}">
              <c16:uniqueId val="{00000002-4D61-4A98-B7CD-13D461780390}"/>
            </c:ext>
          </c:extLst>
        </c:ser>
        <c:ser>
          <c:idx val="12"/>
          <c:order val="10"/>
          <c:tx>
            <c:strRef>
              <c:f>Sheet1!$N$1</c:f>
              <c:strCache>
                <c:ptCount val="1"/>
                <c:pt idx="0">
                  <c:v>Discovery</c:v>
                </c:pt>
              </c:strCache>
            </c:strRef>
          </c:tx>
          <c:spPr>
            <a:solidFill>
              <a:srgbClr val="63CF2B"/>
            </a:solidFill>
            <a:ln>
              <a:solidFill>
                <a:schemeClr val="tx1"/>
              </a:solidFill>
            </a:ln>
            <a:effectLst/>
          </c:spPr>
          <c:cat>
            <c:numRef>
              <c:f>Sheet1!$A$2:$A$42</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numRef>
          </c:cat>
          <c:val>
            <c:numRef>
              <c:f>Sheet1!$N$2:$N$42</c:f>
              <c:numCache>
                <c:formatCode>General</c:formatCode>
                <c:ptCount val="41"/>
                <c:pt idx="12">
                  <c:v>0</c:v>
                </c:pt>
                <c:pt idx="13">
                  <c:v>5.780410314</c:v>
                </c:pt>
                <c:pt idx="14">
                  <c:v>174.66400120079999</c:v>
                </c:pt>
                <c:pt idx="15">
                  <c:v>409.82710218700004</c:v>
                </c:pt>
                <c:pt idx="16">
                  <c:v>596.85380010000006</c:v>
                </c:pt>
                <c:pt idx="17">
                  <c:v>760.19358299999988</c:v>
                </c:pt>
                <c:pt idx="18">
                  <c:v>962.72189000000003</c:v>
                </c:pt>
                <c:pt idx="19">
                  <c:v>1135.45263</c:v>
                </c:pt>
                <c:pt idx="20">
                  <c:v>1289.2742700000001</c:v>
                </c:pt>
                <c:pt idx="21">
                  <c:v>1388.8685400000002</c:v>
                </c:pt>
                <c:pt idx="22">
                  <c:v>1476.4649100000001</c:v>
                </c:pt>
                <c:pt idx="23">
                  <c:v>1549.0687699999999</c:v>
                </c:pt>
                <c:pt idx="24">
                  <c:v>1601.2110600000001</c:v>
                </c:pt>
                <c:pt idx="25">
                  <c:v>1652.7606500000002</c:v>
                </c:pt>
                <c:pt idx="26">
                  <c:v>1731.6801300000004</c:v>
                </c:pt>
                <c:pt idx="27">
                  <c:v>1783.25308</c:v>
                </c:pt>
                <c:pt idx="28">
                  <c:v>1791.8543399999999</c:v>
                </c:pt>
                <c:pt idx="29">
                  <c:v>1773.5595500000002</c:v>
                </c:pt>
                <c:pt idx="30">
                  <c:v>1744.19274</c:v>
                </c:pt>
                <c:pt idx="31">
                  <c:v>1709.06638</c:v>
                </c:pt>
                <c:pt idx="32">
                  <c:v>1669.99091</c:v>
                </c:pt>
                <c:pt idx="33">
                  <c:v>1619.99962</c:v>
                </c:pt>
                <c:pt idx="34">
                  <c:v>1576.0898599999998</c:v>
                </c:pt>
                <c:pt idx="35">
                  <c:v>1531.9313099999999</c:v>
                </c:pt>
                <c:pt idx="36">
                  <c:v>1514.72802</c:v>
                </c:pt>
                <c:pt idx="37">
                  <c:v>1493.2743800000001</c:v>
                </c:pt>
                <c:pt idx="38">
                  <c:v>1446.8343199999999</c:v>
                </c:pt>
                <c:pt idx="39">
                  <c:v>1384.9342199999999</c:v>
                </c:pt>
                <c:pt idx="40">
                  <c:v>1327.1453999999999</c:v>
                </c:pt>
              </c:numCache>
            </c:numRef>
          </c:val>
          <c:extLst>
            <c:ext xmlns:c16="http://schemas.microsoft.com/office/drawing/2014/chart" uri="{C3380CC4-5D6E-409C-BE32-E72D297353CC}">
              <c16:uniqueId val="{00000003-4D61-4A98-B7CD-13D461780390}"/>
            </c:ext>
          </c:extLst>
        </c:ser>
        <c:dLbls>
          <c:showLegendKey val="0"/>
          <c:showVal val="0"/>
          <c:showCatName val="0"/>
          <c:showSerName val="0"/>
          <c:showPercent val="0"/>
          <c:showBubbleSize val="0"/>
        </c:dLbls>
        <c:axId val="1156685279"/>
        <c:axId val="1156675199"/>
      </c:areaChart>
      <c:lineChart>
        <c:grouping val="standard"/>
        <c:varyColors val="0"/>
        <c:ser>
          <c:idx val="4"/>
          <c:order val="3"/>
          <c:tx>
            <c:strRef>
              <c:f>Sheet1!$F$1</c:f>
              <c:strCache>
                <c:ptCount val="1"/>
                <c:pt idx="0">
                  <c:v>IEA APS</c:v>
                </c:pt>
              </c:strCache>
            </c:strRef>
          </c:tx>
          <c:spPr>
            <a:ln w="28575" cap="rnd">
              <a:solidFill>
                <a:srgbClr val="0044FF"/>
              </a:solidFill>
              <a:prstDash val="dash"/>
              <a:round/>
            </a:ln>
            <a:effectLst/>
          </c:spPr>
          <c:marker>
            <c:symbol val="none"/>
          </c:marker>
          <c:cat>
            <c:numRef>
              <c:f>Sheet1!$A$2:$A$42</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numRef>
          </c:cat>
          <c:val>
            <c:numRef>
              <c:f>Sheet1!$F$2:$F$42</c:f>
              <c:numCache>
                <c:formatCode>General</c:formatCode>
                <c:ptCount val="41"/>
                <c:pt idx="0">
                  <c:v>3186.3973271</c:v>
                </c:pt>
                <c:pt idx="1">
                  <c:v>3291.0156016999999</c:v>
                </c:pt>
                <c:pt idx="2">
                  <c:v>3351.6953973</c:v>
                </c:pt>
                <c:pt idx="3">
                  <c:v>3377.4711268999999</c:v>
                </c:pt>
                <c:pt idx="4">
                  <c:v>3435.7264065999993</c:v>
                </c:pt>
                <c:pt idx="5">
                  <c:v>3477.8999666900004</c:v>
                </c:pt>
                <c:pt idx="6">
                  <c:v>3524.8354728999998</c:v>
                </c:pt>
                <c:pt idx="7">
                  <c:v>3672.3867031000004</c:v>
                </c:pt>
                <c:pt idx="8">
                  <c:v>3854.2584689600003</c:v>
                </c:pt>
                <c:pt idx="9">
                  <c:v>3972.6330664100001</c:v>
                </c:pt>
                <c:pt idx="10">
                  <c:v>3837.8637745000001</c:v>
                </c:pt>
                <c:pt idx="11">
                  <c:v>4041.0382193</c:v>
                </c:pt>
                <c:pt idx="12">
                  <c:v>3976.5039999999999</c:v>
                </c:pt>
                <c:pt idx="13">
                  <c:v>4130.48828125</c:v>
                </c:pt>
                <c:pt idx="14">
                  <c:v>4119.76708984375</c:v>
                </c:pt>
                <c:pt idx="15">
                  <c:v>4118.0986328125</c:v>
                </c:pt>
                <c:pt idx="16">
                  <c:v>4100.193359375</c:v>
                </c:pt>
                <c:pt idx="17">
                  <c:v>4074.22778320313</c:v>
                </c:pt>
                <c:pt idx="18">
                  <c:v>4020.57592773438</c:v>
                </c:pt>
                <c:pt idx="19">
                  <c:v>3968.81030273438</c:v>
                </c:pt>
                <c:pt idx="20">
                  <c:v>3874</c:v>
                </c:pt>
                <c:pt idx="21">
                  <c:v>3790.04614257813</c:v>
                </c:pt>
                <c:pt idx="22">
                  <c:v>3702.30102539063</c:v>
                </c:pt>
                <c:pt idx="23">
                  <c:v>3621.38598632813</c:v>
                </c:pt>
                <c:pt idx="24">
                  <c:v>3541.02954101563</c:v>
                </c:pt>
                <c:pt idx="25">
                  <c:v>3428.08520507813</c:v>
                </c:pt>
                <c:pt idx="26">
                  <c:v>3352.615234375</c:v>
                </c:pt>
                <c:pt idx="27">
                  <c:v>3292.64477539063</c:v>
                </c:pt>
                <c:pt idx="28">
                  <c:v>3208.29956054688</c:v>
                </c:pt>
                <c:pt idx="29">
                  <c:v>3148.81689453125</c:v>
                </c:pt>
                <c:pt idx="30">
                  <c:v>3105.23291015625</c:v>
                </c:pt>
                <c:pt idx="31">
                  <c:v>3062.84301757813</c:v>
                </c:pt>
                <c:pt idx="32">
                  <c:v>2996.9208984375</c:v>
                </c:pt>
                <c:pt idx="33">
                  <c:v>2957.10571289063</c:v>
                </c:pt>
                <c:pt idx="34">
                  <c:v>2918.33813476563</c:v>
                </c:pt>
                <c:pt idx="35">
                  <c:v>2880.57763671875</c:v>
                </c:pt>
                <c:pt idx="36">
                  <c:v>2823.31689453125</c:v>
                </c:pt>
                <c:pt idx="37">
                  <c:v>2787.236328125</c:v>
                </c:pt>
                <c:pt idx="38">
                  <c:v>2744.525390625</c:v>
                </c:pt>
                <c:pt idx="39">
                  <c:v>2693.76879882813</c:v>
                </c:pt>
                <c:pt idx="40">
                  <c:v>2661</c:v>
                </c:pt>
              </c:numCache>
            </c:numRef>
          </c:val>
          <c:smooth val="0"/>
          <c:extLst>
            <c:ext xmlns:c16="http://schemas.microsoft.com/office/drawing/2014/chart" uri="{C3380CC4-5D6E-409C-BE32-E72D297353CC}">
              <c16:uniqueId val="{00000004-4D61-4A98-B7CD-13D461780390}"/>
            </c:ext>
          </c:extLst>
        </c:ser>
        <c:ser>
          <c:idx val="5"/>
          <c:order val="4"/>
          <c:tx>
            <c:strRef>
              <c:f>Sheet1!$G$1</c:f>
              <c:strCache>
                <c:ptCount val="1"/>
                <c:pt idx="0">
                  <c:v>IEA NZE</c:v>
                </c:pt>
              </c:strCache>
            </c:strRef>
          </c:tx>
          <c:spPr>
            <a:ln w="28575" cap="rnd">
              <a:solidFill>
                <a:srgbClr val="0044FF"/>
              </a:solidFill>
              <a:prstDash val="sysDot"/>
              <a:round/>
            </a:ln>
            <a:effectLst/>
          </c:spPr>
          <c:marker>
            <c:symbol val="none"/>
          </c:marker>
          <c:cat>
            <c:numRef>
              <c:f>Sheet1!$A$2:$A$42</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numRef>
          </c:cat>
          <c:val>
            <c:numRef>
              <c:f>Sheet1!$G$2:$G$42</c:f>
              <c:numCache>
                <c:formatCode>General</c:formatCode>
                <c:ptCount val="41"/>
                <c:pt idx="0">
                  <c:v>3186.3973271</c:v>
                </c:pt>
                <c:pt idx="1">
                  <c:v>3291.0156016999999</c:v>
                </c:pt>
                <c:pt idx="2">
                  <c:v>3351.6953973</c:v>
                </c:pt>
                <c:pt idx="3">
                  <c:v>3377.4711268999999</c:v>
                </c:pt>
                <c:pt idx="4">
                  <c:v>3435.7264065999993</c:v>
                </c:pt>
                <c:pt idx="5">
                  <c:v>3477.8999666900004</c:v>
                </c:pt>
                <c:pt idx="6">
                  <c:v>3524.8354728999998</c:v>
                </c:pt>
                <c:pt idx="7">
                  <c:v>3672.3867031000004</c:v>
                </c:pt>
                <c:pt idx="8">
                  <c:v>3854.2584689600003</c:v>
                </c:pt>
                <c:pt idx="9">
                  <c:v>3972.6330664100001</c:v>
                </c:pt>
                <c:pt idx="10">
                  <c:v>3837.8637745000001</c:v>
                </c:pt>
                <c:pt idx="11">
                  <c:v>4041.0382193</c:v>
                </c:pt>
                <c:pt idx="12">
                  <c:v>3976.5038499999996</c:v>
                </c:pt>
                <c:pt idx="13">
                  <c:v>4103.23681640625</c:v>
                </c:pt>
                <c:pt idx="14">
                  <c:v>4070.64184570313</c:v>
                </c:pt>
                <c:pt idx="15">
                  <c:v>3991.23950195313</c:v>
                </c:pt>
                <c:pt idx="16">
                  <c:v>3882.86938476563</c:v>
                </c:pt>
                <c:pt idx="17">
                  <c:v>3825.99633789063</c:v>
                </c:pt>
                <c:pt idx="18">
                  <c:v>3680.48803710938</c:v>
                </c:pt>
                <c:pt idx="19">
                  <c:v>3475.103515625</c:v>
                </c:pt>
                <c:pt idx="20">
                  <c:v>3268.27661132813</c:v>
                </c:pt>
                <c:pt idx="21">
                  <c:v>3065.44189453125</c:v>
                </c:pt>
                <c:pt idx="22">
                  <c:v>2884.98071289063</c:v>
                </c:pt>
                <c:pt idx="23">
                  <c:v>2610.107421875</c:v>
                </c:pt>
                <c:pt idx="24">
                  <c:v>2397.41333007813</c:v>
                </c:pt>
                <c:pt idx="25">
                  <c:v>2241.28857421875</c:v>
                </c:pt>
                <c:pt idx="26">
                  <c:v>2118.37548828125</c:v>
                </c:pt>
                <c:pt idx="27">
                  <c:v>1954.64953613281</c:v>
                </c:pt>
                <c:pt idx="28">
                  <c:v>1853.3349609375</c:v>
                </c:pt>
                <c:pt idx="29">
                  <c:v>1742.46325683594</c:v>
                </c:pt>
                <c:pt idx="30">
                  <c:v>1629.375</c:v>
                </c:pt>
                <c:pt idx="31">
                  <c:v>1583.60546875</c:v>
                </c:pt>
                <c:pt idx="32">
                  <c:v>1518.64111328125</c:v>
                </c:pt>
                <c:pt idx="33">
                  <c:v>1446.49060058594</c:v>
                </c:pt>
                <c:pt idx="34">
                  <c:v>1396.01684570313</c:v>
                </c:pt>
                <c:pt idx="35">
                  <c:v>1373.29663085938</c:v>
                </c:pt>
                <c:pt idx="36">
                  <c:v>1327.22888183594</c:v>
                </c:pt>
                <c:pt idx="37">
                  <c:v>1282.75695800781</c:v>
                </c:pt>
                <c:pt idx="38">
                  <c:v>1273.57653808594</c:v>
                </c:pt>
                <c:pt idx="39">
                  <c:v>1237.59326171875</c:v>
                </c:pt>
                <c:pt idx="40">
                  <c:v>1159</c:v>
                </c:pt>
              </c:numCache>
            </c:numRef>
          </c:val>
          <c:smooth val="0"/>
          <c:extLst>
            <c:ext xmlns:c16="http://schemas.microsoft.com/office/drawing/2014/chart" uri="{C3380CC4-5D6E-409C-BE32-E72D297353CC}">
              <c16:uniqueId val="{00000005-4D61-4A98-B7CD-13D461780390}"/>
            </c:ext>
          </c:extLst>
        </c:ser>
        <c:ser>
          <c:idx val="6"/>
          <c:order val="5"/>
          <c:tx>
            <c:strRef>
              <c:f>Sheet1!$H$1</c:f>
              <c:strCache>
                <c:ptCount val="1"/>
                <c:pt idx="0">
                  <c:v>RE 1.6 DG</c:v>
                </c:pt>
              </c:strCache>
            </c:strRef>
          </c:tx>
          <c:spPr>
            <a:ln w="28575" cap="rnd">
              <a:solidFill>
                <a:srgbClr val="E58843"/>
              </a:solidFill>
              <a:prstDash val="sysDot"/>
              <a:round/>
            </a:ln>
            <a:effectLst/>
          </c:spPr>
          <c:marker>
            <c:symbol val="none"/>
          </c:marker>
          <c:cat>
            <c:numRef>
              <c:f>Sheet1!$A$2:$A$42</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numRef>
          </c:cat>
          <c:val>
            <c:numRef>
              <c:f>Sheet1!$H$2:$H$42</c:f>
              <c:numCache>
                <c:formatCode>General</c:formatCode>
                <c:ptCount val="41"/>
                <c:pt idx="0">
                  <c:v>3187.0838597163001</c:v>
                </c:pt>
                <c:pt idx="1">
                  <c:v>3295.6090142944699</c:v>
                </c:pt>
                <c:pt idx="2">
                  <c:v>3358.3549050410902</c:v>
                </c:pt>
                <c:pt idx="3">
                  <c:v>3388.1234903763798</c:v>
                </c:pt>
                <c:pt idx="4">
                  <c:v>3442.1091202155699</c:v>
                </c:pt>
                <c:pt idx="5">
                  <c:v>3486.5526825235602</c:v>
                </c:pt>
                <c:pt idx="6">
                  <c:v>3533.7782113487501</c:v>
                </c:pt>
                <c:pt idx="7">
                  <c:v>3684.1402300957802</c:v>
                </c:pt>
                <c:pt idx="8">
                  <c:v>3880.6382872754398</c:v>
                </c:pt>
                <c:pt idx="9">
                  <c:v>3991.0625887331298</c:v>
                </c:pt>
                <c:pt idx="10">
                  <c:v>3852.7605513151798</c:v>
                </c:pt>
                <c:pt idx="11">
                  <c:v>4036.1518365409702</c:v>
                </c:pt>
                <c:pt idx="12">
                  <c:v>3976.5039999999999</c:v>
                </c:pt>
                <c:pt idx="13">
                  <c:v>3979.6928781508213</c:v>
                </c:pt>
                <c:pt idx="14">
                  <c:v>4008.3431685616606</c:v>
                </c:pt>
                <c:pt idx="15">
                  <c:v>4062.0320083637862</c:v>
                </c:pt>
                <c:pt idx="16">
                  <c:v>4110.0746231781013</c:v>
                </c:pt>
                <c:pt idx="17">
                  <c:v>4155.7229258692651</c:v>
                </c:pt>
                <c:pt idx="18">
                  <c:v>4198.0708395373968</c:v>
                </c:pt>
                <c:pt idx="19">
                  <c:v>4236.6744522479303</c:v>
                </c:pt>
                <c:pt idx="20">
                  <c:v>4267.7066810767246</c:v>
                </c:pt>
                <c:pt idx="21">
                  <c:v>4261.9321825002535</c:v>
                </c:pt>
                <c:pt idx="22">
                  <c:v>4216.0323456185961</c:v>
                </c:pt>
                <c:pt idx="23">
                  <c:v>4151.4962282820743</c:v>
                </c:pt>
                <c:pt idx="24">
                  <c:v>4076.1075252971787</c:v>
                </c:pt>
                <c:pt idx="25">
                  <c:v>3996.5080209032217</c:v>
                </c:pt>
                <c:pt idx="26">
                  <c:v>3896.998303914439</c:v>
                </c:pt>
                <c:pt idx="27">
                  <c:v>3782.0444413810524</c:v>
                </c:pt>
                <c:pt idx="28">
                  <c:v>3640.7190485427818</c:v>
                </c:pt>
                <c:pt idx="29">
                  <c:v>3473.3844633443882</c:v>
                </c:pt>
                <c:pt idx="30">
                  <c:v>3296.9464580208614</c:v>
                </c:pt>
                <c:pt idx="31">
                  <c:v>3125.4808816745895</c:v>
                </c:pt>
                <c:pt idx="32">
                  <c:v>2960.6799125195857</c:v>
                </c:pt>
                <c:pt idx="33">
                  <c:v>2801.6534109669042</c:v>
                </c:pt>
                <c:pt idx="34">
                  <c:v>2648.6664492082423</c:v>
                </c:pt>
                <c:pt idx="35">
                  <c:v>2501.7848917526235</c:v>
                </c:pt>
                <c:pt idx="36">
                  <c:v>2360.7505681046105</c:v>
                </c:pt>
                <c:pt idx="37">
                  <c:v>2225.5946241003812</c:v>
                </c:pt>
                <c:pt idx="38">
                  <c:v>2096.1664578414052</c:v>
                </c:pt>
                <c:pt idx="39">
                  <c:v>1972.3435925416422</c:v>
                </c:pt>
                <c:pt idx="40">
                  <c:v>1854.09046689141</c:v>
                </c:pt>
              </c:numCache>
            </c:numRef>
          </c:val>
          <c:smooth val="0"/>
          <c:extLst>
            <c:ext xmlns:c16="http://schemas.microsoft.com/office/drawing/2014/chart" uri="{C3380CC4-5D6E-409C-BE32-E72D297353CC}">
              <c16:uniqueId val="{00000006-4D61-4A98-B7CD-13D461780390}"/>
            </c:ext>
          </c:extLst>
        </c:ser>
        <c:ser>
          <c:idx val="7"/>
          <c:order val="6"/>
          <c:tx>
            <c:strRef>
              <c:f>Sheet1!$I$1</c:f>
              <c:strCache>
                <c:ptCount val="1"/>
                <c:pt idx="0">
                  <c:v>RE 1.9 DG</c:v>
                </c:pt>
              </c:strCache>
            </c:strRef>
          </c:tx>
          <c:spPr>
            <a:ln w="28575" cap="rnd">
              <a:solidFill>
                <a:srgbClr val="E58843"/>
              </a:solidFill>
              <a:round/>
            </a:ln>
            <a:effectLst/>
          </c:spPr>
          <c:marker>
            <c:symbol val="none"/>
          </c:marker>
          <c:cat>
            <c:numRef>
              <c:f>Sheet1!$A$2:$A$42</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numRef>
          </c:cat>
          <c:val>
            <c:numRef>
              <c:f>Sheet1!$I$2:$I$42</c:f>
              <c:numCache>
                <c:formatCode>General</c:formatCode>
                <c:ptCount val="41"/>
                <c:pt idx="0">
                  <c:v>3187.0838597163001</c:v>
                </c:pt>
                <c:pt idx="1">
                  <c:v>3295.6090142944699</c:v>
                </c:pt>
                <c:pt idx="2">
                  <c:v>3358.3549050410902</c:v>
                </c:pt>
                <c:pt idx="3">
                  <c:v>3388.1234903763798</c:v>
                </c:pt>
                <c:pt idx="4">
                  <c:v>3442.1091202155699</c:v>
                </c:pt>
                <c:pt idx="5">
                  <c:v>3486.5526825235602</c:v>
                </c:pt>
                <c:pt idx="6">
                  <c:v>3533.7782113487501</c:v>
                </c:pt>
                <c:pt idx="7">
                  <c:v>3684.1402300957802</c:v>
                </c:pt>
                <c:pt idx="8">
                  <c:v>3880.6382872754398</c:v>
                </c:pt>
                <c:pt idx="9">
                  <c:v>3991.0625887331298</c:v>
                </c:pt>
                <c:pt idx="10">
                  <c:v>3852.7605513151798</c:v>
                </c:pt>
                <c:pt idx="11">
                  <c:v>4036.1518365409702</c:v>
                </c:pt>
                <c:pt idx="12">
                  <c:v>3976.5039999999999</c:v>
                </c:pt>
                <c:pt idx="13">
                  <c:v>4030.884566514515</c:v>
                </c:pt>
                <c:pt idx="14">
                  <c:v>4103.7339940558768</c:v>
                </c:pt>
                <c:pt idx="15">
                  <c:v>4187.2635899347652</c:v>
                </c:pt>
                <c:pt idx="16">
                  <c:v>4271.5696300461213</c:v>
                </c:pt>
                <c:pt idx="17">
                  <c:v>4356.182103144778</c:v>
                </c:pt>
                <c:pt idx="18">
                  <c:v>4441.1427040368208</c:v>
                </c:pt>
                <c:pt idx="19">
                  <c:v>4523.4543426654336</c:v>
                </c:pt>
                <c:pt idx="20">
                  <c:v>4602.0933593218215</c:v>
                </c:pt>
                <c:pt idx="21">
                  <c:v>4656.4423867680771</c:v>
                </c:pt>
                <c:pt idx="22">
                  <c:v>4685.8326038318537</c:v>
                </c:pt>
                <c:pt idx="23">
                  <c:v>4703.593784069074</c:v>
                </c:pt>
                <c:pt idx="24">
                  <c:v>4705.2722169138187</c:v>
                </c:pt>
                <c:pt idx="25">
                  <c:v>4697.829175649108</c:v>
                </c:pt>
                <c:pt idx="26">
                  <c:v>4673.0822196141271</c:v>
                </c:pt>
                <c:pt idx="27">
                  <c:v>4631.9966397216858</c:v>
                </c:pt>
                <c:pt idx="28">
                  <c:v>4570.2044550429255</c:v>
                </c:pt>
                <c:pt idx="29">
                  <c:v>4490.517053587907</c:v>
                </c:pt>
                <c:pt idx="30">
                  <c:v>4400.9576474140622</c:v>
                </c:pt>
                <c:pt idx="31">
                  <c:v>4303.9450070910834</c:v>
                </c:pt>
                <c:pt idx="32">
                  <c:v>4211.496682347426</c:v>
                </c:pt>
                <c:pt idx="33">
                  <c:v>4113.0250664132445</c:v>
                </c:pt>
                <c:pt idx="34">
                  <c:v>4011.74964587556</c:v>
                </c:pt>
                <c:pt idx="35">
                  <c:v>3909.0804185589714</c:v>
                </c:pt>
                <c:pt idx="36">
                  <c:v>3803.0796483916201</c:v>
                </c:pt>
                <c:pt idx="37">
                  <c:v>3695.2930378879641</c:v>
                </c:pt>
                <c:pt idx="38">
                  <c:v>3585.433910194371</c:v>
                </c:pt>
                <c:pt idx="39">
                  <c:v>3473.7183799787954</c:v>
                </c:pt>
                <c:pt idx="40">
                  <c:v>3360.8809320042092</c:v>
                </c:pt>
              </c:numCache>
            </c:numRef>
          </c:val>
          <c:smooth val="0"/>
          <c:extLst>
            <c:ext xmlns:c16="http://schemas.microsoft.com/office/drawing/2014/chart" uri="{C3380CC4-5D6E-409C-BE32-E72D297353CC}">
              <c16:uniqueId val="{00000007-4D61-4A98-B7CD-13D461780390}"/>
            </c:ext>
          </c:extLst>
        </c:ser>
        <c:ser>
          <c:idx val="8"/>
          <c:order val="7"/>
          <c:tx>
            <c:strRef>
              <c:f>Sheet1!$J$1</c:f>
              <c:strCache>
                <c:ptCount val="1"/>
                <c:pt idx="0">
                  <c:v>RE 2.2 DG</c:v>
                </c:pt>
              </c:strCache>
            </c:strRef>
          </c:tx>
          <c:spPr>
            <a:ln w="28575" cap="rnd">
              <a:solidFill>
                <a:srgbClr val="E58843"/>
              </a:solidFill>
              <a:prstDash val="lgDash"/>
              <a:round/>
            </a:ln>
            <a:effectLst/>
          </c:spPr>
          <c:marker>
            <c:symbol val="none"/>
          </c:marker>
          <c:cat>
            <c:numRef>
              <c:f>Sheet1!$A$2:$A$42</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numRef>
          </c:cat>
          <c:val>
            <c:numRef>
              <c:f>Sheet1!$J$2:$J$42</c:f>
              <c:numCache>
                <c:formatCode>General</c:formatCode>
                <c:ptCount val="41"/>
                <c:pt idx="0">
                  <c:v>3187.0838597163001</c:v>
                </c:pt>
                <c:pt idx="1">
                  <c:v>3295.6090142944699</c:v>
                </c:pt>
                <c:pt idx="2">
                  <c:v>3358.3549050410902</c:v>
                </c:pt>
                <c:pt idx="3">
                  <c:v>3388.1234903763798</c:v>
                </c:pt>
                <c:pt idx="4">
                  <c:v>3442.1091202155699</c:v>
                </c:pt>
                <c:pt idx="5">
                  <c:v>3486.5526825235602</c:v>
                </c:pt>
                <c:pt idx="6">
                  <c:v>3533.7782113487501</c:v>
                </c:pt>
                <c:pt idx="7">
                  <c:v>3684.1402300957802</c:v>
                </c:pt>
                <c:pt idx="8">
                  <c:v>3880.6382872754398</c:v>
                </c:pt>
                <c:pt idx="9">
                  <c:v>3991.0625887331298</c:v>
                </c:pt>
                <c:pt idx="10">
                  <c:v>3852.7605513151798</c:v>
                </c:pt>
                <c:pt idx="11">
                  <c:v>4036.1518365409702</c:v>
                </c:pt>
                <c:pt idx="12">
                  <c:v>3976.5039999999999</c:v>
                </c:pt>
                <c:pt idx="13">
                  <c:v>4079.883470477519</c:v>
                </c:pt>
                <c:pt idx="14">
                  <c:v>4174.7845433239108</c:v>
                </c:pt>
                <c:pt idx="15">
                  <c:v>4272.1116738388782</c:v>
                </c:pt>
                <c:pt idx="16">
                  <c:v>4371.7471881472611</c:v>
                </c:pt>
                <c:pt idx="17">
                  <c:v>4472.0194196401362</c:v>
                </c:pt>
                <c:pt idx="18">
                  <c:v>4572.944110966986</c:v>
                </c:pt>
                <c:pt idx="19">
                  <c:v>4671.5686798239485</c:v>
                </c:pt>
                <c:pt idx="20">
                  <c:v>4767.8111418298704</c:v>
                </c:pt>
                <c:pt idx="21">
                  <c:v>4848.7748189211616</c:v>
                </c:pt>
                <c:pt idx="22">
                  <c:v>4915.1366176119136</c:v>
                </c:pt>
                <c:pt idx="23">
                  <c:v>4974.0466027318107</c:v>
                </c:pt>
                <c:pt idx="24">
                  <c:v>5017.5824624158558</c:v>
                </c:pt>
                <c:pt idx="25">
                  <c:v>5051.1728446545521</c:v>
                </c:pt>
                <c:pt idx="26">
                  <c:v>5068.7853565001442</c:v>
                </c:pt>
                <c:pt idx="27">
                  <c:v>5072.4926880926432</c:v>
                </c:pt>
                <c:pt idx="28">
                  <c:v>5061.2979242094643</c:v>
                </c:pt>
                <c:pt idx="29">
                  <c:v>5038.2168395054168</c:v>
                </c:pt>
                <c:pt idx="30">
                  <c:v>5006.1477408614264</c:v>
                </c:pt>
                <c:pt idx="31">
                  <c:v>4962.8284012546628</c:v>
                </c:pt>
                <c:pt idx="32">
                  <c:v>4921.1317112156721</c:v>
                </c:pt>
                <c:pt idx="33">
                  <c:v>4869.3683985790431</c:v>
                </c:pt>
                <c:pt idx="34">
                  <c:v>4811.1873953099757</c:v>
                </c:pt>
                <c:pt idx="35">
                  <c:v>4748.101184432604</c:v>
                </c:pt>
                <c:pt idx="36">
                  <c:v>4676.8934929561619</c:v>
                </c:pt>
                <c:pt idx="37">
                  <c:v>4599.3247291533671</c:v>
                </c:pt>
                <c:pt idx="38">
                  <c:v>4515.1866249359855</c:v>
                </c:pt>
                <c:pt idx="39">
                  <c:v>4424.7860243318864</c:v>
                </c:pt>
                <c:pt idx="40">
                  <c:v>4329.0221614436177</c:v>
                </c:pt>
              </c:numCache>
            </c:numRef>
          </c:val>
          <c:smooth val="0"/>
          <c:extLst>
            <c:ext xmlns:c16="http://schemas.microsoft.com/office/drawing/2014/chart" uri="{C3380CC4-5D6E-409C-BE32-E72D297353CC}">
              <c16:uniqueId val="{00000008-4D61-4A98-B7CD-13D461780390}"/>
            </c:ext>
          </c:extLst>
        </c:ser>
        <c:ser>
          <c:idx val="10"/>
          <c:order val="8"/>
          <c:tx>
            <c:strRef>
              <c:f>Sheet1!$L$1</c:f>
              <c:strCache>
                <c:ptCount val="1"/>
                <c:pt idx="0">
                  <c:v>IEEJ</c:v>
                </c:pt>
              </c:strCache>
            </c:strRef>
          </c:tx>
          <c:spPr>
            <a:ln w="28575" cap="rnd">
              <a:solidFill>
                <a:srgbClr val="5387BA"/>
              </a:solidFill>
              <a:round/>
            </a:ln>
            <a:effectLst/>
          </c:spPr>
          <c:marker>
            <c:symbol val="none"/>
          </c:marker>
          <c:cat>
            <c:numRef>
              <c:f>Sheet1!$A$2:$A$42</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numRef>
          </c:cat>
          <c:val>
            <c:numRef>
              <c:f>Sheet1!$L$2:$L$42</c:f>
              <c:numCache>
                <c:formatCode>_(* #,##0.00_);_(* \(#,##0.00\);_(* "-"??_);_(@_)</c:formatCode>
                <c:ptCount val="41"/>
                <c:pt idx="0">
                  <c:v>3187.0838597163001</c:v>
                </c:pt>
                <c:pt idx="1">
                  <c:v>3295.6090142944699</c:v>
                </c:pt>
                <c:pt idx="2">
                  <c:v>3358.3549050410902</c:v>
                </c:pt>
                <c:pt idx="3">
                  <c:v>3388.1234903763798</c:v>
                </c:pt>
                <c:pt idx="4">
                  <c:v>3442.1091202155699</c:v>
                </c:pt>
                <c:pt idx="5">
                  <c:v>3486.5526825235602</c:v>
                </c:pt>
                <c:pt idx="6">
                  <c:v>3533.7782113487501</c:v>
                </c:pt>
                <c:pt idx="7">
                  <c:v>3684.1402300957802</c:v>
                </c:pt>
                <c:pt idx="8">
                  <c:v>3880.6382872754398</c:v>
                </c:pt>
                <c:pt idx="9">
                  <c:v>3991.0625887331298</c:v>
                </c:pt>
                <c:pt idx="10">
                  <c:v>3852.7605513151798</c:v>
                </c:pt>
                <c:pt idx="11">
                  <c:v>4036.1518365409702</c:v>
                </c:pt>
                <c:pt idx="12">
                  <c:v>3976.5039999999999</c:v>
                </c:pt>
                <c:pt idx="13">
                  <c:v>4030.1372116693437</c:v>
                </c:pt>
                <c:pt idx="14">
                  <c:v>4084.4938028182423</c:v>
                </c:pt>
                <c:pt idx="15">
                  <c:v>4139.5835300481594</c:v>
                </c:pt>
                <c:pt idx="16">
                  <c:v>4195.416281552999</c:v>
                </c:pt>
                <c:pt idx="17">
                  <c:v>4252.0020788939655</c:v>
                </c:pt>
                <c:pt idx="18">
                  <c:v>4309.351078798356</c:v>
                </c:pt>
                <c:pt idx="19">
                  <c:v>4367.4735749826186</c:v>
                </c:pt>
                <c:pt idx="20">
                  <c:v>4426.3799999999974</c:v>
                </c:pt>
                <c:pt idx="21">
                  <c:v>4485.1894137075824</c:v>
                </c:pt>
                <c:pt idx="22">
                  <c:v>4544.7801763144098</c:v>
                </c:pt>
                <c:pt idx="23">
                  <c:v>4605.16266891534</c:v>
                </c:pt>
                <c:pt idx="24">
                  <c:v>4666.3474105296991</c:v>
                </c:pt>
                <c:pt idx="25">
                  <c:v>4728.3450599337621</c:v>
                </c:pt>
                <c:pt idx="26">
                  <c:v>4791.1664175175802</c:v>
                </c:pt>
                <c:pt idx="27">
                  <c:v>4854.8224271664758</c:v>
                </c:pt>
                <c:pt idx="28">
                  <c:v>4919.3241781675406</c:v>
                </c:pt>
                <c:pt idx="29">
                  <c:v>4984.6829071414604</c:v>
                </c:pt>
                <c:pt idx="30">
                  <c:v>5050.9100000000062</c:v>
                </c:pt>
                <c:pt idx="31">
                  <c:v>5103.8199171292445</c:v>
                </c:pt>
                <c:pt idx="32">
                  <c:v>5157.2840827663003</c:v>
                </c:pt>
                <c:pt idx="33">
                  <c:v>5211.3083028436931</c:v>
                </c:pt>
                <c:pt idx="34">
                  <c:v>5265.8984441129633</c:v>
                </c:pt>
                <c:pt idx="35">
                  <c:v>5321.0604347817734</c:v>
                </c:pt>
                <c:pt idx="36">
                  <c:v>5376.8002651576799</c:v>
                </c:pt>
                <c:pt idx="37">
                  <c:v>5433.1239882986501</c:v>
                </c:pt>
                <c:pt idx="38">
                  <c:v>5490.0377206703924</c:v>
                </c:pt>
                <c:pt idx="39">
                  <c:v>5547.547642810574</c:v>
                </c:pt>
                <c:pt idx="40">
                  <c:v>5605.6599999999926</c:v>
                </c:pt>
              </c:numCache>
            </c:numRef>
          </c:val>
          <c:smooth val="0"/>
          <c:extLst>
            <c:ext xmlns:c16="http://schemas.microsoft.com/office/drawing/2014/chart" uri="{C3380CC4-5D6E-409C-BE32-E72D297353CC}">
              <c16:uniqueId val="{00000009-4D61-4A98-B7CD-13D461780390}"/>
            </c:ext>
          </c:extLst>
        </c:ser>
        <c:ser>
          <c:idx val="3"/>
          <c:order val="11"/>
          <c:tx>
            <c:strRef>
              <c:f>Sheet1!$E$1</c:f>
              <c:strCache>
                <c:ptCount val="1"/>
                <c:pt idx="0">
                  <c:v>IEA STEPS</c:v>
                </c:pt>
              </c:strCache>
            </c:strRef>
          </c:tx>
          <c:spPr>
            <a:ln w="28575" cap="rnd">
              <a:solidFill>
                <a:srgbClr val="0044FF"/>
              </a:solidFill>
              <a:round/>
            </a:ln>
            <a:effectLst/>
          </c:spPr>
          <c:marker>
            <c:symbol val="none"/>
          </c:marker>
          <c:cat>
            <c:numRef>
              <c:f>Sheet1!$A$2:$A$42</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numRef>
          </c:cat>
          <c:val>
            <c:numRef>
              <c:f>Sheet1!$E$2:$E$42</c:f>
              <c:numCache>
                <c:formatCode>General</c:formatCode>
                <c:ptCount val="41"/>
                <c:pt idx="0">
                  <c:v>3186.3973271</c:v>
                </c:pt>
                <c:pt idx="1">
                  <c:v>3291.0156016999999</c:v>
                </c:pt>
                <c:pt idx="2">
                  <c:v>3351.6953973</c:v>
                </c:pt>
                <c:pt idx="3">
                  <c:v>3377.4711268999999</c:v>
                </c:pt>
                <c:pt idx="4">
                  <c:v>3435.7264065999993</c:v>
                </c:pt>
                <c:pt idx="5">
                  <c:v>3477.8999666900004</c:v>
                </c:pt>
                <c:pt idx="6">
                  <c:v>3524.8354728999998</c:v>
                </c:pt>
                <c:pt idx="7">
                  <c:v>3672.3867031000004</c:v>
                </c:pt>
                <c:pt idx="8">
                  <c:v>3854.2584689600003</c:v>
                </c:pt>
                <c:pt idx="9">
                  <c:v>3972.6330664100001</c:v>
                </c:pt>
                <c:pt idx="10">
                  <c:v>3837.8637745000001</c:v>
                </c:pt>
                <c:pt idx="11">
                  <c:v>4041.0382193</c:v>
                </c:pt>
                <c:pt idx="12">
                  <c:v>3976.5039999999999</c:v>
                </c:pt>
                <c:pt idx="13">
                  <c:v>4025.9409999999998</c:v>
                </c:pt>
                <c:pt idx="14">
                  <c:v>4075.3779999999997</c:v>
                </c:pt>
                <c:pt idx="15">
                  <c:v>4124.8149999999996</c:v>
                </c:pt>
                <c:pt idx="16">
                  <c:v>4174.2519999999995</c:v>
                </c:pt>
                <c:pt idx="17">
                  <c:v>4223.6889999999994</c:v>
                </c:pt>
                <c:pt idx="18">
                  <c:v>4273.1259999999993</c:v>
                </c:pt>
                <c:pt idx="19">
                  <c:v>4322.5629999999992</c:v>
                </c:pt>
                <c:pt idx="20">
                  <c:v>4372</c:v>
                </c:pt>
                <c:pt idx="21">
                  <c:v>4371.25</c:v>
                </c:pt>
                <c:pt idx="22">
                  <c:v>4370.5</c:v>
                </c:pt>
                <c:pt idx="23">
                  <c:v>4369.75</c:v>
                </c:pt>
                <c:pt idx="24">
                  <c:v>4369</c:v>
                </c:pt>
                <c:pt idx="25">
                  <c:v>4368.25</c:v>
                </c:pt>
                <c:pt idx="26">
                  <c:v>4367.5</c:v>
                </c:pt>
                <c:pt idx="27">
                  <c:v>4366.75</c:v>
                </c:pt>
                <c:pt idx="28">
                  <c:v>4366</c:v>
                </c:pt>
                <c:pt idx="29">
                  <c:v>4365.25</c:v>
                </c:pt>
                <c:pt idx="30">
                  <c:v>4364.5</c:v>
                </c:pt>
                <c:pt idx="31">
                  <c:v>4363.75</c:v>
                </c:pt>
                <c:pt idx="32">
                  <c:v>4363</c:v>
                </c:pt>
                <c:pt idx="33">
                  <c:v>4362.25</c:v>
                </c:pt>
                <c:pt idx="34">
                  <c:v>4361.5</c:v>
                </c:pt>
                <c:pt idx="35">
                  <c:v>4360.75</c:v>
                </c:pt>
                <c:pt idx="36">
                  <c:v>4360</c:v>
                </c:pt>
                <c:pt idx="37">
                  <c:v>4359.25</c:v>
                </c:pt>
                <c:pt idx="38">
                  <c:v>4358.5</c:v>
                </c:pt>
                <c:pt idx="39">
                  <c:v>4357.75</c:v>
                </c:pt>
                <c:pt idx="40">
                  <c:v>4357</c:v>
                </c:pt>
              </c:numCache>
            </c:numRef>
          </c:val>
          <c:smooth val="0"/>
          <c:extLst>
            <c:ext xmlns:c16="http://schemas.microsoft.com/office/drawing/2014/chart" uri="{C3380CC4-5D6E-409C-BE32-E72D297353CC}">
              <c16:uniqueId val="{0000000A-4D61-4A98-B7CD-13D461780390}"/>
            </c:ext>
          </c:extLst>
        </c:ser>
        <c:dLbls>
          <c:showLegendKey val="0"/>
          <c:showVal val="0"/>
          <c:showCatName val="0"/>
          <c:showSerName val="0"/>
          <c:showPercent val="0"/>
          <c:showBubbleSize val="0"/>
        </c:dLbls>
        <c:marker val="1"/>
        <c:smooth val="0"/>
        <c:axId val="1156685279"/>
        <c:axId val="1156675199"/>
        <c:extLst>
          <c:ext xmlns:c15="http://schemas.microsoft.com/office/drawing/2012/chart" uri="{02D57815-91ED-43cb-92C2-25804820EDAC}">
            <c15:filteredLineSeries>
              <c15:ser>
                <c:idx val="11"/>
                <c:order val="9"/>
                <c:tx>
                  <c:strRef>
                    <c:extLst>
                      <c:ext uri="{02D57815-91ED-43cb-92C2-25804820EDAC}">
                        <c15:formulaRef>
                          <c15:sqref>Sheet1!$M$1</c15:sqref>
                        </c15:formulaRef>
                      </c:ext>
                    </c:extLst>
                    <c:strCache>
                      <c:ptCount val="1"/>
                      <c:pt idx="0">
                        <c:v>RE 1.5</c:v>
                      </c:pt>
                    </c:strCache>
                  </c:strRef>
                </c:tx>
                <c:spPr>
                  <a:ln w="28575" cap="rnd">
                    <a:solidFill>
                      <a:srgbClr val="E58843"/>
                    </a:solidFill>
                    <a:prstDash val="lgDashDotDot"/>
                    <a:round/>
                  </a:ln>
                  <a:effectLst/>
                </c:spPr>
                <c:marker>
                  <c:symbol val="none"/>
                </c:marker>
                <c:cat>
                  <c:numRef>
                    <c:extLst>
                      <c:ext uri="{02D57815-91ED-43cb-92C2-25804820EDAC}">
                        <c15:formulaRef>
                          <c15:sqref>Sheet1!$A$2:$A$42</c15:sqref>
                        </c15:formulaRef>
                      </c:ext>
                    </c:extLst>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numRef>
                </c:cat>
                <c:val>
                  <c:numRef>
                    <c:extLst>
                      <c:ext uri="{02D57815-91ED-43cb-92C2-25804820EDAC}">
                        <c15:formulaRef>
                          <c15:sqref>Sheet1!$M$2:$M$42</c15:sqref>
                        </c15:formulaRef>
                      </c:ext>
                    </c:extLst>
                    <c:numCache>
                      <c:formatCode>_(* #,##0.00_);_(* \(#,##0.00\);_(* "-"??_);_(@_)</c:formatCode>
                      <c:ptCount val="41"/>
                      <c:pt idx="0">
                        <c:v>3187.0838597163001</c:v>
                      </c:pt>
                      <c:pt idx="1">
                        <c:v>3295.6090142944699</c:v>
                      </c:pt>
                      <c:pt idx="2">
                        <c:v>3358.3549050410902</c:v>
                      </c:pt>
                      <c:pt idx="3">
                        <c:v>3388.1234903763798</c:v>
                      </c:pt>
                      <c:pt idx="4">
                        <c:v>3442.1091202155699</c:v>
                      </c:pt>
                      <c:pt idx="5">
                        <c:v>3486.5526825235602</c:v>
                      </c:pt>
                      <c:pt idx="6">
                        <c:v>3533.7782113487501</c:v>
                      </c:pt>
                      <c:pt idx="7">
                        <c:v>3684.1402300957802</c:v>
                      </c:pt>
                      <c:pt idx="8">
                        <c:v>3880.6382872754398</c:v>
                      </c:pt>
                      <c:pt idx="9">
                        <c:v>3991.0625887331298</c:v>
                      </c:pt>
                      <c:pt idx="10">
                        <c:v>3852.7605513151798</c:v>
                      </c:pt>
                      <c:pt idx="11">
                        <c:v>4036.1518365409702</c:v>
                      </c:pt>
                      <c:pt idx="12">
                        <c:v>3976.5039999999999</c:v>
                      </c:pt>
                      <c:pt idx="13">
                        <c:v>3957.6590000000001</c:v>
                      </c:pt>
                      <c:pt idx="14">
                        <c:v>3944.4870000000001</c:v>
                      </c:pt>
                      <c:pt idx="15">
                        <c:v>3918.5889999999999</c:v>
                      </c:pt>
                      <c:pt idx="16">
                        <c:v>3864.8270000000002</c:v>
                      </c:pt>
                      <c:pt idx="17">
                        <c:v>3755.3609999999999</c:v>
                      </c:pt>
                      <c:pt idx="18">
                        <c:v>3623.8919999999998</c:v>
                      </c:pt>
                      <c:pt idx="19">
                        <c:v>3437.114</c:v>
                      </c:pt>
                      <c:pt idx="20">
                        <c:v>3218.7170000000001</c:v>
                      </c:pt>
                      <c:pt idx="21">
                        <c:v>3016.9290000000001</c:v>
                      </c:pt>
                      <c:pt idx="22">
                        <c:v>2833.8739999999998</c:v>
                      </c:pt>
                      <c:pt idx="23">
                        <c:v>2672.8440000000001</c:v>
                      </c:pt>
                      <c:pt idx="24">
                        <c:v>2531.8409999999999</c:v>
                      </c:pt>
                      <c:pt idx="25">
                        <c:v>2409.0500000000002</c:v>
                      </c:pt>
                      <c:pt idx="26">
                        <c:v>2291.3690000000001</c:v>
                      </c:pt>
                      <c:pt idx="27">
                        <c:v>2178.0320000000002</c:v>
                      </c:pt>
                      <c:pt idx="28">
                        <c:v>2060.1489999999999</c:v>
                      </c:pt>
                      <c:pt idx="29">
                        <c:v>1935.6949999999999</c:v>
                      </c:pt>
                      <c:pt idx="30">
                        <c:v>1812.5889999999999</c:v>
                      </c:pt>
                      <c:pt idx="31">
                        <c:v>1697.721</c:v>
                      </c:pt>
                      <c:pt idx="32">
                        <c:v>1590.443</c:v>
                      </c:pt>
                      <c:pt idx="33">
                        <c:v>1489.95</c:v>
                      </c:pt>
                      <c:pt idx="34">
                        <c:v>1395.5940000000001</c:v>
                      </c:pt>
                      <c:pt idx="35">
                        <c:v>1306.83</c:v>
                      </c:pt>
                      <c:pt idx="36">
                        <c:v>1223.204</c:v>
                      </c:pt>
                      <c:pt idx="37">
                        <c:v>1144.336</c:v>
                      </c:pt>
                      <c:pt idx="38">
                        <c:v>1069.9010000000001</c:v>
                      </c:pt>
                      <c:pt idx="39">
                        <c:v>999.61720000000003</c:v>
                      </c:pt>
                      <c:pt idx="40">
                        <c:v>933.26930000000004</c:v>
                      </c:pt>
                    </c:numCache>
                  </c:numRef>
                </c:val>
                <c:smooth val="0"/>
                <c:extLst>
                  <c:ext xmlns:c16="http://schemas.microsoft.com/office/drawing/2014/chart" uri="{C3380CC4-5D6E-409C-BE32-E72D297353CC}">
                    <c16:uniqueId val="{0000000B-4D61-4A98-B7CD-13D461780390}"/>
                  </c:ext>
                </c:extLst>
              </c15:ser>
            </c15:filteredLineSeries>
          </c:ext>
        </c:extLst>
      </c:lineChart>
      <c:catAx>
        <c:axId val="1156685279"/>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1156675199"/>
        <c:crosses val="autoZero"/>
        <c:auto val="1"/>
        <c:lblAlgn val="ctr"/>
        <c:lblOffset val="0"/>
        <c:tickLblSkip val="5"/>
        <c:noMultiLvlLbl val="0"/>
      </c:catAx>
      <c:valAx>
        <c:axId val="1156675199"/>
        <c:scaling>
          <c:orientation val="minMax"/>
        </c:scaling>
        <c:delete val="0"/>
        <c:axPos val="l"/>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1156685279"/>
        <c:crosses val="autoZero"/>
        <c:crossBetween val="midCat"/>
      </c:valAx>
      <c:spPr>
        <a:noFill/>
        <a:ln>
          <a:noFill/>
        </a:ln>
        <a:effectLst/>
      </c:spPr>
    </c:plotArea>
    <c:legend>
      <c:legendPos val="b"/>
      <c:legendEntry>
        <c:idx val="4"/>
        <c:delete val="1"/>
      </c:legendEntry>
      <c:legendEntry>
        <c:idx val="5"/>
        <c:delete val="1"/>
      </c:legendEntry>
      <c:legendEntry>
        <c:idx val="6"/>
        <c:delete val="1"/>
      </c:legendEntry>
      <c:legendEntry>
        <c:idx val="7"/>
        <c:delete val="1"/>
      </c:legendEntry>
      <c:legendEntry>
        <c:idx val="8"/>
        <c:delete val="1"/>
      </c:legendEntry>
      <c:legendEntry>
        <c:idx val="9"/>
        <c:delete val="1"/>
      </c:legendEntry>
      <c:legendEntry>
        <c:idx val="10"/>
        <c:delete val="1"/>
      </c:legendEntry>
      <c:layout>
        <c:manualLayout>
          <c:xMode val="edge"/>
          <c:yMode val="edge"/>
          <c:x val="6.4316325533611443E-4"/>
          <c:y val="0.92364907875301805"/>
          <c:w val="0.99935683674466391"/>
          <c:h val="5.8258623461056563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Ubuntu" panose="020B050403060203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370754439732987"/>
          <c:y val="0"/>
          <c:w val="0.66629885561133861"/>
          <c:h val="1"/>
        </c:manualLayout>
      </c:layout>
      <c:doughnutChart>
        <c:varyColors val="1"/>
        <c:ser>
          <c:idx val="0"/>
          <c:order val="0"/>
          <c:tx>
            <c:strRef>
              <c:f>Sheet1!$B$1</c:f>
              <c:strCache>
                <c:ptCount val="1"/>
                <c:pt idx="0">
                  <c:v>Sales</c:v>
                </c:pt>
              </c:strCache>
            </c:strRef>
          </c:tx>
          <c:spPr>
            <a:solidFill>
              <a:srgbClr val="01436C"/>
            </a:solidFill>
            <a:ln>
              <a:noFill/>
            </a:ln>
          </c:spPr>
          <c:dPt>
            <c:idx val="0"/>
            <c:bubble3D val="0"/>
            <c:spPr>
              <a:solidFill>
                <a:srgbClr val="01436C"/>
              </a:solidFill>
              <a:ln w="19050">
                <a:noFill/>
              </a:ln>
              <a:effectLst/>
            </c:spPr>
            <c:extLst>
              <c:ext xmlns:c16="http://schemas.microsoft.com/office/drawing/2014/chart" uri="{C3380CC4-5D6E-409C-BE32-E72D297353CC}">
                <c16:uniqueId val="{00000001-4C4A-4C31-A4F5-7CC0F31EBB9E}"/>
              </c:ext>
            </c:extLst>
          </c:dPt>
          <c:dPt>
            <c:idx val="1"/>
            <c:bubble3D val="0"/>
            <c:spPr>
              <a:solidFill>
                <a:srgbClr val="01436C"/>
              </a:solidFill>
              <a:ln w="19050">
                <a:noFill/>
              </a:ln>
              <a:effectLst/>
            </c:spPr>
            <c:extLst>
              <c:ext xmlns:c16="http://schemas.microsoft.com/office/drawing/2014/chart" uri="{C3380CC4-5D6E-409C-BE32-E72D297353CC}">
                <c16:uniqueId val="{00000003-4C4A-4C31-A4F5-7CC0F31EBB9E}"/>
              </c:ext>
            </c:extLst>
          </c:dPt>
          <c:dPt>
            <c:idx val="2"/>
            <c:bubble3D val="0"/>
            <c:spPr>
              <a:solidFill>
                <a:srgbClr val="01436C"/>
              </a:solidFill>
              <a:ln w="19050">
                <a:noFill/>
              </a:ln>
              <a:effectLst/>
            </c:spPr>
            <c:extLst>
              <c:ext xmlns:c16="http://schemas.microsoft.com/office/drawing/2014/chart" uri="{C3380CC4-5D6E-409C-BE32-E72D297353CC}">
                <c16:uniqueId val="{00000005-4C4A-4C31-A4F5-7CC0F31EBB9E}"/>
              </c:ext>
            </c:extLst>
          </c:dPt>
          <c:dPt>
            <c:idx val="3"/>
            <c:bubble3D val="0"/>
            <c:spPr>
              <a:solidFill>
                <a:srgbClr val="01436C"/>
              </a:solidFill>
              <a:ln w="19050">
                <a:noFill/>
              </a:ln>
              <a:effectLst/>
            </c:spPr>
            <c:extLst>
              <c:ext xmlns:c16="http://schemas.microsoft.com/office/drawing/2014/chart" uri="{C3380CC4-5D6E-409C-BE32-E72D297353CC}">
                <c16:uniqueId val="{00000007-4C4A-4C31-A4F5-7CC0F31EBB9E}"/>
              </c:ext>
            </c:extLst>
          </c:dPt>
          <c:cat>
            <c:strRef>
              <c:f>Sheet1!$A$2:$A$3</c:f>
              <c:strCache>
                <c:ptCount val="2"/>
                <c:pt idx="0">
                  <c:v>1st Qtr</c:v>
                </c:pt>
                <c:pt idx="1">
                  <c:v>2nd Qtr</c:v>
                </c:pt>
              </c:strCache>
            </c:strRef>
          </c:cat>
          <c:val>
            <c:numRef>
              <c:f>Sheet1!$B$2:$B$3</c:f>
              <c:numCache>
                <c:formatCode>General</c:formatCode>
                <c:ptCount val="2"/>
                <c:pt idx="0">
                  <c:v>20</c:v>
                </c:pt>
              </c:numCache>
            </c:numRef>
          </c:val>
          <c:extLst>
            <c:ext xmlns:c16="http://schemas.microsoft.com/office/drawing/2014/chart" uri="{C3380CC4-5D6E-409C-BE32-E72D297353CC}">
              <c16:uniqueId val="{00000008-4C4A-4C31-A4F5-7CC0F31EBB9E}"/>
            </c:ext>
          </c:extLst>
        </c:ser>
        <c:dLbls>
          <c:showLegendKey val="0"/>
          <c:showVal val="0"/>
          <c:showCatName val="0"/>
          <c:showSerName val="0"/>
          <c:showPercent val="0"/>
          <c:showBubbleSize val="0"/>
          <c:showLeaderLines val="1"/>
        </c:dLbls>
        <c:firstSliceAng val="0"/>
        <c:holeSize val="78"/>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370754439732987"/>
          <c:y val="0"/>
          <c:w val="0.66629885561133861"/>
          <c:h val="1"/>
        </c:manualLayout>
      </c:layout>
      <c:doughnut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tx2"/>
                </a:solidFill>
              </a:ln>
              <a:effectLst/>
            </c:spPr>
            <c:extLst>
              <c:ext xmlns:c16="http://schemas.microsoft.com/office/drawing/2014/chart" uri="{C3380CC4-5D6E-409C-BE32-E72D297353CC}">
                <c16:uniqueId val="{00000001-CA1B-4127-81EE-B9800ADEF92E}"/>
              </c:ext>
            </c:extLst>
          </c:dPt>
          <c:dPt>
            <c:idx val="1"/>
            <c:bubble3D val="0"/>
            <c:spPr>
              <a:solidFill>
                <a:schemeClr val="bg1"/>
              </a:solidFill>
              <a:ln w="19050">
                <a:solidFill>
                  <a:schemeClr val="tx2"/>
                </a:solidFill>
              </a:ln>
              <a:effectLst/>
            </c:spPr>
            <c:extLst>
              <c:ext xmlns:c16="http://schemas.microsoft.com/office/drawing/2014/chart" uri="{C3380CC4-5D6E-409C-BE32-E72D297353CC}">
                <c16:uniqueId val="{00000003-CA1B-4127-81EE-B9800ADEF92E}"/>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CA1B-4127-81EE-B9800ADEF92E}"/>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CA1B-4127-81EE-B9800ADEF92E}"/>
              </c:ext>
            </c:extLst>
          </c:dPt>
          <c:cat>
            <c:strRef>
              <c:f>Sheet1!$A$2:$A$3</c:f>
              <c:strCache>
                <c:ptCount val="2"/>
                <c:pt idx="0">
                  <c:v>1st Qtr</c:v>
                </c:pt>
                <c:pt idx="1">
                  <c:v>2nd Qtr</c:v>
                </c:pt>
              </c:strCache>
            </c:strRef>
          </c:cat>
          <c:val>
            <c:numRef>
              <c:f>Sheet1!$B$2:$B$3</c:f>
              <c:numCache>
                <c:formatCode>General</c:formatCode>
                <c:ptCount val="2"/>
                <c:pt idx="0">
                  <c:v>20</c:v>
                </c:pt>
                <c:pt idx="1">
                  <c:v>20</c:v>
                </c:pt>
              </c:numCache>
            </c:numRef>
          </c:val>
          <c:extLst>
            <c:ext xmlns:c16="http://schemas.microsoft.com/office/drawing/2014/chart" uri="{C3380CC4-5D6E-409C-BE32-E72D297353CC}">
              <c16:uniqueId val="{00000008-CA1B-4127-81EE-B9800ADEF92E}"/>
            </c:ext>
          </c:extLst>
        </c:ser>
        <c:dLbls>
          <c:showLegendKey val="0"/>
          <c:showVal val="0"/>
          <c:showCatName val="0"/>
          <c:showSerName val="0"/>
          <c:showPercent val="0"/>
          <c:showBubbleSize val="0"/>
          <c:showLeaderLines val="1"/>
        </c:dLbls>
        <c:firstSliceAng val="0"/>
        <c:holeSize val="78"/>
      </c:doughnutChart>
      <c:spPr>
        <a:solidFill>
          <a:schemeClr val="bg1"/>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370754439732987"/>
          <c:y val="0"/>
          <c:w val="0.66629885561133861"/>
          <c:h val="1"/>
        </c:manualLayout>
      </c:layout>
      <c:doughnutChart>
        <c:varyColors val="1"/>
        <c:ser>
          <c:idx val="0"/>
          <c:order val="0"/>
          <c:tx>
            <c:strRef>
              <c:f>Sheet1!$B$1</c:f>
              <c:strCache>
                <c:ptCount val="1"/>
                <c:pt idx="0">
                  <c:v>Sales</c:v>
                </c:pt>
              </c:strCache>
            </c:strRef>
          </c:tx>
          <c:spPr>
            <a:solidFill>
              <a:schemeClr val="tx2"/>
            </a:solidFill>
          </c:spPr>
          <c:dPt>
            <c:idx val="0"/>
            <c:bubble3D val="0"/>
            <c:spPr>
              <a:solidFill>
                <a:schemeClr val="tx2"/>
              </a:solidFill>
              <a:ln w="19050">
                <a:solidFill>
                  <a:schemeClr val="tx2"/>
                </a:solidFill>
              </a:ln>
              <a:effectLst/>
            </c:spPr>
            <c:extLst>
              <c:ext xmlns:c16="http://schemas.microsoft.com/office/drawing/2014/chart" uri="{C3380CC4-5D6E-409C-BE32-E72D297353CC}">
                <c16:uniqueId val="{00000001-7CE0-4A98-99F4-05B8B88F571A}"/>
              </c:ext>
            </c:extLst>
          </c:dPt>
          <c:dPt>
            <c:idx val="1"/>
            <c:bubble3D val="0"/>
            <c:spPr>
              <a:solidFill>
                <a:schemeClr val="bg1"/>
              </a:solidFill>
              <a:ln w="19050">
                <a:solidFill>
                  <a:schemeClr val="tx2"/>
                </a:solidFill>
              </a:ln>
              <a:effectLst/>
            </c:spPr>
            <c:extLst>
              <c:ext xmlns:c16="http://schemas.microsoft.com/office/drawing/2014/chart" uri="{C3380CC4-5D6E-409C-BE32-E72D297353CC}">
                <c16:uniqueId val="{00000003-7CE0-4A98-99F4-05B8B88F571A}"/>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7CE0-4A98-99F4-05B8B88F571A}"/>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7CE0-4A98-99F4-05B8B88F571A}"/>
              </c:ext>
            </c:extLst>
          </c:dPt>
          <c:cat>
            <c:strRef>
              <c:f>Sheet1!$A$2:$A$3</c:f>
              <c:strCache>
                <c:ptCount val="2"/>
                <c:pt idx="0">
                  <c:v>1st Qtr</c:v>
                </c:pt>
                <c:pt idx="1">
                  <c:v>2nd Qtr</c:v>
                </c:pt>
              </c:strCache>
            </c:strRef>
          </c:cat>
          <c:val>
            <c:numRef>
              <c:f>Sheet1!$B$2:$B$3</c:f>
              <c:numCache>
                <c:formatCode>General</c:formatCode>
                <c:ptCount val="2"/>
                <c:pt idx="0">
                  <c:v>20</c:v>
                </c:pt>
                <c:pt idx="1">
                  <c:v>20</c:v>
                </c:pt>
              </c:numCache>
            </c:numRef>
          </c:val>
          <c:extLst>
            <c:ext xmlns:c16="http://schemas.microsoft.com/office/drawing/2014/chart" uri="{C3380CC4-5D6E-409C-BE32-E72D297353CC}">
              <c16:uniqueId val="{00000008-7CE0-4A98-99F4-05B8B88F571A}"/>
            </c:ext>
          </c:extLst>
        </c:ser>
        <c:dLbls>
          <c:showLegendKey val="0"/>
          <c:showVal val="0"/>
          <c:showCatName val="0"/>
          <c:showSerName val="0"/>
          <c:showPercent val="0"/>
          <c:showBubbleSize val="0"/>
          <c:showLeaderLines val="1"/>
        </c:dLbls>
        <c:firstSliceAng val="0"/>
        <c:holeSize val="78"/>
      </c:doughnutChart>
      <c:spPr>
        <a:solidFill>
          <a:schemeClr val="bg1"/>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370754439732987"/>
          <c:y val="0"/>
          <c:w val="0.66629885561133861"/>
          <c:h val="1"/>
        </c:manualLayout>
      </c:layout>
      <c:doughnutChart>
        <c:varyColors val="1"/>
        <c:ser>
          <c:idx val="0"/>
          <c:order val="0"/>
          <c:tx>
            <c:strRef>
              <c:f>Sheet1!$B$1</c:f>
              <c:strCache>
                <c:ptCount val="1"/>
                <c:pt idx="0">
                  <c:v>Sales</c:v>
                </c:pt>
              </c:strCache>
            </c:strRef>
          </c:tx>
          <c:spPr>
            <a:solidFill>
              <a:srgbClr val="5F646A"/>
            </a:solidFill>
          </c:spPr>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D23-4FD9-960A-5417A02E0E8A}"/>
              </c:ext>
            </c:extLst>
          </c:dPt>
          <c:dPt>
            <c:idx val="1"/>
            <c:bubble3D val="0"/>
            <c:spPr>
              <a:solidFill>
                <a:schemeClr val="accent1">
                  <a:lumMod val="20000"/>
                  <a:lumOff val="80000"/>
                </a:schemeClr>
              </a:solidFill>
              <a:ln w="19050">
                <a:solidFill>
                  <a:schemeClr val="lt1"/>
                </a:solidFill>
              </a:ln>
              <a:effectLst/>
            </c:spPr>
            <c:extLst>
              <c:ext xmlns:c16="http://schemas.microsoft.com/office/drawing/2014/chart" uri="{C3380CC4-5D6E-409C-BE32-E72D297353CC}">
                <c16:uniqueId val="{00000003-AD23-4FD9-960A-5417A02E0E8A}"/>
              </c:ext>
            </c:extLst>
          </c:dPt>
          <c:dPt>
            <c:idx val="2"/>
            <c:bubble3D val="0"/>
            <c:spPr>
              <a:solidFill>
                <a:srgbClr val="5F646A"/>
              </a:solidFill>
              <a:ln w="19050">
                <a:solidFill>
                  <a:schemeClr val="lt1"/>
                </a:solidFill>
              </a:ln>
              <a:effectLst/>
            </c:spPr>
            <c:extLst>
              <c:ext xmlns:c16="http://schemas.microsoft.com/office/drawing/2014/chart" uri="{C3380CC4-5D6E-409C-BE32-E72D297353CC}">
                <c16:uniqueId val="{00000005-AD23-4FD9-960A-5417A02E0E8A}"/>
              </c:ext>
            </c:extLst>
          </c:dPt>
          <c:dPt>
            <c:idx val="3"/>
            <c:bubble3D val="0"/>
            <c:spPr>
              <a:solidFill>
                <a:srgbClr val="5F646A"/>
              </a:solidFill>
              <a:ln w="19050">
                <a:solidFill>
                  <a:schemeClr val="lt1"/>
                </a:solidFill>
              </a:ln>
              <a:effectLst/>
            </c:spPr>
            <c:extLst>
              <c:ext xmlns:c16="http://schemas.microsoft.com/office/drawing/2014/chart" uri="{C3380CC4-5D6E-409C-BE32-E72D297353CC}">
                <c16:uniqueId val="{00000007-AD23-4FD9-960A-5417A02E0E8A}"/>
              </c:ext>
            </c:extLst>
          </c:dPt>
          <c:cat>
            <c:strRef>
              <c:f>Sheet1!$A$2:$A$3</c:f>
              <c:strCache>
                <c:ptCount val="2"/>
                <c:pt idx="0">
                  <c:v>1st Qtr</c:v>
                </c:pt>
                <c:pt idx="1">
                  <c:v>2nd Qtr</c:v>
                </c:pt>
              </c:strCache>
            </c:strRef>
          </c:cat>
          <c:val>
            <c:numRef>
              <c:f>Sheet1!$B$2:$B$3</c:f>
              <c:numCache>
                <c:formatCode>General</c:formatCode>
                <c:ptCount val="2"/>
                <c:pt idx="0">
                  <c:v>20</c:v>
                </c:pt>
                <c:pt idx="1">
                  <c:v>20</c:v>
                </c:pt>
              </c:numCache>
            </c:numRef>
          </c:val>
          <c:extLst>
            <c:ext xmlns:c16="http://schemas.microsoft.com/office/drawing/2014/chart" uri="{C3380CC4-5D6E-409C-BE32-E72D297353CC}">
              <c16:uniqueId val="{00000008-AD23-4FD9-960A-5417A02E0E8A}"/>
            </c:ext>
          </c:extLst>
        </c:ser>
        <c:dLbls>
          <c:showLegendKey val="0"/>
          <c:showVal val="0"/>
          <c:showCatName val="0"/>
          <c:showSerName val="0"/>
          <c:showPercent val="0"/>
          <c:showBubbleSize val="0"/>
          <c:showLeaderLines val="1"/>
        </c:dLbls>
        <c:firstSliceAng val="90"/>
        <c:holeSize val="78"/>
      </c:doughnutChart>
      <c:spPr>
        <a:solidFill>
          <a:schemeClr val="bg1"/>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D8A9-42FC-895E-2526BA893878}"/>
              </c:ext>
            </c:extLst>
          </c:dPt>
          <c:dPt>
            <c:idx val="1"/>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3-D8A9-42FC-895E-2526BA893878}"/>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D8A9-42FC-895E-2526BA893878}"/>
              </c:ext>
            </c:extLst>
          </c:dPt>
          <c:dPt>
            <c:idx val="3"/>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7-D8A9-42FC-895E-2526BA893878}"/>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5</c:v>
                </c:pt>
                <c:pt idx="1">
                  <c:v>25</c:v>
                </c:pt>
                <c:pt idx="2">
                  <c:v>25</c:v>
                </c:pt>
                <c:pt idx="3">
                  <c:v>25</c:v>
                </c:pt>
              </c:numCache>
            </c:numRef>
          </c:val>
          <c:extLst>
            <c:ext xmlns:c16="http://schemas.microsoft.com/office/drawing/2014/chart" uri="{C3380CC4-5D6E-409C-BE32-E72D297353CC}">
              <c16:uniqueId val="{00000008-D8A9-42FC-895E-2526BA893878}"/>
            </c:ext>
          </c:extLst>
        </c:ser>
        <c:dLbls>
          <c:showLegendKey val="0"/>
          <c:showVal val="0"/>
          <c:showCatName val="0"/>
          <c:showSerName val="0"/>
          <c:showPercent val="0"/>
          <c:showBubbleSize val="0"/>
          <c:showLeaderLines val="1"/>
        </c:dLbls>
        <c:firstSliceAng val="45"/>
        <c:holeSize val="4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0"/>
        <c:ser>
          <c:idx val="0"/>
          <c:order val="0"/>
          <c:tx>
            <c:strRef>
              <c:f>Sheet1!$B$1</c:f>
              <c:strCache>
                <c:ptCount val="1"/>
                <c:pt idx="0">
                  <c:v>Sales</c:v>
                </c:pt>
              </c:strCache>
            </c:strRef>
          </c:tx>
          <c:spPr>
            <a:solidFill>
              <a:srgbClr val="F8F8F8"/>
            </a:solidFill>
            <a:ln w="19050">
              <a:solidFill>
                <a:schemeClr val="lt1"/>
              </a:solidFill>
            </a:ln>
            <a:effectLst/>
          </c:spPr>
          <c:dPt>
            <c:idx val="0"/>
            <c:bubble3D val="0"/>
            <c:extLst>
              <c:ext xmlns:c16="http://schemas.microsoft.com/office/drawing/2014/chart" uri="{C3380CC4-5D6E-409C-BE32-E72D297353CC}">
                <c16:uniqueId val="{00000000-0F3A-486A-9E75-1B0E8AA99B40}"/>
              </c:ext>
            </c:extLst>
          </c:dPt>
          <c:dPt>
            <c:idx val="1"/>
            <c:bubble3D val="0"/>
            <c:extLst>
              <c:ext xmlns:c16="http://schemas.microsoft.com/office/drawing/2014/chart" uri="{C3380CC4-5D6E-409C-BE32-E72D297353CC}">
                <c16:uniqueId val="{00000001-0F3A-486A-9E75-1B0E8AA99B40}"/>
              </c:ext>
            </c:extLst>
          </c:dPt>
          <c:dPt>
            <c:idx val="2"/>
            <c:bubble3D val="0"/>
            <c:extLst>
              <c:ext xmlns:c16="http://schemas.microsoft.com/office/drawing/2014/chart" uri="{C3380CC4-5D6E-409C-BE32-E72D297353CC}">
                <c16:uniqueId val="{00000002-0F3A-486A-9E75-1B0E8AA99B40}"/>
              </c:ext>
            </c:extLst>
          </c:dPt>
          <c:dPt>
            <c:idx val="3"/>
            <c:bubble3D val="0"/>
            <c:extLst>
              <c:ext xmlns:c16="http://schemas.microsoft.com/office/drawing/2014/chart" uri="{C3380CC4-5D6E-409C-BE32-E72D297353CC}">
                <c16:uniqueId val="{00000003-0F3A-486A-9E75-1B0E8AA99B40}"/>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5</c:v>
                </c:pt>
                <c:pt idx="1">
                  <c:v>25</c:v>
                </c:pt>
                <c:pt idx="2">
                  <c:v>25</c:v>
                </c:pt>
                <c:pt idx="3">
                  <c:v>25</c:v>
                </c:pt>
              </c:numCache>
            </c:numRef>
          </c:val>
          <c:extLst>
            <c:ext xmlns:c16="http://schemas.microsoft.com/office/drawing/2014/chart" uri="{C3380CC4-5D6E-409C-BE32-E72D297353CC}">
              <c16:uniqueId val="{00000004-0F3A-486A-9E75-1B0E8AA99B40}"/>
            </c:ext>
          </c:extLst>
        </c:ser>
        <c:dLbls>
          <c:showLegendKey val="0"/>
          <c:showVal val="0"/>
          <c:showCatName val="0"/>
          <c:showSerName val="0"/>
          <c:showPercent val="0"/>
          <c:showBubbleSize val="0"/>
          <c:showLeaderLines val="1"/>
        </c:dLbls>
        <c:firstSliceAng val="45"/>
        <c:holeSize val="4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D65C-4DD4-A16A-43AAEC479B50}"/>
              </c:ext>
            </c:extLst>
          </c:dPt>
          <c:dPt>
            <c:idx val="1"/>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3-D65C-4DD4-A16A-43AAEC479B50}"/>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D65C-4DD4-A16A-43AAEC479B50}"/>
              </c:ext>
            </c:extLst>
          </c:dPt>
          <c:dPt>
            <c:idx val="3"/>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7-D65C-4DD4-A16A-43AAEC479B50}"/>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1</c:v>
                </c:pt>
                <c:pt idx="1">
                  <c:v>1</c:v>
                </c:pt>
                <c:pt idx="2">
                  <c:v>1</c:v>
                </c:pt>
                <c:pt idx="3">
                  <c:v>1</c:v>
                </c:pt>
              </c:numCache>
            </c:numRef>
          </c:val>
          <c:extLst>
            <c:ext xmlns:c16="http://schemas.microsoft.com/office/drawing/2014/chart" uri="{C3380CC4-5D6E-409C-BE32-E72D297353CC}">
              <c16:uniqueId val="{00000008-D65C-4DD4-A16A-43AAEC479B50}"/>
            </c:ext>
          </c:extLst>
        </c:ser>
        <c:dLbls>
          <c:showLegendKey val="0"/>
          <c:showVal val="0"/>
          <c:showCatName val="0"/>
          <c:showSerName val="0"/>
          <c:showPercent val="0"/>
          <c:showBubbleSize val="0"/>
          <c:showLeaderLines val="1"/>
        </c:dLbls>
        <c:firstSliceAng val="45"/>
        <c:holeSize val="7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111121361140865E-2"/>
          <c:y val="6.6380094465555275E-2"/>
          <c:w val="0.85051287600854375"/>
          <c:h val="0.87888072463312028"/>
        </c:manualLayout>
      </c:layout>
      <c:doughnutChart>
        <c:varyColors val="1"/>
        <c:ser>
          <c:idx val="0"/>
          <c:order val="0"/>
          <c:tx>
            <c:strRef>
              <c:f>Sheet1!$B$1</c:f>
              <c:strCache>
                <c:ptCount val="1"/>
                <c:pt idx="0">
                  <c:v>Sales</c:v>
                </c:pt>
              </c:strCache>
            </c:strRef>
          </c:tx>
          <c:dPt>
            <c:idx val="0"/>
            <c:bubble3D val="0"/>
            <c:spPr>
              <a:solidFill>
                <a:schemeClr val="accent1"/>
              </a:solidFill>
            </c:spPr>
            <c:extLst>
              <c:ext xmlns:c16="http://schemas.microsoft.com/office/drawing/2014/chart" uri="{C3380CC4-5D6E-409C-BE32-E72D297353CC}">
                <c16:uniqueId val="{00000001-558B-4745-A535-A4FCE90546EA}"/>
              </c:ext>
            </c:extLst>
          </c:dPt>
          <c:dPt>
            <c:idx val="1"/>
            <c:bubble3D val="0"/>
            <c:spPr>
              <a:solidFill>
                <a:schemeClr val="accent2"/>
              </a:solidFill>
            </c:spPr>
            <c:extLst>
              <c:ext xmlns:c16="http://schemas.microsoft.com/office/drawing/2014/chart" uri="{C3380CC4-5D6E-409C-BE32-E72D297353CC}">
                <c16:uniqueId val="{00000003-558B-4745-A535-A4FCE90546EA}"/>
              </c:ext>
            </c:extLst>
          </c:dPt>
          <c:dPt>
            <c:idx val="2"/>
            <c:bubble3D val="0"/>
            <c:spPr>
              <a:solidFill>
                <a:schemeClr val="tx2"/>
              </a:solidFill>
            </c:spPr>
            <c:extLst>
              <c:ext xmlns:c16="http://schemas.microsoft.com/office/drawing/2014/chart" uri="{C3380CC4-5D6E-409C-BE32-E72D297353CC}">
                <c16:uniqueId val="{00000005-558B-4745-A535-A4FCE90546EA}"/>
              </c:ext>
            </c:extLst>
          </c:dPt>
          <c:dPt>
            <c:idx val="3"/>
            <c:bubble3D val="0"/>
            <c:spPr>
              <a:solidFill>
                <a:schemeClr val="accent4"/>
              </a:solidFill>
            </c:spPr>
            <c:extLst>
              <c:ext xmlns:c16="http://schemas.microsoft.com/office/drawing/2014/chart" uri="{C3380CC4-5D6E-409C-BE32-E72D297353CC}">
                <c16:uniqueId val="{00000007-558B-4745-A535-A4FCE90546EA}"/>
              </c:ext>
            </c:extLst>
          </c:dPt>
          <c:dPt>
            <c:idx val="4"/>
            <c:bubble3D val="0"/>
            <c:spPr>
              <a:solidFill>
                <a:schemeClr val="bg2"/>
              </a:solidFill>
            </c:spPr>
            <c:extLst>
              <c:ext xmlns:c16="http://schemas.microsoft.com/office/drawing/2014/chart" uri="{C3380CC4-5D6E-409C-BE32-E72D297353CC}">
                <c16:uniqueId val="{00000009-558B-4745-A535-A4FCE90546EA}"/>
              </c:ext>
            </c:extLst>
          </c:dPt>
          <c:dLbls>
            <c:delete val="1"/>
          </c:dLbls>
          <c:cat>
            <c:strRef>
              <c:f>Sheet1!$A$2:$A$5</c:f>
              <c:strCache>
                <c:ptCount val="4"/>
                <c:pt idx="0">
                  <c:v>E&amp;P</c:v>
                </c:pt>
                <c:pt idx="1">
                  <c:v>Oilfield service</c:v>
                </c:pt>
                <c:pt idx="2">
                  <c:v>Investors/ Financial</c:v>
                </c:pt>
                <c:pt idx="3">
                  <c:v>Governments/Org</c:v>
                </c:pt>
              </c:strCache>
            </c:strRef>
          </c:cat>
          <c:val>
            <c:numRef>
              <c:f>Sheet1!$B$2:$B$5</c:f>
              <c:numCache>
                <c:formatCode>0.0000</c:formatCode>
                <c:ptCount val="4"/>
                <c:pt idx="0">
                  <c:v>0.3</c:v>
                </c:pt>
                <c:pt idx="1">
                  <c:v>0.3</c:v>
                </c:pt>
                <c:pt idx="2">
                  <c:v>0.3</c:v>
                </c:pt>
                <c:pt idx="3">
                  <c:v>0.1</c:v>
                </c:pt>
              </c:numCache>
            </c:numRef>
          </c:val>
          <c:extLst>
            <c:ext xmlns:c16="http://schemas.microsoft.com/office/drawing/2014/chart" uri="{C3380CC4-5D6E-409C-BE32-E72D297353CC}">
              <c16:uniqueId val="{0000000A-558B-4745-A535-A4FCE90546EA}"/>
            </c:ext>
          </c:extLst>
        </c:ser>
        <c:dLbls>
          <c:showLegendKey val="0"/>
          <c:showVal val="0"/>
          <c:showCatName val="1"/>
          <c:showSerName val="0"/>
          <c:showPercent val="0"/>
          <c:showBubbleSize val="0"/>
          <c:showLeaderLines val="1"/>
        </c:dLbls>
        <c:firstSliceAng val="0"/>
        <c:holeSize val="50"/>
      </c:doughnutChart>
    </c:plotArea>
    <c:plotVisOnly val="1"/>
    <c:dispBlanksAs val="gap"/>
    <c:showDLblsOverMax val="0"/>
  </c:chart>
  <c:spPr>
    <a:scene3d>
      <a:camera prst="orthographicFront"/>
      <a:lightRig rig="threePt" dir="t"/>
    </a:scene3d>
    <a:sp3d>
      <a:bevelT w="6350"/>
    </a:sp3d>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Henry Hub</c:v>
                </c:pt>
              </c:strCache>
            </c:strRef>
          </c:tx>
          <c:spPr>
            <a:ln w="28575" cap="rnd">
              <a:solidFill>
                <a:srgbClr val="FEAC26"/>
              </a:solidFill>
              <a:round/>
            </a:ln>
            <a:effectLst/>
          </c:spPr>
          <c:marker>
            <c:symbol val="none"/>
          </c:marker>
          <c:cat>
            <c:numRef>
              <c:f>Sheet1!$A$2:$A$1200</c:f>
              <c:numCache>
                <c:formatCode>m/d/yyyy</c:formatCode>
                <c:ptCount val="1199"/>
                <c:pt idx="0">
                  <c:v>43466</c:v>
                </c:pt>
                <c:pt idx="1">
                  <c:v>43467</c:v>
                </c:pt>
                <c:pt idx="2">
                  <c:v>43468</c:v>
                </c:pt>
                <c:pt idx="3">
                  <c:v>43469</c:v>
                </c:pt>
                <c:pt idx="4">
                  <c:v>43472</c:v>
                </c:pt>
                <c:pt idx="5">
                  <c:v>43473</c:v>
                </c:pt>
                <c:pt idx="6">
                  <c:v>43474</c:v>
                </c:pt>
                <c:pt idx="7">
                  <c:v>43475</c:v>
                </c:pt>
                <c:pt idx="8">
                  <c:v>43476</c:v>
                </c:pt>
                <c:pt idx="9">
                  <c:v>43479</c:v>
                </c:pt>
                <c:pt idx="10">
                  <c:v>43480</c:v>
                </c:pt>
                <c:pt idx="11">
                  <c:v>43481</c:v>
                </c:pt>
                <c:pt idx="12">
                  <c:v>43482</c:v>
                </c:pt>
                <c:pt idx="13">
                  <c:v>43483</c:v>
                </c:pt>
                <c:pt idx="14">
                  <c:v>43486</c:v>
                </c:pt>
                <c:pt idx="15">
                  <c:v>43487</c:v>
                </c:pt>
                <c:pt idx="16">
                  <c:v>43488</c:v>
                </c:pt>
                <c:pt idx="17">
                  <c:v>43489</c:v>
                </c:pt>
                <c:pt idx="18">
                  <c:v>43490</c:v>
                </c:pt>
                <c:pt idx="19">
                  <c:v>43493</c:v>
                </c:pt>
                <c:pt idx="20">
                  <c:v>43494</c:v>
                </c:pt>
                <c:pt idx="21">
                  <c:v>43495</c:v>
                </c:pt>
                <c:pt idx="22">
                  <c:v>43496</c:v>
                </c:pt>
                <c:pt idx="23">
                  <c:v>43497</c:v>
                </c:pt>
                <c:pt idx="24">
                  <c:v>43500</c:v>
                </c:pt>
                <c:pt idx="25">
                  <c:v>43501</c:v>
                </c:pt>
                <c:pt idx="26">
                  <c:v>43502</c:v>
                </c:pt>
                <c:pt idx="27">
                  <c:v>43503</c:v>
                </c:pt>
                <c:pt idx="28">
                  <c:v>43504</c:v>
                </c:pt>
                <c:pt idx="29">
                  <c:v>43507</c:v>
                </c:pt>
                <c:pt idx="30">
                  <c:v>43508</c:v>
                </c:pt>
                <c:pt idx="31">
                  <c:v>43509</c:v>
                </c:pt>
                <c:pt idx="32">
                  <c:v>43510</c:v>
                </c:pt>
                <c:pt idx="33">
                  <c:v>43511</c:v>
                </c:pt>
                <c:pt idx="34">
                  <c:v>43514</c:v>
                </c:pt>
                <c:pt idx="35">
                  <c:v>43515</c:v>
                </c:pt>
                <c:pt idx="36">
                  <c:v>43516</c:v>
                </c:pt>
                <c:pt idx="37">
                  <c:v>43517</c:v>
                </c:pt>
                <c:pt idx="38">
                  <c:v>43518</c:v>
                </c:pt>
                <c:pt idx="39">
                  <c:v>43521</c:v>
                </c:pt>
                <c:pt idx="40">
                  <c:v>43522</c:v>
                </c:pt>
                <c:pt idx="41">
                  <c:v>43523</c:v>
                </c:pt>
                <c:pt idx="42">
                  <c:v>43524</c:v>
                </c:pt>
                <c:pt idx="43">
                  <c:v>43525</c:v>
                </c:pt>
                <c:pt idx="44">
                  <c:v>43528</c:v>
                </c:pt>
                <c:pt idx="45">
                  <c:v>43529</c:v>
                </c:pt>
                <c:pt idx="46">
                  <c:v>43530</c:v>
                </c:pt>
                <c:pt idx="47">
                  <c:v>43531</c:v>
                </c:pt>
                <c:pt idx="48">
                  <c:v>43532</c:v>
                </c:pt>
                <c:pt idx="49">
                  <c:v>43535</c:v>
                </c:pt>
                <c:pt idx="50">
                  <c:v>43536</c:v>
                </c:pt>
                <c:pt idx="51">
                  <c:v>43537</c:v>
                </c:pt>
                <c:pt idx="52">
                  <c:v>43538</c:v>
                </c:pt>
                <c:pt idx="53">
                  <c:v>43539</c:v>
                </c:pt>
                <c:pt idx="54">
                  <c:v>43542</c:v>
                </c:pt>
                <c:pt idx="55">
                  <c:v>43543</c:v>
                </c:pt>
                <c:pt idx="56">
                  <c:v>43544</c:v>
                </c:pt>
                <c:pt idx="57">
                  <c:v>43545</c:v>
                </c:pt>
                <c:pt idx="58">
                  <c:v>43546</c:v>
                </c:pt>
                <c:pt idx="59">
                  <c:v>43549</c:v>
                </c:pt>
                <c:pt idx="60">
                  <c:v>43550</c:v>
                </c:pt>
                <c:pt idx="61">
                  <c:v>43551</c:v>
                </c:pt>
                <c:pt idx="62">
                  <c:v>43552</c:v>
                </c:pt>
                <c:pt idx="63">
                  <c:v>43553</c:v>
                </c:pt>
                <c:pt idx="64">
                  <c:v>43556</c:v>
                </c:pt>
                <c:pt idx="65">
                  <c:v>43557</c:v>
                </c:pt>
                <c:pt idx="66">
                  <c:v>43558</c:v>
                </c:pt>
                <c:pt idx="67">
                  <c:v>43559</c:v>
                </c:pt>
                <c:pt idx="68">
                  <c:v>43560</c:v>
                </c:pt>
                <c:pt idx="69">
                  <c:v>43563</c:v>
                </c:pt>
                <c:pt idx="70">
                  <c:v>43564</c:v>
                </c:pt>
                <c:pt idx="71">
                  <c:v>43565</c:v>
                </c:pt>
                <c:pt idx="72">
                  <c:v>43566</c:v>
                </c:pt>
                <c:pt idx="73">
                  <c:v>43567</c:v>
                </c:pt>
                <c:pt idx="74">
                  <c:v>43570</c:v>
                </c:pt>
                <c:pt idx="75">
                  <c:v>43571</c:v>
                </c:pt>
                <c:pt idx="76">
                  <c:v>43572</c:v>
                </c:pt>
                <c:pt idx="77">
                  <c:v>43573</c:v>
                </c:pt>
                <c:pt idx="78">
                  <c:v>43574</c:v>
                </c:pt>
                <c:pt idx="79">
                  <c:v>43577</c:v>
                </c:pt>
                <c:pt idx="80">
                  <c:v>43578</c:v>
                </c:pt>
                <c:pt idx="81">
                  <c:v>43579</c:v>
                </c:pt>
                <c:pt idx="82">
                  <c:v>43580</c:v>
                </c:pt>
                <c:pt idx="83">
                  <c:v>43581</c:v>
                </c:pt>
                <c:pt idx="84">
                  <c:v>43584</c:v>
                </c:pt>
                <c:pt idx="85">
                  <c:v>43585</c:v>
                </c:pt>
                <c:pt idx="86">
                  <c:v>43586</c:v>
                </c:pt>
                <c:pt idx="87">
                  <c:v>43587</c:v>
                </c:pt>
                <c:pt idx="88">
                  <c:v>43588</c:v>
                </c:pt>
                <c:pt idx="89">
                  <c:v>43591</c:v>
                </c:pt>
                <c:pt idx="90">
                  <c:v>43592</c:v>
                </c:pt>
                <c:pt idx="91">
                  <c:v>43593</c:v>
                </c:pt>
                <c:pt idx="92">
                  <c:v>43594</c:v>
                </c:pt>
                <c:pt idx="93">
                  <c:v>43595</c:v>
                </c:pt>
                <c:pt idx="94">
                  <c:v>43598</c:v>
                </c:pt>
                <c:pt idx="95">
                  <c:v>43599</c:v>
                </c:pt>
                <c:pt idx="96">
                  <c:v>43600</c:v>
                </c:pt>
                <c:pt idx="97">
                  <c:v>43601</c:v>
                </c:pt>
                <c:pt idx="98">
                  <c:v>43602</c:v>
                </c:pt>
                <c:pt idx="99">
                  <c:v>43605</c:v>
                </c:pt>
                <c:pt idx="100">
                  <c:v>43606</c:v>
                </c:pt>
                <c:pt idx="101">
                  <c:v>43607</c:v>
                </c:pt>
                <c:pt idx="102">
                  <c:v>43608</c:v>
                </c:pt>
                <c:pt idx="103">
                  <c:v>43609</c:v>
                </c:pt>
                <c:pt idx="104">
                  <c:v>43612</c:v>
                </c:pt>
                <c:pt idx="105">
                  <c:v>43613</c:v>
                </c:pt>
                <c:pt idx="106">
                  <c:v>43614</c:v>
                </c:pt>
                <c:pt idx="107">
                  <c:v>43615</c:v>
                </c:pt>
                <c:pt idx="108">
                  <c:v>43616</c:v>
                </c:pt>
                <c:pt idx="109">
                  <c:v>43619</c:v>
                </c:pt>
                <c:pt idx="110">
                  <c:v>43620</c:v>
                </c:pt>
                <c:pt idx="111">
                  <c:v>43621</c:v>
                </c:pt>
                <c:pt idx="112">
                  <c:v>43622</c:v>
                </c:pt>
                <c:pt idx="113">
                  <c:v>43623</c:v>
                </c:pt>
                <c:pt idx="114">
                  <c:v>43626</c:v>
                </c:pt>
                <c:pt idx="115">
                  <c:v>43627</c:v>
                </c:pt>
                <c:pt idx="116">
                  <c:v>43628</c:v>
                </c:pt>
                <c:pt idx="117">
                  <c:v>43629</c:v>
                </c:pt>
                <c:pt idx="118">
                  <c:v>43630</c:v>
                </c:pt>
                <c:pt idx="119">
                  <c:v>43633</c:v>
                </c:pt>
                <c:pt idx="120">
                  <c:v>43634</c:v>
                </c:pt>
                <c:pt idx="121">
                  <c:v>43635</c:v>
                </c:pt>
                <c:pt idx="122">
                  <c:v>43636</c:v>
                </c:pt>
                <c:pt idx="123">
                  <c:v>43637</c:v>
                </c:pt>
                <c:pt idx="124">
                  <c:v>43640</c:v>
                </c:pt>
                <c:pt idx="125">
                  <c:v>43641</c:v>
                </c:pt>
                <c:pt idx="126">
                  <c:v>43642</c:v>
                </c:pt>
                <c:pt idx="127">
                  <c:v>43643</c:v>
                </c:pt>
                <c:pt idx="128">
                  <c:v>43644</c:v>
                </c:pt>
                <c:pt idx="129">
                  <c:v>43647</c:v>
                </c:pt>
                <c:pt idx="130">
                  <c:v>43648</c:v>
                </c:pt>
                <c:pt idx="131">
                  <c:v>43649</c:v>
                </c:pt>
                <c:pt idx="132">
                  <c:v>43650</c:v>
                </c:pt>
                <c:pt idx="133">
                  <c:v>43651</c:v>
                </c:pt>
                <c:pt idx="134">
                  <c:v>43654</c:v>
                </c:pt>
                <c:pt idx="135">
                  <c:v>43655</c:v>
                </c:pt>
                <c:pt idx="136">
                  <c:v>43656</c:v>
                </c:pt>
                <c:pt idx="137">
                  <c:v>43657</c:v>
                </c:pt>
                <c:pt idx="138">
                  <c:v>43658</c:v>
                </c:pt>
                <c:pt idx="139">
                  <c:v>43661</c:v>
                </c:pt>
                <c:pt idx="140">
                  <c:v>43662</c:v>
                </c:pt>
                <c:pt idx="141">
                  <c:v>43663</c:v>
                </c:pt>
                <c:pt idx="142">
                  <c:v>43664</c:v>
                </c:pt>
                <c:pt idx="143">
                  <c:v>43665</c:v>
                </c:pt>
                <c:pt idx="144">
                  <c:v>43668</c:v>
                </c:pt>
                <c:pt idx="145">
                  <c:v>43669</c:v>
                </c:pt>
                <c:pt idx="146">
                  <c:v>43670</c:v>
                </c:pt>
                <c:pt idx="147">
                  <c:v>43671</c:v>
                </c:pt>
                <c:pt idx="148">
                  <c:v>43672</c:v>
                </c:pt>
                <c:pt idx="149">
                  <c:v>43675</c:v>
                </c:pt>
                <c:pt idx="150">
                  <c:v>43676</c:v>
                </c:pt>
                <c:pt idx="151">
                  <c:v>43677</c:v>
                </c:pt>
                <c:pt idx="152">
                  <c:v>43678</c:v>
                </c:pt>
                <c:pt idx="153">
                  <c:v>43679</c:v>
                </c:pt>
                <c:pt idx="154">
                  <c:v>43682</c:v>
                </c:pt>
                <c:pt idx="155">
                  <c:v>43683</c:v>
                </c:pt>
                <c:pt idx="156">
                  <c:v>43684</c:v>
                </c:pt>
                <c:pt idx="157">
                  <c:v>43685</c:v>
                </c:pt>
                <c:pt idx="158">
                  <c:v>43686</c:v>
                </c:pt>
                <c:pt idx="159">
                  <c:v>43689</c:v>
                </c:pt>
                <c:pt idx="160">
                  <c:v>43690</c:v>
                </c:pt>
                <c:pt idx="161">
                  <c:v>43691</c:v>
                </c:pt>
                <c:pt idx="162">
                  <c:v>43692</c:v>
                </c:pt>
                <c:pt idx="163">
                  <c:v>43693</c:v>
                </c:pt>
                <c:pt idx="164">
                  <c:v>43696</c:v>
                </c:pt>
                <c:pt idx="165">
                  <c:v>43697</c:v>
                </c:pt>
                <c:pt idx="166">
                  <c:v>43698</c:v>
                </c:pt>
                <c:pt idx="167">
                  <c:v>43699</c:v>
                </c:pt>
                <c:pt idx="168">
                  <c:v>43700</c:v>
                </c:pt>
                <c:pt idx="169">
                  <c:v>43703</c:v>
                </c:pt>
                <c:pt idx="170">
                  <c:v>43704</c:v>
                </c:pt>
                <c:pt idx="171">
                  <c:v>43705</c:v>
                </c:pt>
                <c:pt idx="172">
                  <c:v>43706</c:v>
                </c:pt>
                <c:pt idx="173">
                  <c:v>43707</c:v>
                </c:pt>
                <c:pt idx="174">
                  <c:v>43710</c:v>
                </c:pt>
                <c:pt idx="175">
                  <c:v>43711</c:v>
                </c:pt>
                <c:pt idx="176">
                  <c:v>43712</c:v>
                </c:pt>
                <c:pt idx="177">
                  <c:v>43713</c:v>
                </c:pt>
                <c:pt idx="178">
                  <c:v>43714</c:v>
                </c:pt>
                <c:pt idx="179">
                  <c:v>43717</c:v>
                </c:pt>
                <c:pt idx="180">
                  <c:v>43718</c:v>
                </c:pt>
                <c:pt idx="181">
                  <c:v>43719</c:v>
                </c:pt>
                <c:pt idx="182">
                  <c:v>43720</c:v>
                </c:pt>
                <c:pt idx="183">
                  <c:v>43721</c:v>
                </c:pt>
                <c:pt idx="184">
                  <c:v>43724</c:v>
                </c:pt>
                <c:pt idx="185">
                  <c:v>43725</c:v>
                </c:pt>
                <c:pt idx="186">
                  <c:v>43726</c:v>
                </c:pt>
                <c:pt idx="187">
                  <c:v>43727</c:v>
                </c:pt>
                <c:pt idx="188">
                  <c:v>43728</c:v>
                </c:pt>
                <c:pt idx="189">
                  <c:v>43731</c:v>
                </c:pt>
                <c:pt idx="190">
                  <c:v>43732</c:v>
                </c:pt>
                <c:pt idx="191">
                  <c:v>43733</c:v>
                </c:pt>
                <c:pt idx="192">
                  <c:v>43734</c:v>
                </c:pt>
                <c:pt idx="193">
                  <c:v>43735</c:v>
                </c:pt>
                <c:pt idx="194">
                  <c:v>43738</c:v>
                </c:pt>
                <c:pt idx="195">
                  <c:v>43739</c:v>
                </c:pt>
                <c:pt idx="196">
                  <c:v>43740</c:v>
                </c:pt>
                <c:pt idx="197">
                  <c:v>43741</c:v>
                </c:pt>
                <c:pt idx="198">
                  <c:v>43742</c:v>
                </c:pt>
                <c:pt idx="199">
                  <c:v>43745</c:v>
                </c:pt>
                <c:pt idx="200">
                  <c:v>43746</c:v>
                </c:pt>
                <c:pt idx="201">
                  <c:v>43747</c:v>
                </c:pt>
                <c:pt idx="202">
                  <c:v>43748</c:v>
                </c:pt>
                <c:pt idx="203">
                  <c:v>43749</c:v>
                </c:pt>
                <c:pt idx="204">
                  <c:v>43752</c:v>
                </c:pt>
                <c:pt idx="205">
                  <c:v>43753</c:v>
                </c:pt>
                <c:pt idx="206">
                  <c:v>43754</c:v>
                </c:pt>
                <c:pt idx="207">
                  <c:v>43755</c:v>
                </c:pt>
                <c:pt idx="208">
                  <c:v>43756</c:v>
                </c:pt>
                <c:pt idx="209">
                  <c:v>43759</c:v>
                </c:pt>
                <c:pt idx="210">
                  <c:v>43760</c:v>
                </c:pt>
                <c:pt idx="211">
                  <c:v>43761</c:v>
                </c:pt>
                <c:pt idx="212">
                  <c:v>43762</c:v>
                </c:pt>
                <c:pt idx="213">
                  <c:v>43763</c:v>
                </c:pt>
                <c:pt idx="214">
                  <c:v>43766</c:v>
                </c:pt>
                <c:pt idx="215">
                  <c:v>43767</c:v>
                </c:pt>
                <c:pt idx="216">
                  <c:v>43768</c:v>
                </c:pt>
                <c:pt idx="217">
                  <c:v>43769</c:v>
                </c:pt>
                <c:pt idx="218">
                  <c:v>43770</c:v>
                </c:pt>
                <c:pt idx="219">
                  <c:v>43773</c:v>
                </c:pt>
                <c:pt idx="220">
                  <c:v>43774</c:v>
                </c:pt>
                <c:pt idx="221">
                  <c:v>43775</c:v>
                </c:pt>
                <c:pt idx="222">
                  <c:v>43776</c:v>
                </c:pt>
                <c:pt idx="223">
                  <c:v>43777</c:v>
                </c:pt>
                <c:pt idx="224">
                  <c:v>43780</c:v>
                </c:pt>
                <c:pt idx="225">
                  <c:v>43781</c:v>
                </c:pt>
                <c:pt idx="226">
                  <c:v>43782</c:v>
                </c:pt>
                <c:pt idx="227">
                  <c:v>43783</c:v>
                </c:pt>
                <c:pt idx="228">
                  <c:v>43784</c:v>
                </c:pt>
                <c:pt idx="229">
                  <c:v>43787</c:v>
                </c:pt>
                <c:pt idx="230">
                  <c:v>43788</c:v>
                </c:pt>
                <c:pt idx="231">
                  <c:v>43789</c:v>
                </c:pt>
                <c:pt idx="232">
                  <c:v>43790</c:v>
                </c:pt>
                <c:pt idx="233">
                  <c:v>43791</c:v>
                </c:pt>
                <c:pt idx="234">
                  <c:v>43794</c:v>
                </c:pt>
                <c:pt idx="235">
                  <c:v>43795</c:v>
                </c:pt>
                <c:pt idx="236">
                  <c:v>43796</c:v>
                </c:pt>
                <c:pt idx="237">
                  <c:v>43797</c:v>
                </c:pt>
                <c:pt idx="238">
                  <c:v>43798</c:v>
                </c:pt>
                <c:pt idx="239">
                  <c:v>43801</c:v>
                </c:pt>
                <c:pt idx="240">
                  <c:v>43802</c:v>
                </c:pt>
                <c:pt idx="241">
                  <c:v>43803</c:v>
                </c:pt>
                <c:pt idx="242">
                  <c:v>43804</c:v>
                </c:pt>
                <c:pt idx="243">
                  <c:v>43805</c:v>
                </c:pt>
                <c:pt idx="244">
                  <c:v>43808</c:v>
                </c:pt>
                <c:pt idx="245">
                  <c:v>43809</c:v>
                </c:pt>
                <c:pt idx="246">
                  <c:v>43810</c:v>
                </c:pt>
                <c:pt idx="247">
                  <c:v>43811</c:v>
                </c:pt>
                <c:pt idx="248">
                  <c:v>43812</c:v>
                </c:pt>
                <c:pt idx="249">
                  <c:v>43815</c:v>
                </c:pt>
                <c:pt idx="250">
                  <c:v>43816</c:v>
                </c:pt>
                <c:pt idx="251">
                  <c:v>43817</c:v>
                </c:pt>
                <c:pt idx="252">
                  <c:v>43818</c:v>
                </c:pt>
                <c:pt idx="253">
                  <c:v>43819</c:v>
                </c:pt>
                <c:pt idx="254">
                  <c:v>43822</c:v>
                </c:pt>
                <c:pt idx="255">
                  <c:v>43823</c:v>
                </c:pt>
                <c:pt idx="256">
                  <c:v>43824</c:v>
                </c:pt>
                <c:pt idx="257">
                  <c:v>43825</c:v>
                </c:pt>
                <c:pt idx="258">
                  <c:v>43826</c:v>
                </c:pt>
                <c:pt idx="259">
                  <c:v>43829</c:v>
                </c:pt>
                <c:pt idx="260">
                  <c:v>43830</c:v>
                </c:pt>
                <c:pt idx="261">
                  <c:v>43831</c:v>
                </c:pt>
                <c:pt idx="262">
                  <c:v>43832</c:v>
                </c:pt>
                <c:pt idx="263">
                  <c:v>43833</c:v>
                </c:pt>
                <c:pt idx="264">
                  <c:v>43836</c:v>
                </c:pt>
                <c:pt idx="265">
                  <c:v>43837</c:v>
                </c:pt>
                <c:pt idx="266">
                  <c:v>43838</c:v>
                </c:pt>
                <c:pt idx="267">
                  <c:v>43839</c:v>
                </c:pt>
                <c:pt idx="268">
                  <c:v>43840</c:v>
                </c:pt>
                <c:pt idx="269">
                  <c:v>43843</c:v>
                </c:pt>
                <c:pt idx="270">
                  <c:v>43844</c:v>
                </c:pt>
                <c:pt idx="271">
                  <c:v>43845</c:v>
                </c:pt>
                <c:pt idx="272">
                  <c:v>43846</c:v>
                </c:pt>
                <c:pt idx="273">
                  <c:v>43847</c:v>
                </c:pt>
                <c:pt idx="274">
                  <c:v>43850</c:v>
                </c:pt>
                <c:pt idx="275">
                  <c:v>43851</c:v>
                </c:pt>
                <c:pt idx="276">
                  <c:v>43852</c:v>
                </c:pt>
                <c:pt idx="277">
                  <c:v>43853</c:v>
                </c:pt>
                <c:pt idx="278">
                  <c:v>43854</c:v>
                </c:pt>
                <c:pt idx="279">
                  <c:v>43857</c:v>
                </c:pt>
                <c:pt idx="280">
                  <c:v>43858</c:v>
                </c:pt>
                <c:pt idx="281">
                  <c:v>43859</c:v>
                </c:pt>
                <c:pt idx="282">
                  <c:v>43860</c:v>
                </c:pt>
                <c:pt idx="283">
                  <c:v>43861</c:v>
                </c:pt>
                <c:pt idx="284">
                  <c:v>43864</c:v>
                </c:pt>
                <c:pt idx="285">
                  <c:v>43865</c:v>
                </c:pt>
                <c:pt idx="286">
                  <c:v>43866</c:v>
                </c:pt>
                <c:pt idx="287">
                  <c:v>43867</c:v>
                </c:pt>
                <c:pt idx="288">
                  <c:v>43868</c:v>
                </c:pt>
                <c:pt idx="289">
                  <c:v>43871</c:v>
                </c:pt>
                <c:pt idx="290">
                  <c:v>43872</c:v>
                </c:pt>
                <c:pt idx="291">
                  <c:v>43873</c:v>
                </c:pt>
                <c:pt idx="292">
                  <c:v>43874</c:v>
                </c:pt>
                <c:pt idx="293">
                  <c:v>43875</c:v>
                </c:pt>
                <c:pt idx="294">
                  <c:v>43878</c:v>
                </c:pt>
                <c:pt idx="295">
                  <c:v>43879</c:v>
                </c:pt>
                <c:pt idx="296">
                  <c:v>43880</c:v>
                </c:pt>
                <c:pt idx="297">
                  <c:v>43881</c:v>
                </c:pt>
                <c:pt idx="298">
                  <c:v>43882</c:v>
                </c:pt>
                <c:pt idx="299">
                  <c:v>43885</c:v>
                </c:pt>
                <c:pt idx="300">
                  <c:v>43886</c:v>
                </c:pt>
                <c:pt idx="301">
                  <c:v>43887</c:v>
                </c:pt>
                <c:pt idx="302">
                  <c:v>43888</c:v>
                </c:pt>
                <c:pt idx="303">
                  <c:v>43889</c:v>
                </c:pt>
                <c:pt idx="304">
                  <c:v>43892</c:v>
                </c:pt>
                <c:pt idx="305">
                  <c:v>43893</c:v>
                </c:pt>
                <c:pt idx="306">
                  <c:v>43894</c:v>
                </c:pt>
                <c:pt idx="307">
                  <c:v>43895</c:v>
                </c:pt>
                <c:pt idx="308">
                  <c:v>43896</c:v>
                </c:pt>
                <c:pt idx="309">
                  <c:v>43899</c:v>
                </c:pt>
                <c:pt idx="310">
                  <c:v>43900</c:v>
                </c:pt>
                <c:pt idx="311">
                  <c:v>43901</c:v>
                </c:pt>
                <c:pt idx="312">
                  <c:v>43902</c:v>
                </c:pt>
                <c:pt idx="313">
                  <c:v>43903</c:v>
                </c:pt>
                <c:pt idx="314">
                  <c:v>43906</c:v>
                </c:pt>
                <c:pt idx="315">
                  <c:v>43907</c:v>
                </c:pt>
                <c:pt idx="316">
                  <c:v>43908</c:v>
                </c:pt>
                <c:pt idx="317">
                  <c:v>43909</c:v>
                </c:pt>
                <c:pt idx="318">
                  <c:v>43910</c:v>
                </c:pt>
                <c:pt idx="319">
                  <c:v>43913</c:v>
                </c:pt>
                <c:pt idx="320">
                  <c:v>43914</c:v>
                </c:pt>
                <c:pt idx="321">
                  <c:v>43915</c:v>
                </c:pt>
                <c:pt idx="322">
                  <c:v>43916</c:v>
                </c:pt>
                <c:pt idx="323">
                  <c:v>43917</c:v>
                </c:pt>
                <c:pt idx="324">
                  <c:v>43920</c:v>
                </c:pt>
                <c:pt idx="325">
                  <c:v>43921</c:v>
                </c:pt>
                <c:pt idx="326">
                  <c:v>43922</c:v>
                </c:pt>
                <c:pt idx="327">
                  <c:v>43923</c:v>
                </c:pt>
                <c:pt idx="328">
                  <c:v>43924</c:v>
                </c:pt>
                <c:pt idx="329">
                  <c:v>43927</c:v>
                </c:pt>
                <c:pt idx="330">
                  <c:v>43928</c:v>
                </c:pt>
                <c:pt idx="331">
                  <c:v>43929</c:v>
                </c:pt>
                <c:pt idx="332">
                  <c:v>43930</c:v>
                </c:pt>
                <c:pt idx="333">
                  <c:v>43931</c:v>
                </c:pt>
                <c:pt idx="334">
                  <c:v>43934</c:v>
                </c:pt>
                <c:pt idx="335">
                  <c:v>43935</c:v>
                </c:pt>
                <c:pt idx="336">
                  <c:v>43936</c:v>
                </c:pt>
                <c:pt idx="337">
                  <c:v>43937</c:v>
                </c:pt>
                <c:pt idx="338">
                  <c:v>43938</c:v>
                </c:pt>
                <c:pt idx="339">
                  <c:v>43941</c:v>
                </c:pt>
                <c:pt idx="340">
                  <c:v>43942</c:v>
                </c:pt>
                <c:pt idx="341">
                  <c:v>43943</c:v>
                </c:pt>
                <c:pt idx="342">
                  <c:v>43944</c:v>
                </c:pt>
                <c:pt idx="343">
                  <c:v>43945</c:v>
                </c:pt>
                <c:pt idx="344">
                  <c:v>43948</c:v>
                </c:pt>
                <c:pt idx="345">
                  <c:v>43949</c:v>
                </c:pt>
                <c:pt idx="346">
                  <c:v>43950</c:v>
                </c:pt>
                <c:pt idx="347">
                  <c:v>43951</c:v>
                </c:pt>
                <c:pt idx="348">
                  <c:v>43952</c:v>
                </c:pt>
                <c:pt idx="349">
                  <c:v>43955</c:v>
                </c:pt>
                <c:pt idx="350">
                  <c:v>43956</c:v>
                </c:pt>
                <c:pt idx="351">
                  <c:v>43957</c:v>
                </c:pt>
                <c:pt idx="352">
                  <c:v>43958</c:v>
                </c:pt>
                <c:pt idx="353">
                  <c:v>43959</c:v>
                </c:pt>
                <c:pt idx="354">
                  <c:v>43962</c:v>
                </c:pt>
                <c:pt idx="355">
                  <c:v>43963</c:v>
                </c:pt>
                <c:pt idx="356">
                  <c:v>43964</c:v>
                </c:pt>
                <c:pt idx="357">
                  <c:v>43965</c:v>
                </c:pt>
                <c:pt idx="358">
                  <c:v>43966</c:v>
                </c:pt>
                <c:pt idx="359">
                  <c:v>43969</c:v>
                </c:pt>
                <c:pt idx="360">
                  <c:v>43970</c:v>
                </c:pt>
                <c:pt idx="361">
                  <c:v>43971</c:v>
                </c:pt>
                <c:pt idx="362">
                  <c:v>43972</c:v>
                </c:pt>
                <c:pt idx="363">
                  <c:v>43973</c:v>
                </c:pt>
                <c:pt idx="364">
                  <c:v>43976</c:v>
                </c:pt>
                <c:pt idx="365">
                  <c:v>43977</c:v>
                </c:pt>
                <c:pt idx="366">
                  <c:v>43978</c:v>
                </c:pt>
                <c:pt idx="367">
                  <c:v>43979</c:v>
                </c:pt>
                <c:pt idx="368">
                  <c:v>43980</c:v>
                </c:pt>
                <c:pt idx="369">
                  <c:v>43983</c:v>
                </c:pt>
                <c:pt idx="370">
                  <c:v>43984</c:v>
                </c:pt>
                <c:pt idx="371">
                  <c:v>43985</c:v>
                </c:pt>
                <c:pt idx="372">
                  <c:v>43986</c:v>
                </c:pt>
                <c:pt idx="373">
                  <c:v>43987</c:v>
                </c:pt>
                <c:pt idx="374">
                  <c:v>43990</c:v>
                </c:pt>
                <c:pt idx="375">
                  <c:v>43991</c:v>
                </c:pt>
                <c:pt idx="376">
                  <c:v>43992</c:v>
                </c:pt>
                <c:pt idx="377">
                  <c:v>43993</c:v>
                </c:pt>
                <c:pt idx="378">
                  <c:v>43994</c:v>
                </c:pt>
                <c:pt idx="379">
                  <c:v>43997</c:v>
                </c:pt>
                <c:pt idx="380">
                  <c:v>43998</c:v>
                </c:pt>
                <c:pt idx="381">
                  <c:v>43999</c:v>
                </c:pt>
                <c:pt idx="382">
                  <c:v>44000</c:v>
                </c:pt>
                <c:pt idx="383">
                  <c:v>44001</c:v>
                </c:pt>
                <c:pt idx="384">
                  <c:v>44004</c:v>
                </c:pt>
                <c:pt idx="385">
                  <c:v>44005</c:v>
                </c:pt>
                <c:pt idx="386">
                  <c:v>44006</c:v>
                </c:pt>
                <c:pt idx="387">
                  <c:v>44007</c:v>
                </c:pt>
                <c:pt idx="388">
                  <c:v>44008</c:v>
                </c:pt>
                <c:pt idx="389">
                  <c:v>44011</c:v>
                </c:pt>
                <c:pt idx="390">
                  <c:v>44012</c:v>
                </c:pt>
                <c:pt idx="391">
                  <c:v>44013</c:v>
                </c:pt>
                <c:pt idx="392">
                  <c:v>44014</c:v>
                </c:pt>
                <c:pt idx="393">
                  <c:v>44015</c:v>
                </c:pt>
                <c:pt idx="394">
                  <c:v>44018</c:v>
                </c:pt>
                <c:pt idx="395">
                  <c:v>44019</c:v>
                </c:pt>
                <c:pt idx="396">
                  <c:v>44020</c:v>
                </c:pt>
                <c:pt idx="397">
                  <c:v>44021</c:v>
                </c:pt>
                <c:pt idx="398">
                  <c:v>44022</c:v>
                </c:pt>
                <c:pt idx="399">
                  <c:v>44025</c:v>
                </c:pt>
                <c:pt idx="400">
                  <c:v>44026</c:v>
                </c:pt>
                <c:pt idx="401">
                  <c:v>44027</c:v>
                </c:pt>
                <c:pt idx="402">
                  <c:v>44028</c:v>
                </c:pt>
                <c:pt idx="403">
                  <c:v>44029</c:v>
                </c:pt>
                <c:pt idx="404">
                  <c:v>44032</c:v>
                </c:pt>
                <c:pt idx="405">
                  <c:v>44033</c:v>
                </c:pt>
                <c:pt idx="406">
                  <c:v>44034</c:v>
                </c:pt>
                <c:pt idx="407">
                  <c:v>44035</c:v>
                </c:pt>
                <c:pt idx="408">
                  <c:v>44036</c:v>
                </c:pt>
                <c:pt idx="409">
                  <c:v>44039</c:v>
                </c:pt>
                <c:pt idx="410">
                  <c:v>44040</c:v>
                </c:pt>
                <c:pt idx="411">
                  <c:v>44041</c:v>
                </c:pt>
                <c:pt idx="412">
                  <c:v>44042</c:v>
                </c:pt>
                <c:pt idx="413">
                  <c:v>44043</c:v>
                </c:pt>
                <c:pt idx="414">
                  <c:v>44046</c:v>
                </c:pt>
                <c:pt idx="415">
                  <c:v>44047</c:v>
                </c:pt>
                <c:pt idx="416">
                  <c:v>44048</c:v>
                </c:pt>
                <c:pt idx="417">
                  <c:v>44049</c:v>
                </c:pt>
                <c:pt idx="418">
                  <c:v>44050</c:v>
                </c:pt>
                <c:pt idx="419">
                  <c:v>44053</c:v>
                </c:pt>
                <c:pt idx="420">
                  <c:v>44054</c:v>
                </c:pt>
                <c:pt idx="421">
                  <c:v>44055</c:v>
                </c:pt>
                <c:pt idx="422">
                  <c:v>44056</c:v>
                </c:pt>
                <c:pt idx="423">
                  <c:v>44057</c:v>
                </c:pt>
                <c:pt idx="424">
                  <c:v>44060</c:v>
                </c:pt>
                <c:pt idx="425">
                  <c:v>44061</c:v>
                </c:pt>
                <c:pt idx="426">
                  <c:v>44062</c:v>
                </c:pt>
                <c:pt idx="427">
                  <c:v>44063</c:v>
                </c:pt>
                <c:pt idx="428">
                  <c:v>44064</c:v>
                </c:pt>
                <c:pt idx="429">
                  <c:v>44067</c:v>
                </c:pt>
                <c:pt idx="430">
                  <c:v>44068</c:v>
                </c:pt>
                <c:pt idx="431">
                  <c:v>44069</c:v>
                </c:pt>
                <c:pt idx="432">
                  <c:v>44070</c:v>
                </c:pt>
                <c:pt idx="433">
                  <c:v>44071</c:v>
                </c:pt>
                <c:pt idx="434">
                  <c:v>44074</c:v>
                </c:pt>
                <c:pt idx="435">
                  <c:v>44075</c:v>
                </c:pt>
                <c:pt idx="436">
                  <c:v>44076</c:v>
                </c:pt>
                <c:pt idx="437">
                  <c:v>44077</c:v>
                </c:pt>
                <c:pt idx="438">
                  <c:v>44078</c:v>
                </c:pt>
                <c:pt idx="439">
                  <c:v>44081</c:v>
                </c:pt>
                <c:pt idx="440">
                  <c:v>44082</c:v>
                </c:pt>
                <c:pt idx="441">
                  <c:v>44083</c:v>
                </c:pt>
                <c:pt idx="442">
                  <c:v>44084</c:v>
                </c:pt>
                <c:pt idx="443">
                  <c:v>44085</c:v>
                </c:pt>
                <c:pt idx="444">
                  <c:v>44088</c:v>
                </c:pt>
                <c:pt idx="445">
                  <c:v>44089</c:v>
                </c:pt>
                <c:pt idx="446">
                  <c:v>44090</c:v>
                </c:pt>
                <c:pt idx="447">
                  <c:v>44091</c:v>
                </c:pt>
                <c:pt idx="448">
                  <c:v>44092</c:v>
                </c:pt>
                <c:pt idx="449">
                  <c:v>44095</c:v>
                </c:pt>
                <c:pt idx="450">
                  <c:v>44096</c:v>
                </c:pt>
                <c:pt idx="451">
                  <c:v>44097</c:v>
                </c:pt>
                <c:pt idx="452">
                  <c:v>44098</c:v>
                </c:pt>
                <c:pt idx="453">
                  <c:v>44099</c:v>
                </c:pt>
                <c:pt idx="454">
                  <c:v>44102</c:v>
                </c:pt>
                <c:pt idx="455">
                  <c:v>44103</c:v>
                </c:pt>
                <c:pt idx="456">
                  <c:v>44104</c:v>
                </c:pt>
                <c:pt idx="457">
                  <c:v>44105</c:v>
                </c:pt>
                <c:pt idx="458">
                  <c:v>44106</c:v>
                </c:pt>
                <c:pt idx="459">
                  <c:v>44109</c:v>
                </c:pt>
                <c:pt idx="460">
                  <c:v>44110</c:v>
                </c:pt>
                <c:pt idx="461">
                  <c:v>44111</c:v>
                </c:pt>
                <c:pt idx="462">
                  <c:v>44112</c:v>
                </c:pt>
                <c:pt idx="463">
                  <c:v>44113</c:v>
                </c:pt>
                <c:pt idx="464">
                  <c:v>44116</c:v>
                </c:pt>
                <c:pt idx="465">
                  <c:v>44117</c:v>
                </c:pt>
                <c:pt idx="466">
                  <c:v>44118</c:v>
                </c:pt>
                <c:pt idx="467">
                  <c:v>44119</c:v>
                </c:pt>
                <c:pt idx="468">
                  <c:v>44120</c:v>
                </c:pt>
                <c:pt idx="469">
                  <c:v>44123</c:v>
                </c:pt>
                <c:pt idx="470">
                  <c:v>44124</c:v>
                </c:pt>
                <c:pt idx="471">
                  <c:v>44125</c:v>
                </c:pt>
                <c:pt idx="472">
                  <c:v>44126</c:v>
                </c:pt>
                <c:pt idx="473">
                  <c:v>44127</c:v>
                </c:pt>
                <c:pt idx="474">
                  <c:v>44130</c:v>
                </c:pt>
                <c:pt idx="475">
                  <c:v>44131</c:v>
                </c:pt>
                <c:pt idx="476">
                  <c:v>44132</c:v>
                </c:pt>
                <c:pt idx="477">
                  <c:v>44133</c:v>
                </c:pt>
                <c:pt idx="478">
                  <c:v>44134</c:v>
                </c:pt>
                <c:pt idx="479">
                  <c:v>44137</c:v>
                </c:pt>
                <c:pt idx="480">
                  <c:v>44138</c:v>
                </c:pt>
                <c:pt idx="481">
                  <c:v>44139</c:v>
                </c:pt>
                <c:pt idx="482">
                  <c:v>44140</c:v>
                </c:pt>
                <c:pt idx="483">
                  <c:v>44141</c:v>
                </c:pt>
                <c:pt idx="484">
                  <c:v>44144</c:v>
                </c:pt>
                <c:pt idx="485">
                  <c:v>44145</c:v>
                </c:pt>
                <c:pt idx="486">
                  <c:v>44146</c:v>
                </c:pt>
                <c:pt idx="487">
                  <c:v>44147</c:v>
                </c:pt>
                <c:pt idx="488">
                  <c:v>44148</c:v>
                </c:pt>
                <c:pt idx="489">
                  <c:v>44151</c:v>
                </c:pt>
                <c:pt idx="490">
                  <c:v>44152</c:v>
                </c:pt>
                <c:pt idx="491">
                  <c:v>44153</c:v>
                </c:pt>
                <c:pt idx="492">
                  <c:v>44154</c:v>
                </c:pt>
                <c:pt idx="493">
                  <c:v>44155</c:v>
                </c:pt>
                <c:pt idx="494">
                  <c:v>44158</c:v>
                </c:pt>
                <c:pt idx="495">
                  <c:v>44159</c:v>
                </c:pt>
                <c:pt idx="496">
                  <c:v>44160</c:v>
                </c:pt>
                <c:pt idx="497">
                  <c:v>44161</c:v>
                </c:pt>
                <c:pt idx="498">
                  <c:v>44162</c:v>
                </c:pt>
                <c:pt idx="499">
                  <c:v>44165</c:v>
                </c:pt>
                <c:pt idx="500">
                  <c:v>44166</c:v>
                </c:pt>
                <c:pt idx="501">
                  <c:v>44167</c:v>
                </c:pt>
                <c:pt idx="502">
                  <c:v>44168</c:v>
                </c:pt>
                <c:pt idx="503">
                  <c:v>44169</c:v>
                </c:pt>
                <c:pt idx="504">
                  <c:v>44172</c:v>
                </c:pt>
                <c:pt idx="505">
                  <c:v>44173</c:v>
                </c:pt>
                <c:pt idx="506">
                  <c:v>44174</c:v>
                </c:pt>
                <c:pt idx="507">
                  <c:v>44175</c:v>
                </c:pt>
                <c:pt idx="508">
                  <c:v>44176</c:v>
                </c:pt>
                <c:pt idx="509">
                  <c:v>44179</c:v>
                </c:pt>
                <c:pt idx="510">
                  <c:v>44180</c:v>
                </c:pt>
                <c:pt idx="511">
                  <c:v>44181</c:v>
                </c:pt>
                <c:pt idx="512">
                  <c:v>44182</c:v>
                </c:pt>
                <c:pt idx="513">
                  <c:v>44183</c:v>
                </c:pt>
                <c:pt idx="514">
                  <c:v>44186</c:v>
                </c:pt>
                <c:pt idx="515">
                  <c:v>44187</c:v>
                </c:pt>
                <c:pt idx="516">
                  <c:v>44188</c:v>
                </c:pt>
                <c:pt idx="517">
                  <c:v>44189</c:v>
                </c:pt>
                <c:pt idx="518">
                  <c:v>44190</c:v>
                </c:pt>
                <c:pt idx="519">
                  <c:v>44193</c:v>
                </c:pt>
                <c:pt idx="520">
                  <c:v>44194</c:v>
                </c:pt>
                <c:pt idx="521">
                  <c:v>44195</c:v>
                </c:pt>
                <c:pt idx="522">
                  <c:v>44196</c:v>
                </c:pt>
                <c:pt idx="523">
                  <c:v>44197</c:v>
                </c:pt>
                <c:pt idx="524">
                  <c:v>44200</c:v>
                </c:pt>
                <c:pt idx="525">
                  <c:v>44201</c:v>
                </c:pt>
                <c:pt idx="526">
                  <c:v>44202</c:v>
                </c:pt>
                <c:pt idx="527">
                  <c:v>44203</c:v>
                </c:pt>
                <c:pt idx="528">
                  <c:v>44204</c:v>
                </c:pt>
                <c:pt idx="529">
                  <c:v>44207</c:v>
                </c:pt>
                <c:pt idx="530">
                  <c:v>44208</c:v>
                </c:pt>
                <c:pt idx="531">
                  <c:v>44209</c:v>
                </c:pt>
                <c:pt idx="532">
                  <c:v>44210</c:v>
                </c:pt>
                <c:pt idx="533">
                  <c:v>44211</c:v>
                </c:pt>
                <c:pt idx="534">
                  <c:v>44214</c:v>
                </c:pt>
                <c:pt idx="535">
                  <c:v>44215</c:v>
                </c:pt>
                <c:pt idx="536">
                  <c:v>44216</c:v>
                </c:pt>
                <c:pt idx="537">
                  <c:v>44217</c:v>
                </c:pt>
                <c:pt idx="538">
                  <c:v>44218</c:v>
                </c:pt>
                <c:pt idx="539">
                  <c:v>44221</c:v>
                </c:pt>
                <c:pt idx="540">
                  <c:v>44222</c:v>
                </c:pt>
                <c:pt idx="541">
                  <c:v>44223</c:v>
                </c:pt>
                <c:pt idx="542">
                  <c:v>44224</c:v>
                </c:pt>
                <c:pt idx="543">
                  <c:v>44225</c:v>
                </c:pt>
                <c:pt idx="544">
                  <c:v>44228</c:v>
                </c:pt>
                <c:pt idx="545">
                  <c:v>44229</c:v>
                </c:pt>
                <c:pt idx="546">
                  <c:v>44230</c:v>
                </c:pt>
                <c:pt idx="547">
                  <c:v>44231</c:v>
                </c:pt>
                <c:pt idx="548">
                  <c:v>44232</c:v>
                </c:pt>
                <c:pt idx="549">
                  <c:v>44235</c:v>
                </c:pt>
                <c:pt idx="550">
                  <c:v>44236</c:v>
                </c:pt>
                <c:pt idx="551">
                  <c:v>44237</c:v>
                </c:pt>
                <c:pt idx="552">
                  <c:v>44238</c:v>
                </c:pt>
                <c:pt idx="553">
                  <c:v>44239</c:v>
                </c:pt>
                <c:pt idx="554">
                  <c:v>44242</c:v>
                </c:pt>
                <c:pt idx="555">
                  <c:v>44243</c:v>
                </c:pt>
                <c:pt idx="556">
                  <c:v>44244</c:v>
                </c:pt>
                <c:pt idx="557">
                  <c:v>44245</c:v>
                </c:pt>
                <c:pt idx="558">
                  <c:v>44246</c:v>
                </c:pt>
                <c:pt idx="559">
                  <c:v>44249</c:v>
                </c:pt>
                <c:pt idx="560">
                  <c:v>44250</c:v>
                </c:pt>
                <c:pt idx="561">
                  <c:v>44251</c:v>
                </c:pt>
                <c:pt idx="562">
                  <c:v>44252</c:v>
                </c:pt>
                <c:pt idx="563">
                  <c:v>44253</c:v>
                </c:pt>
                <c:pt idx="564">
                  <c:v>44256</c:v>
                </c:pt>
                <c:pt idx="565">
                  <c:v>44257</c:v>
                </c:pt>
                <c:pt idx="566">
                  <c:v>44258</c:v>
                </c:pt>
                <c:pt idx="567">
                  <c:v>44259</c:v>
                </c:pt>
                <c:pt idx="568">
                  <c:v>44260</c:v>
                </c:pt>
                <c:pt idx="569">
                  <c:v>44263</c:v>
                </c:pt>
                <c:pt idx="570">
                  <c:v>44264</c:v>
                </c:pt>
                <c:pt idx="571">
                  <c:v>44265</c:v>
                </c:pt>
                <c:pt idx="572">
                  <c:v>44266</c:v>
                </c:pt>
                <c:pt idx="573">
                  <c:v>44267</c:v>
                </c:pt>
                <c:pt idx="574">
                  <c:v>44270</c:v>
                </c:pt>
                <c:pt idx="575">
                  <c:v>44271</c:v>
                </c:pt>
                <c:pt idx="576">
                  <c:v>44272</c:v>
                </c:pt>
                <c:pt idx="577">
                  <c:v>44273</c:v>
                </c:pt>
                <c:pt idx="578">
                  <c:v>44274</c:v>
                </c:pt>
                <c:pt idx="579">
                  <c:v>44277</c:v>
                </c:pt>
                <c:pt idx="580">
                  <c:v>44278</c:v>
                </c:pt>
                <c:pt idx="581">
                  <c:v>44279</c:v>
                </c:pt>
                <c:pt idx="582">
                  <c:v>44280</c:v>
                </c:pt>
                <c:pt idx="583">
                  <c:v>44281</c:v>
                </c:pt>
                <c:pt idx="584">
                  <c:v>44284</c:v>
                </c:pt>
                <c:pt idx="585">
                  <c:v>44285</c:v>
                </c:pt>
                <c:pt idx="586">
                  <c:v>44286</c:v>
                </c:pt>
                <c:pt idx="587">
                  <c:v>44287</c:v>
                </c:pt>
                <c:pt idx="588">
                  <c:v>44288</c:v>
                </c:pt>
                <c:pt idx="589">
                  <c:v>44291</c:v>
                </c:pt>
                <c:pt idx="590">
                  <c:v>44292</c:v>
                </c:pt>
                <c:pt idx="591">
                  <c:v>44293</c:v>
                </c:pt>
                <c:pt idx="592">
                  <c:v>44294</c:v>
                </c:pt>
                <c:pt idx="593">
                  <c:v>44295</c:v>
                </c:pt>
                <c:pt idx="594">
                  <c:v>44298</c:v>
                </c:pt>
                <c:pt idx="595">
                  <c:v>44299</c:v>
                </c:pt>
                <c:pt idx="596">
                  <c:v>44300</c:v>
                </c:pt>
                <c:pt idx="597">
                  <c:v>44301</c:v>
                </c:pt>
                <c:pt idx="598">
                  <c:v>44302</c:v>
                </c:pt>
                <c:pt idx="599">
                  <c:v>44305</c:v>
                </c:pt>
                <c:pt idx="600">
                  <c:v>44306</c:v>
                </c:pt>
                <c:pt idx="601">
                  <c:v>44307</c:v>
                </c:pt>
                <c:pt idx="602">
                  <c:v>44308</c:v>
                </c:pt>
                <c:pt idx="603">
                  <c:v>44309</c:v>
                </c:pt>
                <c:pt idx="604">
                  <c:v>44312</c:v>
                </c:pt>
                <c:pt idx="605">
                  <c:v>44313</c:v>
                </c:pt>
                <c:pt idx="606">
                  <c:v>44314</c:v>
                </c:pt>
                <c:pt idx="607">
                  <c:v>44315</c:v>
                </c:pt>
                <c:pt idx="608">
                  <c:v>44316</c:v>
                </c:pt>
                <c:pt idx="609">
                  <c:v>44319</c:v>
                </c:pt>
                <c:pt idx="610">
                  <c:v>44320</c:v>
                </c:pt>
                <c:pt idx="611">
                  <c:v>44321</c:v>
                </c:pt>
                <c:pt idx="612">
                  <c:v>44322</c:v>
                </c:pt>
                <c:pt idx="613">
                  <c:v>44323</c:v>
                </c:pt>
                <c:pt idx="614">
                  <c:v>44326</c:v>
                </c:pt>
                <c:pt idx="615">
                  <c:v>44327</c:v>
                </c:pt>
                <c:pt idx="616">
                  <c:v>44328</c:v>
                </c:pt>
                <c:pt idx="617">
                  <c:v>44329</c:v>
                </c:pt>
                <c:pt idx="618">
                  <c:v>44330</c:v>
                </c:pt>
                <c:pt idx="619">
                  <c:v>44333</c:v>
                </c:pt>
                <c:pt idx="620">
                  <c:v>44334</c:v>
                </c:pt>
                <c:pt idx="621">
                  <c:v>44335</c:v>
                </c:pt>
                <c:pt idx="622">
                  <c:v>44336</c:v>
                </c:pt>
                <c:pt idx="623">
                  <c:v>44337</c:v>
                </c:pt>
                <c:pt idx="624">
                  <c:v>44340</c:v>
                </c:pt>
                <c:pt idx="625">
                  <c:v>44341</c:v>
                </c:pt>
                <c:pt idx="626">
                  <c:v>44342</c:v>
                </c:pt>
                <c:pt idx="627">
                  <c:v>44343</c:v>
                </c:pt>
                <c:pt idx="628">
                  <c:v>44344</c:v>
                </c:pt>
                <c:pt idx="629">
                  <c:v>44347</c:v>
                </c:pt>
                <c:pt idx="630">
                  <c:v>44348</c:v>
                </c:pt>
                <c:pt idx="631">
                  <c:v>44349</c:v>
                </c:pt>
                <c:pt idx="632">
                  <c:v>44350</c:v>
                </c:pt>
                <c:pt idx="633">
                  <c:v>44351</c:v>
                </c:pt>
                <c:pt idx="634">
                  <c:v>44354</c:v>
                </c:pt>
                <c:pt idx="635">
                  <c:v>44355</c:v>
                </c:pt>
                <c:pt idx="636">
                  <c:v>44356</c:v>
                </c:pt>
                <c:pt idx="637">
                  <c:v>44357</c:v>
                </c:pt>
                <c:pt idx="638">
                  <c:v>44358</c:v>
                </c:pt>
                <c:pt idx="639">
                  <c:v>44361</c:v>
                </c:pt>
                <c:pt idx="640">
                  <c:v>44362</c:v>
                </c:pt>
                <c:pt idx="641">
                  <c:v>44363</c:v>
                </c:pt>
                <c:pt idx="642">
                  <c:v>44364</c:v>
                </c:pt>
                <c:pt idx="643">
                  <c:v>44365</c:v>
                </c:pt>
                <c:pt idx="644">
                  <c:v>44368</c:v>
                </c:pt>
                <c:pt idx="645">
                  <c:v>44369</c:v>
                </c:pt>
                <c:pt idx="646">
                  <c:v>44370</c:v>
                </c:pt>
                <c:pt idx="647">
                  <c:v>44371</c:v>
                </c:pt>
                <c:pt idx="648">
                  <c:v>44372</c:v>
                </c:pt>
                <c:pt idx="649">
                  <c:v>44375</c:v>
                </c:pt>
                <c:pt idx="650">
                  <c:v>44376</c:v>
                </c:pt>
                <c:pt idx="651">
                  <c:v>44377</c:v>
                </c:pt>
                <c:pt idx="652">
                  <c:v>44378</c:v>
                </c:pt>
                <c:pt idx="653">
                  <c:v>44379</c:v>
                </c:pt>
                <c:pt idx="654">
                  <c:v>44382</c:v>
                </c:pt>
                <c:pt idx="655">
                  <c:v>44383</c:v>
                </c:pt>
                <c:pt idx="656">
                  <c:v>44384</c:v>
                </c:pt>
                <c:pt idx="657">
                  <c:v>44385</c:v>
                </c:pt>
                <c:pt idx="658">
                  <c:v>44386</c:v>
                </c:pt>
                <c:pt idx="659">
                  <c:v>44389</c:v>
                </c:pt>
                <c:pt idx="660">
                  <c:v>44390</c:v>
                </c:pt>
                <c:pt idx="661">
                  <c:v>44391</c:v>
                </c:pt>
                <c:pt idx="662">
                  <c:v>44392</c:v>
                </c:pt>
                <c:pt idx="663">
                  <c:v>44393</c:v>
                </c:pt>
                <c:pt idx="664">
                  <c:v>44396</c:v>
                </c:pt>
                <c:pt idx="665">
                  <c:v>44397</c:v>
                </c:pt>
                <c:pt idx="666">
                  <c:v>44398</c:v>
                </c:pt>
                <c:pt idx="667">
                  <c:v>44399</c:v>
                </c:pt>
                <c:pt idx="668">
                  <c:v>44400</c:v>
                </c:pt>
                <c:pt idx="669">
                  <c:v>44403</c:v>
                </c:pt>
                <c:pt idx="670">
                  <c:v>44404</c:v>
                </c:pt>
                <c:pt idx="671">
                  <c:v>44405</c:v>
                </c:pt>
                <c:pt idx="672">
                  <c:v>44406</c:v>
                </c:pt>
                <c:pt idx="673">
                  <c:v>44407</c:v>
                </c:pt>
                <c:pt idx="674">
                  <c:v>44410</c:v>
                </c:pt>
                <c:pt idx="675">
                  <c:v>44411</c:v>
                </c:pt>
                <c:pt idx="676">
                  <c:v>44412</c:v>
                </c:pt>
                <c:pt idx="677">
                  <c:v>44413</c:v>
                </c:pt>
                <c:pt idx="678">
                  <c:v>44414</c:v>
                </c:pt>
                <c:pt idx="679">
                  <c:v>44417</c:v>
                </c:pt>
                <c:pt idx="680">
                  <c:v>44418</c:v>
                </c:pt>
                <c:pt idx="681">
                  <c:v>44419</c:v>
                </c:pt>
                <c:pt idx="682">
                  <c:v>44420</c:v>
                </c:pt>
                <c:pt idx="683">
                  <c:v>44421</c:v>
                </c:pt>
                <c:pt idx="684">
                  <c:v>44424</c:v>
                </c:pt>
                <c:pt idx="685">
                  <c:v>44425</c:v>
                </c:pt>
                <c:pt idx="686">
                  <c:v>44426</c:v>
                </c:pt>
                <c:pt idx="687">
                  <c:v>44427</c:v>
                </c:pt>
                <c:pt idx="688">
                  <c:v>44428</c:v>
                </c:pt>
                <c:pt idx="689">
                  <c:v>44431</c:v>
                </c:pt>
                <c:pt idx="690">
                  <c:v>44432</c:v>
                </c:pt>
                <c:pt idx="691">
                  <c:v>44433</c:v>
                </c:pt>
                <c:pt idx="692">
                  <c:v>44434</c:v>
                </c:pt>
                <c:pt idx="693">
                  <c:v>44435</c:v>
                </c:pt>
                <c:pt idx="694">
                  <c:v>44438</c:v>
                </c:pt>
                <c:pt idx="695">
                  <c:v>44439</c:v>
                </c:pt>
                <c:pt idx="696">
                  <c:v>44440</c:v>
                </c:pt>
                <c:pt idx="697">
                  <c:v>44441</c:v>
                </c:pt>
                <c:pt idx="698">
                  <c:v>44442</c:v>
                </c:pt>
                <c:pt idx="699">
                  <c:v>44445</c:v>
                </c:pt>
                <c:pt idx="700">
                  <c:v>44446</c:v>
                </c:pt>
                <c:pt idx="701">
                  <c:v>44447</c:v>
                </c:pt>
                <c:pt idx="702">
                  <c:v>44448</c:v>
                </c:pt>
                <c:pt idx="703">
                  <c:v>44449</c:v>
                </c:pt>
                <c:pt idx="704">
                  <c:v>44452</c:v>
                </c:pt>
                <c:pt idx="705">
                  <c:v>44453</c:v>
                </c:pt>
                <c:pt idx="706">
                  <c:v>44454</c:v>
                </c:pt>
                <c:pt idx="707">
                  <c:v>44455</c:v>
                </c:pt>
                <c:pt idx="708">
                  <c:v>44456</c:v>
                </c:pt>
                <c:pt idx="709">
                  <c:v>44459</c:v>
                </c:pt>
                <c:pt idx="710">
                  <c:v>44460</c:v>
                </c:pt>
                <c:pt idx="711">
                  <c:v>44461</c:v>
                </c:pt>
                <c:pt idx="712">
                  <c:v>44462</c:v>
                </c:pt>
                <c:pt idx="713">
                  <c:v>44463</c:v>
                </c:pt>
                <c:pt idx="714">
                  <c:v>44466</c:v>
                </c:pt>
                <c:pt idx="715">
                  <c:v>44467</c:v>
                </c:pt>
                <c:pt idx="716">
                  <c:v>44468</c:v>
                </c:pt>
                <c:pt idx="717">
                  <c:v>44469</c:v>
                </c:pt>
                <c:pt idx="718">
                  <c:v>44470</c:v>
                </c:pt>
                <c:pt idx="719">
                  <c:v>44473</c:v>
                </c:pt>
                <c:pt idx="720">
                  <c:v>44474</c:v>
                </c:pt>
                <c:pt idx="721">
                  <c:v>44475</c:v>
                </c:pt>
                <c:pt idx="722">
                  <c:v>44476</c:v>
                </c:pt>
                <c:pt idx="723">
                  <c:v>44477</c:v>
                </c:pt>
                <c:pt idx="724">
                  <c:v>44480</c:v>
                </c:pt>
                <c:pt idx="725">
                  <c:v>44481</c:v>
                </c:pt>
                <c:pt idx="726">
                  <c:v>44482</c:v>
                </c:pt>
                <c:pt idx="727">
                  <c:v>44483</c:v>
                </c:pt>
                <c:pt idx="728">
                  <c:v>44484</c:v>
                </c:pt>
                <c:pt idx="729">
                  <c:v>44487</c:v>
                </c:pt>
                <c:pt idx="730">
                  <c:v>44488</c:v>
                </c:pt>
                <c:pt idx="731">
                  <c:v>44489</c:v>
                </c:pt>
                <c:pt idx="732">
                  <c:v>44490</c:v>
                </c:pt>
                <c:pt idx="733">
                  <c:v>44491</c:v>
                </c:pt>
                <c:pt idx="734">
                  <c:v>44494</c:v>
                </c:pt>
                <c:pt idx="735">
                  <c:v>44495</c:v>
                </c:pt>
                <c:pt idx="736">
                  <c:v>44496</c:v>
                </c:pt>
                <c:pt idx="737">
                  <c:v>44497</c:v>
                </c:pt>
                <c:pt idx="738">
                  <c:v>44498</c:v>
                </c:pt>
                <c:pt idx="739">
                  <c:v>44501</c:v>
                </c:pt>
                <c:pt idx="740">
                  <c:v>44502</c:v>
                </c:pt>
                <c:pt idx="741">
                  <c:v>44503</c:v>
                </c:pt>
                <c:pt idx="742">
                  <c:v>44504</c:v>
                </c:pt>
                <c:pt idx="743">
                  <c:v>44505</c:v>
                </c:pt>
                <c:pt idx="744">
                  <c:v>44508</c:v>
                </c:pt>
                <c:pt idx="745">
                  <c:v>44509</c:v>
                </c:pt>
                <c:pt idx="746">
                  <c:v>44510</c:v>
                </c:pt>
                <c:pt idx="747">
                  <c:v>44511</c:v>
                </c:pt>
                <c:pt idx="748">
                  <c:v>44512</c:v>
                </c:pt>
                <c:pt idx="749">
                  <c:v>44515</c:v>
                </c:pt>
                <c:pt idx="750">
                  <c:v>44516</c:v>
                </c:pt>
                <c:pt idx="751">
                  <c:v>44517</c:v>
                </c:pt>
                <c:pt idx="752">
                  <c:v>44518</c:v>
                </c:pt>
                <c:pt idx="753">
                  <c:v>44519</c:v>
                </c:pt>
                <c:pt idx="754">
                  <c:v>44522</c:v>
                </c:pt>
                <c:pt idx="755">
                  <c:v>44523</c:v>
                </c:pt>
                <c:pt idx="756">
                  <c:v>44524</c:v>
                </c:pt>
                <c:pt idx="757">
                  <c:v>44526</c:v>
                </c:pt>
                <c:pt idx="758">
                  <c:v>44529</c:v>
                </c:pt>
                <c:pt idx="759">
                  <c:v>44530</c:v>
                </c:pt>
                <c:pt idx="760">
                  <c:v>44531</c:v>
                </c:pt>
                <c:pt idx="761">
                  <c:v>44532</c:v>
                </c:pt>
                <c:pt idx="762">
                  <c:v>44533</c:v>
                </c:pt>
                <c:pt idx="763">
                  <c:v>44536</c:v>
                </c:pt>
                <c:pt idx="764">
                  <c:v>44537</c:v>
                </c:pt>
                <c:pt idx="765">
                  <c:v>44538</c:v>
                </c:pt>
                <c:pt idx="766">
                  <c:v>44539</c:v>
                </c:pt>
                <c:pt idx="767">
                  <c:v>44540</c:v>
                </c:pt>
                <c:pt idx="768">
                  <c:v>44543</c:v>
                </c:pt>
                <c:pt idx="769">
                  <c:v>44544</c:v>
                </c:pt>
                <c:pt idx="770">
                  <c:v>44545</c:v>
                </c:pt>
                <c:pt idx="771">
                  <c:v>44546</c:v>
                </c:pt>
                <c:pt idx="772">
                  <c:v>44547</c:v>
                </c:pt>
                <c:pt idx="773">
                  <c:v>44550</c:v>
                </c:pt>
                <c:pt idx="774">
                  <c:v>44551</c:v>
                </c:pt>
                <c:pt idx="775">
                  <c:v>44552</c:v>
                </c:pt>
                <c:pt idx="776">
                  <c:v>44553</c:v>
                </c:pt>
                <c:pt idx="777">
                  <c:v>44557</c:v>
                </c:pt>
                <c:pt idx="778">
                  <c:v>44558</c:v>
                </c:pt>
                <c:pt idx="779">
                  <c:v>44559</c:v>
                </c:pt>
                <c:pt idx="780">
                  <c:v>44560</c:v>
                </c:pt>
                <c:pt idx="781">
                  <c:v>44561</c:v>
                </c:pt>
                <c:pt idx="782">
                  <c:v>44564</c:v>
                </c:pt>
                <c:pt idx="783">
                  <c:v>44565</c:v>
                </c:pt>
                <c:pt idx="784">
                  <c:v>44566</c:v>
                </c:pt>
                <c:pt idx="785">
                  <c:v>44567</c:v>
                </c:pt>
                <c:pt idx="786">
                  <c:v>44568</c:v>
                </c:pt>
                <c:pt idx="787">
                  <c:v>44571</c:v>
                </c:pt>
                <c:pt idx="788">
                  <c:v>44572</c:v>
                </c:pt>
                <c:pt idx="789">
                  <c:v>44573</c:v>
                </c:pt>
                <c:pt idx="790">
                  <c:v>44574</c:v>
                </c:pt>
                <c:pt idx="791">
                  <c:v>44575</c:v>
                </c:pt>
                <c:pt idx="792">
                  <c:v>44579</c:v>
                </c:pt>
                <c:pt idx="793">
                  <c:v>44580</c:v>
                </c:pt>
                <c:pt idx="794">
                  <c:v>44581</c:v>
                </c:pt>
                <c:pt idx="795">
                  <c:v>44582</c:v>
                </c:pt>
                <c:pt idx="796">
                  <c:v>44585</c:v>
                </c:pt>
                <c:pt idx="797">
                  <c:v>44586</c:v>
                </c:pt>
                <c:pt idx="798">
                  <c:v>44587</c:v>
                </c:pt>
                <c:pt idx="799">
                  <c:v>44588</c:v>
                </c:pt>
                <c:pt idx="800">
                  <c:v>44589</c:v>
                </c:pt>
                <c:pt idx="801">
                  <c:v>44592</c:v>
                </c:pt>
                <c:pt idx="802">
                  <c:v>44593</c:v>
                </c:pt>
                <c:pt idx="803">
                  <c:v>44594</c:v>
                </c:pt>
                <c:pt idx="804">
                  <c:v>44595</c:v>
                </c:pt>
                <c:pt idx="805">
                  <c:v>44596</c:v>
                </c:pt>
                <c:pt idx="806">
                  <c:v>44599</c:v>
                </c:pt>
                <c:pt idx="807">
                  <c:v>44600</c:v>
                </c:pt>
                <c:pt idx="808">
                  <c:v>44601</c:v>
                </c:pt>
                <c:pt idx="809">
                  <c:v>44602</c:v>
                </c:pt>
                <c:pt idx="810">
                  <c:v>44603</c:v>
                </c:pt>
                <c:pt idx="811">
                  <c:v>44606</c:v>
                </c:pt>
                <c:pt idx="812">
                  <c:v>44607</c:v>
                </c:pt>
                <c:pt idx="813">
                  <c:v>44608</c:v>
                </c:pt>
                <c:pt idx="814">
                  <c:v>44609</c:v>
                </c:pt>
                <c:pt idx="815">
                  <c:v>44610</c:v>
                </c:pt>
                <c:pt idx="816">
                  <c:v>44614</c:v>
                </c:pt>
                <c:pt idx="817">
                  <c:v>44615</c:v>
                </c:pt>
                <c:pt idx="818">
                  <c:v>44616</c:v>
                </c:pt>
                <c:pt idx="819">
                  <c:v>44617</c:v>
                </c:pt>
                <c:pt idx="820">
                  <c:v>44620</c:v>
                </c:pt>
                <c:pt idx="821">
                  <c:v>44621</c:v>
                </c:pt>
                <c:pt idx="822">
                  <c:v>44622</c:v>
                </c:pt>
                <c:pt idx="823">
                  <c:v>44623</c:v>
                </c:pt>
                <c:pt idx="824">
                  <c:v>44624</c:v>
                </c:pt>
                <c:pt idx="825">
                  <c:v>44627</c:v>
                </c:pt>
                <c:pt idx="826">
                  <c:v>44628</c:v>
                </c:pt>
                <c:pt idx="827">
                  <c:v>44629</c:v>
                </c:pt>
                <c:pt idx="828">
                  <c:v>44630</c:v>
                </c:pt>
                <c:pt idx="829">
                  <c:v>44631</c:v>
                </c:pt>
                <c:pt idx="830">
                  <c:v>44634</c:v>
                </c:pt>
                <c:pt idx="831">
                  <c:v>44635</c:v>
                </c:pt>
                <c:pt idx="832">
                  <c:v>44636</c:v>
                </c:pt>
                <c:pt idx="833">
                  <c:v>44637</c:v>
                </c:pt>
                <c:pt idx="834">
                  <c:v>44638</c:v>
                </c:pt>
                <c:pt idx="835">
                  <c:v>44641</c:v>
                </c:pt>
                <c:pt idx="836">
                  <c:v>44642</c:v>
                </c:pt>
                <c:pt idx="837">
                  <c:v>44643</c:v>
                </c:pt>
                <c:pt idx="838">
                  <c:v>44644</c:v>
                </c:pt>
                <c:pt idx="839">
                  <c:v>44645</c:v>
                </c:pt>
                <c:pt idx="840">
                  <c:v>44648</c:v>
                </c:pt>
                <c:pt idx="841">
                  <c:v>44649</c:v>
                </c:pt>
                <c:pt idx="842">
                  <c:v>44650</c:v>
                </c:pt>
                <c:pt idx="843">
                  <c:v>44651</c:v>
                </c:pt>
                <c:pt idx="844">
                  <c:v>44652</c:v>
                </c:pt>
                <c:pt idx="845">
                  <c:v>44655</c:v>
                </c:pt>
                <c:pt idx="846">
                  <c:v>44656</c:v>
                </c:pt>
                <c:pt idx="847">
                  <c:v>44657</c:v>
                </c:pt>
                <c:pt idx="848">
                  <c:v>44658</c:v>
                </c:pt>
                <c:pt idx="849">
                  <c:v>44659</c:v>
                </c:pt>
                <c:pt idx="850">
                  <c:v>44662</c:v>
                </c:pt>
                <c:pt idx="851">
                  <c:v>44663</c:v>
                </c:pt>
                <c:pt idx="852">
                  <c:v>44664</c:v>
                </c:pt>
                <c:pt idx="853">
                  <c:v>44665</c:v>
                </c:pt>
                <c:pt idx="854">
                  <c:v>44669</c:v>
                </c:pt>
                <c:pt idx="855">
                  <c:v>44670</c:v>
                </c:pt>
                <c:pt idx="856">
                  <c:v>44671</c:v>
                </c:pt>
                <c:pt idx="857">
                  <c:v>44672</c:v>
                </c:pt>
                <c:pt idx="858">
                  <c:v>44673</c:v>
                </c:pt>
                <c:pt idx="859">
                  <c:v>44676</c:v>
                </c:pt>
                <c:pt idx="860">
                  <c:v>44677</c:v>
                </c:pt>
                <c:pt idx="861">
                  <c:v>44678</c:v>
                </c:pt>
                <c:pt idx="862">
                  <c:v>44679</c:v>
                </c:pt>
                <c:pt idx="863">
                  <c:v>44680</c:v>
                </c:pt>
                <c:pt idx="864">
                  <c:v>44683</c:v>
                </c:pt>
                <c:pt idx="865">
                  <c:v>44684</c:v>
                </c:pt>
                <c:pt idx="866">
                  <c:v>44685</c:v>
                </c:pt>
                <c:pt idx="867">
                  <c:v>44686</c:v>
                </c:pt>
                <c:pt idx="868">
                  <c:v>44687</c:v>
                </c:pt>
                <c:pt idx="869">
                  <c:v>44690</c:v>
                </c:pt>
                <c:pt idx="870">
                  <c:v>44691</c:v>
                </c:pt>
                <c:pt idx="871">
                  <c:v>44692</c:v>
                </c:pt>
                <c:pt idx="872">
                  <c:v>44693</c:v>
                </c:pt>
                <c:pt idx="873">
                  <c:v>44694</c:v>
                </c:pt>
                <c:pt idx="874">
                  <c:v>44697</c:v>
                </c:pt>
                <c:pt idx="875">
                  <c:v>44698</c:v>
                </c:pt>
                <c:pt idx="876">
                  <c:v>44699</c:v>
                </c:pt>
                <c:pt idx="877">
                  <c:v>44700</c:v>
                </c:pt>
                <c:pt idx="878">
                  <c:v>44701</c:v>
                </c:pt>
                <c:pt idx="879">
                  <c:v>44704</c:v>
                </c:pt>
                <c:pt idx="880">
                  <c:v>44705</c:v>
                </c:pt>
                <c:pt idx="881">
                  <c:v>44706</c:v>
                </c:pt>
                <c:pt idx="882">
                  <c:v>44707</c:v>
                </c:pt>
                <c:pt idx="883">
                  <c:v>44708</c:v>
                </c:pt>
                <c:pt idx="884">
                  <c:v>44712</c:v>
                </c:pt>
                <c:pt idx="885">
                  <c:v>44713</c:v>
                </c:pt>
                <c:pt idx="886">
                  <c:v>44714</c:v>
                </c:pt>
                <c:pt idx="887">
                  <c:v>44715</c:v>
                </c:pt>
                <c:pt idx="888">
                  <c:v>44718</c:v>
                </c:pt>
                <c:pt idx="889">
                  <c:v>44719</c:v>
                </c:pt>
                <c:pt idx="890">
                  <c:v>44720</c:v>
                </c:pt>
                <c:pt idx="891">
                  <c:v>44721</c:v>
                </c:pt>
                <c:pt idx="892">
                  <c:v>44722</c:v>
                </c:pt>
                <c:pt idx="893">
                  <c:v>44725</c:v>
                </c:pt>
                <c:pt idx="894">
                  <c:v>44726</c:v>
                </c:pt>
                <c:pt idx="895">
                  <c:v>44727</c:v>
                </c:pt>
                <c:pt idx="896">
                  <c:v>44728</c:v>
                </c:pt>
                <c:pt idx="897">
                  <c:v>44729</c:v>
                </c:pt>
                <c:pt idx="898">
                  <c:v>44733</c:v>
                </c:pt>
                <c:pt idx="899">
                  <c:v>44734</c:v>
                </c:pt>
                <c:pt idx="900">
                  <c:v>44735</c:v>
                </c:pt>
                <c:pt idx="901">
                  <c:v>44736</c:v>
                </c:pt>
                <c:pt idx="902">
                  <c:v>44739</c:v>
                </c:pt>
                <c:pt idx="903">
                  <c:v>44740</c:v>
                </c:pt>
                <c:pt idx="904">
                  <c:v>44741</c:v>
                </c:pt>
                <c:pt idx="905">
                  <c:v>44742</c:v>
                </c:pt>
                <c:pt idx="906">
                  <c:v>44743</c:v>
                </c:pt>
                <c:pt idx="907">
                  <c:v>44747</c:v>
                </c:pt>
                <c:pt idx="908">
                  <c:v>44748</c:v>
                </c:pt>
                <c:pt idx="909">
                  <c:v>44749</c:v>
                </c:pt>
                <c:pt idx="910">
                  <c:v>44750</c:v>
                </c:pt>
                <c:pt idx="911">
                  <c:v>44753</c:v>
                </c:pt>
                <c:pt idx="912">
                  <c:v>44754</c:v>
                </c:pt>
                <c:pt idx="913">
                  <c:v>44755</c:v>
                </c:pt>
                <c:pt idx="914">
                  <c:v>44756</c:v>
                </c:pt>
                <c:pt idx="915">
                  <c:v>44757</c:v>
                </c:pt>
                <c:pt idx="916">
                  <c:v>44760</c:v>
                </c:pt>
                <c:pt idx="917">
                  <c:v>44761</c:v>
                </c:pt>
                <c:pt idx="918">
                  <c:v>44762</c:v>
                </c:pt>
                <c:pt idx="919">
                  <c:v>44763</c:v>
                </c:pt>
                <c:pt idx="920">
                  <c:v>44764</c:v>
                </c:pt>
                <c:pt idx="921">
                  <c:v>44767</c:v>
                </c:pt>
                <c:pt idx="922">
                  <c:v>44768</c:v>
                </c:pt>
                <c:pt idx="923">
                  <c:v>44769</c:v>
                </c:pt>
                <c:pt idx="924">
                  <c:v>44770</c:v>
                </c:pt>
                <c:pt idx="925">
                  <c:v>44771</c:v>
                </c:pt>
                <c:pt idx="926">
                  <c:v>44774</c:v>
                </c:pt>
                <c:pt idx="927">
                  <c:v>44775</c:v>
                </c:pt>
                <c:pt idx="928">
                  <c:v>44776</c:v>
                </c:pt>
                <c:pt idx="929">
                  <c:v>44777</c:v>
                </c:pt>
                <c:pt idx="930">
                  <c:v>44778</c:v>
                </c:pt>
                <c:pt idx="931">
                  <c:v>44781</c:v>
                </c:pt>
                <c:pt idx="932">
                  <c:v>44782</c:v>
                </c:pt>
                <c:pt idx="933">
                  <c:v>44783</c:v>
                </c:pt>
                <c:pt idx="934">
                  <c:v>44784</c:v>
                </c:pt>
                <c:pt idx="935">
                  <c:v>44785</c:v>
                </c:pt>
                <c:pt idx="936">
                  <c:v>44788</c:v>
                </c:pt>
                <c:pt idx="937">
                  <c:v>44789</c:v>
                </c:pt>
                <c:pt idx="938">
                  <c:v>44790</c:v>
                </c:pt>
                <c:pt idx="939">
                  <c:v>44791</c:v>
                </c:pt>
                <c:pt idx="940">
                  <c:v>44792</c:v>
                </c:pt>
                <c:pt idx="941">
                  <c:v>44795</c:v>
                </c:pt>
                <c:pt idx="942">
                  <c:v>44796</c:v>
                </c:pt>
                <c:pt idx="943">
                  <c:v>44797</c:v>
                </c:pt>
                <c:pt idx="944">
                  <c:v>44798</c:v>
                </c:pt>
                <c:pt idx="945">
                  <c:v>44799</c:v>
                </c:pt>
                <c:pt idx="946">
                  <c:v>44802</c:v>
                </c:pt>
                <c:pt idx="947">
                  <c:v>44804</c:v>
                </c:pt>
                <c:pt idx="948">
                  <c:v>44805</c:v>
                </c:pt>
                <c:pt idx="949">
                  <c:v>44806</c:v>
                </c:pt>
                <c:pt idx="950">
                  <c:v>44810</c:v>
                </c:pt>
                <c:pt idx="951">
                  <c:v>44811</c:v>
                </c:pt>
                <c:pt idx="952">
                  <c:v>44812</c:v>
                </c:pt>
                <c:pt idx="953">
                  <c:v>44813</c:v>
                </c:pt>
                <c:pt idx="954">
                  <c:v>44816</c:v>
                </c:pt>
                <c:pt idx="955">
                  <c:v>44817</c:v>
                </c:pt>
                <c:pt idx="956">
                  <c:v>44818</c:v>
                </c:pt>
                <c:pt idx="957">
                  <c:v>44819</c:v>
                </c:pt>
                <c:pt idx="958">
                  <c:v>44820</c:v>
                </c:pt>
                <c:pt idx="959">
                  <c:v>44823</c:v>
                </c:pt>
                <c:pt idx="960">
                  <c:v>44824</c:v>
                </c:pt>
                <c:pt idx="961">
                  <c:v>44825</c:v>
                </c:pt>
                <c:pt idx="962">
                  <c:v>44826</c:v>
                </c:pt>
                <c:pt idx="963">
                  <c:v>44827</c:v>
                </c:pt>
                <c:pt idx="964">
                  <c:v>44830</c:v>
                </c:pt>
                <c:pt idx="965">
                  <c:v>44831</c:v>
                </c:pt>
                <c:pt idx="966">
                  <c:v>44832</c:v>
                </c:pt>
                <c:pt idx="967">
                  <c:v>44833</c:v>
                </c:pt>
                <c:pt idx="968">
                  <c:v>44834</c:v>
                </c:pt>
                <c:pt idx="969">
                  <c:v>44837</c:v>
                </c:pt>
                <c:pt idx="970">
                  <c:v>44838</c:v>
                </c:pt>
                <c:pt idx="971">
                  <c:v>44839</c:v>
                </c:pt>
                <c:pt idx="972">
                  <c:v>44840</c:v>
                </c:pt>
                <c:pt idx="973">
                  <c:v>44841</c:v>
                </c:pt>
                <c:pt idx="974">
                  <c:v>44844</c:v>
                </c:pt>
                <c:pt idx="975">
                  <c:v>44845</c:v>
                </c:pt>
                <c:pt idx="976">
                  <c:v>44846</c:v>
                </c:pt>
                <c:pt idx="977">
                  <c:v>44847</c:v>
                </c:pt>
                <c:pt idx="978">
                  <c:v>44848</c:v>
                </c:pt>
                <c:pt idx="979">
                  <c:v>44851</c:v>
                </c:pt>
                <c:pt idx="980">
                  <c:v>44852</c:v>
                </c:pt>
                <c:pt idx="981">
                  <c:v>44853</c:v>
                </c:pt>
                <c:pt idx="982">
                  <c:v>44854</c:v>
                </c:pt>
                <c:pt idx="983">
                  <c:v>44855</c:v>
                </c:pt>
                <c:pt idx="984">
                  <c:v>44858</c:v>
                </c:pt>
                <c:pt idx="985">
                  <c:v>44859</c:v>
                </c:pt>
                <c:pt idx="986">
                  <c:v>44860</c:v>
                </c:pt>
                <c:pt idx="987">
                  <c:v>44861</c:v>
                </c:pt>
                <c:pt idx="988">
                  <c:v>44862</c:v>
                </c:pt>
                <c:pt idx="989">
                  <c:v>44865</c:v>
                </c:pt>
                <c:pt idx="990">
                  <c:v>44866</c:v>
                </c:pt>
                <c:pt idx="991">
                  <c:v>44867</c:v>
                </c:pt>
                <c:pt idx="992">
                  <c:v>44868</c:v>
                </c:pt>
                <c:pt idx="993">
                  <c:v>44869</c:v>
                </c:pt>
                <c:pt idx="994">
                  <c:v>44872</c:v>
                </c:pt>
                <c:pt idx="995">
                  <c:v>44873</c:v>
                </c:pt>
                <c:pt idx="996">
                  <c:v>44874</c:v>
                </c:pt>
                <c:pt idx="997">
                  <c:v>44875</c:v>
                </c:pt>
                <c:pt idx="998">
                  <c:v>44876</c:v>
                </c:pt>
                <c:pt idx="999">
                  <c:v>44879</c:v>
                </c:pt>
                <c:pt idx="1000">
                  <c:v>44880</c:v>
                </c:pt>
                <c:pt idx="1001">
                  <c:v>44881</c:v>
                </c:pt>
                <c:pt idx="1002">
                  <c:v>44882</c:v>
                </c:pt>
                <c:pt idx="1003">
                  <c:v>44883</c:v>
                </c:pt>
                <c:pt idx="1004">
                  <c:v>44886</c:v>
                </c:pt>
                <c:pt idx="1005">
                  <c:v>44887</c:v>
                </c:pt>
                <c:pt idx="1006">
                  <c:v>44888</c:v>
                </c:pt>
                <c:pt idx="1007">
                  <c:v>44890</c:v>
                </c:pt>
                <c:pt idx="1008">
                  <c:v>44893</c:v>
                </c:pt>
                <c:pt idx="1009">
                  <c:v>44894</c:v>
                </c:pt>
                <c:pt idx="1010">
                  <c:v>44895</c:v>
                </c:pt>
                <c:pt idx="1011">
                  <c:v>44896</c:v>
                </c:pt>
                <c:pt idx="1012">
                  <c:v>44897</c:v>
                </c:pt>
                <c:pt idx="1013">
                  <c:v>44900</c:v>
                </c:pt>
                <c:pt idx="1014">
                  <c:v>44901</c:v>
                </c:pt>
                <c:pt idx="1015">
                  <c:v>44902</c:v>
                </c:pt>
                <c:pt idx="1016">
                  <c:v>44903</c:v>
                </c:pt>
                <c:pt idx="1017">
                  <c:v>44904</c:v>
                </c:pt>
                <c:pt idx="1018">
                  <c:v>44907</c:v>
                </c:pt>
                <c:pt idx="1019">
                  <c:v>44908</c:v>
                </c:pt>
                <c:pt idx="1020">
                  <c:v>44909</c:v>
                </c:pt>
                <c:pt idx="1021">
                  <c:v>44910</c:v>
                </c:pt>
                <c:pt idx="1022">
                  <c:v>44911</c:v>
                </c:pt>
                <c:pt idx="1023">
                  <c:v>44914</c:v>
                </c:pt>
                <c:pt idx="1024">
                  <c:v>44915</c:v>
                </c:pt>
                <c:pt idx="1025">
                  <c:v>44916</c:v>
                </c:pt>
                <c:pt idx="1026">
                  <c:v>44917</c:v>
                </c:pt>
                <c:pt idx="1027">
                  <c:v>44918</c:v>
                </c:pt>
                <c:pt idx="1028">
                  <c:v>44922</c:v>
                </c:pt>
                <c:pt idx="1029">
                  <c:v>44923</c:v>
                </c:pt>
                <c:pt idx="1030">
                  <c:v>44924</c:v>
                </c:pt>
                <c:pt idx="1031">
                  <c:v>44925</c:v>
                </c:pt>
                <c:pt idx="1032">
                  <c:v>44929</c:v>
                </c:pt>
                <c:pt idx="1033">
                  <c:v>44930</c:v>
                </c:pt>
                <c:pt idx="1034">
                  <c:v>44931</c:v>
                </c:pt>
                <c:pt idx="1035">
                  <c:v>44932</c:v>
                </c:pt>
                <c:pt idx="1036">
                  <c:v>44935</c:v>
                </c:pt>
                <c:pt idx="1037">
                  <c:v>44936</c:v>
                </c:pt>
                <c:pt idx="1038">
                  <c:v>44937</c:v>
                </c:pt>
                <c:pt idx="1039">
                  <c:v>44938</c:v>
                </c:pt>
                <c:pt idx="1040">
                  <c:v>44939</c:v>
                </c:pt>
                <c:pt idx="1041">
                  <c:v>44943</c:v>
                </c:pt>
                <c:pt idx="1042">
                  <c:v>44944</c:v>
                </c:pt>
                <c:pt idx="1043">
                  <c:v>44945</c:v>
                </c:pt>
                <c:pt idx="1044">
                  <c:v>44946</c:v>
                </c:pt>
                <c:pt idx="1045">
                  <c:v>44949</c:v>
                </c:pt>
                <c:pt idx="1046">
                  <c:v>44950</c:v>
                </c:pt>
                <c:pt idx="1047">
                  <c:v>44951</c:v>
                </c:pt>
                <c:pt idx="1048">
                  <c:v>44952</c:v>
                </c:pt>
                <c:pt idx="1049">
                  <c:v>44953</c:v>
                </c:pt>
                <c:pt idx="1050">
                  <c:v>44956</c:v>
                </c:pt>
                <c:pt idx="1051">
                  <c:v>44957</c:v>
                </c:pt>
                <c:pt idx="1052">
                  <c:v>44958</c:v>
                </c:pt>
                <c:pt idx="1053">
                  <c:v>44959</c:v>
                </c:pt>
                <c:pt idx="1054">
                  <c:v>44960</c:v>
                </c:pt>
                <c:pt idx="1055">
                  <c:v>44963</c:v>
                </c:pt>
                <c:pt idx="1056">
                  <c:v>44964</c:v>
                </c:pt>
                <c:pt idx="1057">
                  <c:v>44965</c:v>
                </c:pt>
                <c:pt idx="1058">
                  <c:v>44966</c:v>
                </c:pt>
                <c:pt idx="1059">
                  <c:v>44967</c:v>
                </c:pt>
                <c:pt idx="1060">
                  <c:v>44970</c:v>
                </c:pt>
                <c:pt idx="1061">
                  <c:v>44971</c:v>
                </c:pt>
                <c:pt idx="1062">
                  <c:v>44972</c:v>
                </c:pt>
                <c:pt idx="1063">
                  <c:v>44973</c:v>
                </c:pt>
                <c:pt idx="1064">
                  <c:v>44978</c:v>
                </c:pt>
                <c:pt idx="1065">
                  <c:v>44979</c:v>
                </c:pt>
                <c:pt idx="1066">
                  <c:v>44980</c:v>
                </c:pt>
                <c:pt idx="1067">
                  <c:v>44981</c:v>
                </c:pt>
                <c:pt idx="1068">
                  <c:v>44984</c:v>
                </c:pt>
                <c:pt idx="1069">
                  <c:v>44985</c:v>
                </c:pt>
                <c:pt idx="1070">
                  <c:v>44986</c:v>
                </c:pt>
                <c:pt idx="1071">
                  <c:v>44987</c:v>
                </c:pt>
                <c:pt idx="1072">
                  <c:v>44988</c:v>
                </c:pt>
                <c:pt idx="1073">
                  <c:v>44991</c:v>
                </c:pt>
                <c:pt idx="1074">
                  <c:v>44992</c:v>
                </c:pt>
                <c:pt idx="1075">
                  <c:v>44993</c:v>
                </c:pt>
                <c:pt idx="1076">
                  <c:v>44994</c:v>
                </c:pt>
                <c:pt idx="1077">
                  <c:v>44995</c:v>
                </c:pt>
                <c:pt idx="1078">
                  <c:v>44998</c:v>
                </c:pt>
                <c:pt idx="1079">
                  <c:v>44999</c:v>
                </c:pt>
                <c:pt idx="1080">
                  <c:v>45000</c:v>
                </c:pt>
                <c:pt idx="1081">
                  <c:v>45001</c:v>
                </c:pt>
                <c:pt idx="1082">
                  <c:v>45002</c:v>
                </c:pt>
                <c:pt idx="1083">
                  <c:v>45005</c:v>
                </c:pt>
                <c:pt idx="1084">
                  <c:v>45006</c:v>
                </c:pt>
                <c:pt idx="1085">
                  <c:v>45007</c:v>
                </c:pt>
                <c:pt idx="1086">
                  <c:v>45008</c:v>
                </c:pt>
                <c:pt idx="1087">
                  <c:v>45009</c:v>
                </c:pt>
                <c:pt idx="1088">
                  <c:v>45012</c:v>
                </c:pt>
                <c:pt idx="1089">
                  <c:v>45013</c:v>
                </c:pt>
                <c:pt idx="1090">
                  <c:v>45014</c:v>
                </c:pt>
                <c:pt idx="1091">
                  <c:v>45015</c:v>
                </c:pt>
                <c:pt idx="1092">
                  <c:v>45016</c:v>
                </c:pt>
                <c:pt idx="1093">
                  <c:v>45019</c:v>
                </c:pt>
                <c:pt idx="1094">
                  <c:v>45020</c:v>
                </c:pt>
                <c:pt idx="1095">
                  <c:v>45021</c:v>
                </c:pt>
                <c:pt idx="1096">
                  <c:v>45022</c:v>
                </c:pt>
                <c:pt idx="1097">
                  <c:v>45026</c:v>
                </c:pt>
                <c:pt idx="1098">
                  <c:v>45027</c:v>
                </c:pt>
                <c:pt idx="1099">
                  <c:v>45028</c:v>
                </c:pt>
                <c:pt idx="1100">
                  <c:v>45029</c:v>
                </c:pt>
                <c:pt idx="1101">
                  <c:v>45030</c:v>
                </c:pt>
                <c:pt idx="1102">
                  <c:v>45033</c:v>
                </c:pt>
                <c:pt idx="1103">
                  <c:v>45035</c:v>
                </c:pt>
                <c:pt idx="1104">
                  <c:v>45036</c:v>
                </c:pt>
                <c:pt idx="1105">
                  <c:v>45037</c:v>
                </c:pt>
                <c:pt idx="1106">
                  <c:v>45040</c:v>
                </c:pt>
                <c:pt idx="1107">
                  <c:v>45041</c:v>
                </c:pt>
                <c:pt idx="1108">
                  <c:v>45047</c:v>
                </c:pt>
                <c:pt idx="1109">
                  <c:v>45048</c:v>
                </c:pt>
                <c:pt idx="1110">
                  <c:v>45049</c:v>
                </c:pt>
                <c:pt idx="1111">
                  <c:v>45050</c:v>
                </c:pt>
                <c:pt idx="1112">
                  <c:v>45051</c:v>
                </c:pt>
                <c:pt idx="1113">
                  <c:v>45054</c:v>
                </c:pt>
                <c:pt idx="1114">
                  <c:v>45055</c:v>
                </c:pt>
                <c:pt idx="1115">
                  <c:v>45056</c:v>
                </c:pt>
                <c:pt idx="1116">
                  <c:v>45057</c:v>
                </c:pt>
                <c:pt idx="1117">
                  <c:v>45058</c:v>
                </c:pt>
                <c:pt idx="1118">
                  <c:v>45061</c:v>
                </c:pt>
                <c:pt idx="1119">
                  <c:v>45062</c:v>
                </c:pt>
                <c:pt idx="1120">
                  <c:v>45063</c:v>
                </c:pt>
                <c:pt idx="1121">
                  <c:v>45064</c:v>
                </c:pt>
                <c:pt idx="1122">
                  <c:v>45065</c:v>
                </c:pt>
                <c:pt idx="1123">
                  <c:v>45068</c:v>
                </c:pt>
                <c:pt idx="1124">
                  <c:v>45069</c:v>
                </c:pt>
                <c:pt idx="1125">
                  <c:v>45070</c:v>
                </c:pt>
                <c:pt idx="1126">
                  <c:v>45071</c:v>
                </c:pt>
                <c:pt idx="1127">
                  <c:v>45072</c:v>
                </c:pt>
                <c:pt idx="1128">
                  <c:v>45076</c:v>
                </c:pt>
                <c:pt idx="1129">
                  <c:v>45077</c:v>
                </c:pt>
                <c:pt idx="1130">
                  <c:v>45078</c:v>
                </c:pt>
                <c:pt idx="1131">
                  <c:v>45079</c:v>
                </c:pt>
                <c:pt idx="1132">
                  <c:v>45082</c:v>
                </c:pt>
                <c:pt idx="1133">
                  <c:v>45083</c:v>
                </c:pt>
                <c:pt idx="1134">
                  <c:v>45084</c:v>
                </c:pt>
                <c:pt idx="1135">
                  <c:v>45085</c:v>
                </c:pt>
                <c:pt idx="1136">
                  <c:v>45086</c:v>
                </c:pt>
                <c:pt idx="1137">
                  <c:v>45089</c:v>
                </c:pt>
                <c:pt idx="1138">
                  <c:v>45090</c:v>
                </c:pt>
                <c:pt idx="1139">
                  <c:v>45091</c:v>
                </c:pt>
                <c:pt idx="1140">
                  <c:v>45092</c:v>
                </c:pt>
                <c:pt idx="1141">
                  <c:v>45093</c:v>
                </c:pt>
                <c:pt idx="1142">
                  <c:v>45097</c:v>
                </c:pt>
                <c:pt idx="1143">
                  <c:v>45098</c:v>
                </c:pt>
                <c:pt idx="1144">
                  <c:v>45099</c:v>
                </c:pt>
                <c:pt idx="1145">
                  <c:v>45100</c:v>
                </c:pt>
                <c:pt idx="1146">
                  <c:v>45103</c:v>
                </c:pt>
                <c:pt idx="1147">
                  <c:v>45104</c:v>
                </c:pt>
                <c:pt idx="1148">
                  <c:v>45106</c:v>
                </c:pt>
                <c:pt idx="1149">
                  <c:v>45107</c:v>
                </c:pt>
                <c:pt idx="1150">
                  <c:v>45110</c:v>
                </c:pt>
                <c:pt idx="1151">
                  <c:v>45113</c:v>
                </c:pt>
                <c:pt idx="1152">
                  <c:v>45114</c:v>
                </c:pt>
                <c:pt idx="1153">
                  <c:v>45117</c:v>
                </c:pt>
                <c:pt idx="1154">
                  <c:v>45118</c:v>
                </c:pt>
                <c:pt idx="1155">
                  <c:v>45119</c:v>
                </c:pt>
                <c:pt idx="1156">
                  <c:v>45120</c:v>
                </c:pt>
                <c:pt idx="1157">
                  <c:v>45121</c:v>
                </c:pt>
                <c:pt idx="1158">
                  <c:v>45124</c:v>
                </c:pt>
                <c:pt idx="1159">
                  <c:v>45125</c:v>
                </c:pt>
                <c:pt idx="1160">
                  <c:v>45126</c:v>
                </c:pt>
                <c:pt idx="1161">
                  <c:v>45127</c:v>
                </c:pt>
                <c:pt idx="1162">
                  <c:v>45128</c:v>
                </c:pt>
                <c:pt idx="1163">
                  <c:v>45131</c:v>
                </c:pt>
                <c:pt idx="1164">
                  <c:v>45132</c:v>
                </c:pt>
                <c:pt idx="1165">
                  <c:v>45133</c:v>
                </c:pt>
                <c:pt idx="1166">
                  <c:v>45134</c:v>
                </c:pt>
                <c:pt idx="1167">
                  <c:v>45135</c:v>
                </c:pt>
                <c:pt idx="1168">
                  <c:v>45138</c:v>
                </c:pt>
                <c:pt idx="1169">
                  <c:v>45139</c:v>
                </c:pt>
                <c:pt idx="1170">
                  <c:v>45140</c:v>
                </c:pt>
                <c:pt idx="1171">
                  <c:v>45141</c:v>
                </c:pt>
                <c:pt idx="1172">
                  <c:v>45142</c:v>
                </c:pt>
                <c:pt idx="1173">
                  <c:v>45145</c:v>
                </c:pt>
                <c:pt idx="1174">
                  <c:v>45146</c:v>
                </c:pt>
                <c:pt idx="1175">
                  <c:v>45147</c:v>
                </c:pt>
                <c:pt idx="1176">
                  <c:v>45148</c:v>
                </c:pt>
                <c:pt idx="1177">
                  <c:v>45149</c:v>
                </c:pt>
                <c:pt idx="1178">
                  <c:v>45152</c:v>
                </c:pt>
                <c:pt idx="1179">
                  <c:v>45153</c:v>
                </c:pt>
                <c:pt idx="1180">
                  <c:v>45154</c:v>
                </c:pt>
                <c:pt idx="1181">
                  <c:v>45155</c:v>
                </c:pt>
                <c:pt idx="1182">
                  <c:v>45156</c:v>
                </c:pt>
                <c:pt idx="1183">
                  <c:v>45159</c:v>
                </c:pt>
                <c:pt idx="1184">
                  <c:v>45160</c:v>
                </c:pt>
                <c:pt idx="1185">
                  <c:v>45161</c:v>
                </c:pt>
                <c:pt idx="1186">
                  <c:v>45162</c:v>
                </c:pt>
                <c:pt idx="1187">
                  <c:v>45163</c:v>
                </c:pt>
                <c:pt idx="1188">
                  <c:v>45166</c:v>
                </c:pt>
                <c:pt idx="1189">
                  <c:v>45167</c:v>
                </c:pt>
                <c:pt idx="1190">
                  <c:v>45169</c:v>
                </c:pt>
                <c:pt idx="1191">
                  <c:v>45170</c:v>
                </c:pt>
                <c:pt idx="1192">
                  <c:v>45174</c:v>
                </c:pt>
                <c:pt idx="1193">
                  <c:v>45175</c:v>
                </c:pt>
                <c:pt idx="1194">
                  <c:v>45176</c:v>
                </c:pt>
                <c:pt idx="1195">
                  <c:v>45177</c:v>
                </c:pt>
                <c:pt idx="1196">
                  <c:v>45180</c:v>
                </c:pt>
                <c:pt idx="1197">
                  <c:v>45181</c:v>
                </c:pt>
                <c:pt idx="1198">
                  <c:v>45182</c:v>
                </c:pt>
              </c:numCache>
            </c:numRef>
          </c:cat>
          <c:val>
            <c:numRef>
              <c:f>Sheet1!$B$2:$B$1200</c:f>
              <c:numCache>
                <c:formatCode>General</c:formatCode>
                <c:ptCount val="1199"/>
                <c:pt idx="0">
                  <c:v>2.9400000572204599</c:v>
                </c:pt>
                <c:pt idx="1">
                  <c:v>2.9579999446868901</c:v>
                </c:pt>
                <c:pt idx="2">
                  <c:v>2.9449999332428001</c:v>
                </c:pt>
                <c:pt idx="3">
                  <c:v>3.0439999103546098</c:v>
                </c:pt>
                <c:pt idx="4">
                  <c:v>2.9440000057220499</c:v>
                </c:pt>
                <c:pt idx="5">
                  <c:v>2.9670000076293901</c:v>
                </c:pt>
                <c:pt idx="6">
                  <c:v>2.9839999675750701</c:v>
                </c:pt>
                <c:pt idx="7">
                  <c:v>2.9690001010894802</c:v>
                </c:pt>
                <c:pt idx="8">
                  <c:v>3.09899997711182</c:v>
                </c:pt>
                <c:pt idx="9">
                  <c:v>3.5910000801086399</c:v>
                </c:pt>
                <c:pt idx="10">
                  <c:v>3.5009999275207502</c:v>
                </c:pt>
                <c:pt idx="11">
                  <c:v>3.3840000629425</c:v>
                </c:pt>
                <c:pt idx="12">
                  <c:v>3.4130001068115199</c:v>
                </c:pt>
                <c:pt idx="13">
                  <c:v>3.4820001125335698</c:v>
                </c:pt>
                <c:pt idx="14">
                  <c:v>3.4820001125335698</c:v>
                </c:pt>
                <c:pt idx="15">
                  <c:v>3.03999996185303</c:v>
                </c:pt>
                <c:pt idx="16">
                  <c:v>2.9800000190734899</c:v>
                </c:pt>
                <c:pt idx="17">
                  <c:v>3.09899997711182</c:v>
                </c:pt>
                <c:pt idx="18">
                  <c:v>3.17799997329712</c:v>
                </c:pt>
                <c:pt idx="19">
                  <c:v>2.91100001335144</c:v>
                </c:pt>
                <c:pt idx="20">
                  <c:v>2.9500000476837198</c:v>
                </c:pt>
                <c:pt idx="21">
                  <c:v>2.8540000915527299</c:v>
                </c:pt>
                <c:pt idx="22">
                  <c:v>2.8139998912811302</c:v>
                </c:pt>
                <c:pt idx="23">
                  <c:v>2.7339999675750701</c:v>
                </c:pt>
                <c:pt idx="24">
                  <c:v>2.6600000858306898</c:v>
                </c:pt>
                <c:pt idx="25">
                  <c:v>2.6619999408721902</c:v>
                </c:pt>
                <c:pt idx="26">
                  <c:v>2.6619999408721902</c:v>
                </c:pt>
                <c:pt idx="27">
                  <c:v>2.5510001182556201</c:v>
                </c:pt>
                <c:pt idx="28">
                  <c:v>2.5829999446868901</c:v>
                </c:pt>
                <c:pt idx="29">
                  <c:v>2.64199995994568</c:v>
                </c:pt>
                <c:pt idx="30">
                  <c:v>2.68799996376038</c:v>
                </c:pt>
                <c:pt idx="31">
                  <c:v>2.5750000476837198</c:v>
                </c:pt>
                <c:pt idx="32">
                  <c:v>2.5729999542236301</c:v>
                </c:pt>
                <c:pt idx="33">
                  <c:v>2.625</c:v>
                </c:pt>
                <c:pt idx="34">
                  <c:v>2.625</c:v>
                </c:pt>
                <c:pt idx="35">
                  <c:v>2.6619999408721902</c:v>
                </c:pt>
                <c:pt idx="36">
                  <c:v>2.6359999179840101</c:v>
                </c:pt>
                <c:pt idx="37">
                  <c:v>2.69700002670288</c:v>
                </c:pt>
                <c:pt idx="38">
                  <c:v>2.7170000076293901</c:v>
                </c:pt>
                <c:pt idx="39">
                  <c:v>2.8359999656677202</c:v>
                </c:pt>
                <c:pt idx="40">
                  <c:v>2.8550000190734899</c:v>
                </c:pt>
                <c:pt idx="41">
                  <c:v>2.79900002479553</c:v>
                </c:pt>
                <c:pt idx="42">
                  <c:v>2.81200003623962</c:v>
                </c:pt>
                <c:pt idx="43">
                  <c:v>2.8589999675750701</c:v>
                </c:pt>
                <c:pt idx="44">
                  <c:v>2.8570001125335698</c:v>
                </c:pt>
                <c:pt idx="45">
                  <c:v>2.8840000629425</c:v>
                </c:pt>
                <c:pt idx="46">
                  <c:v>2.8410000801086399</c:v>
                </c:pt>
                <c:pt idx="47">
                  <c:v>2.8659999370575</c:v>
                </c:pt>
                <c:pt idx="48">
                  <c:v>2.8650000095367401</c:v>
                </c:pt>
                <c:pt idx="49">
                  <c:v>2.7720000743865998</c:v>
                </c:pt>
                <c:pt idx="50">
                  <c:v>2.7839999198913601</c:v>
                </c:pt>
                <c:pt idx="51">
                  <c:v>2.8199999332428001</c:v>
                </c:pt>
                <c:pt idx="52">
                  <c:v>2.8550000190734899</c:v>
                </c:pt>
                <c:pt idx="53">
                  <c:v>2.7950000762939502</c:v>
                </c:pt>
                <c:pt idx="54">
                  <c:v>2.8499999046325701</c:v>
                </c:pt>
                <c:pt idx="55">
                  <c:v>2.8740000724792498</c:v>
                </c:pt>
                <c:pt idx="56">
                  <c:v>2.8199999332428001</c:v>
                </c:pt>
                <c:pt idx="57">
                  <c:v>2.8210000991821298</c:v>
                </c:pt>
                <c:pt idx="58">
                  <c:v>2.7530000209808301</c:v>
                </c:pt>
                <c:pt idx="59">
                  <c:v>2.7550001144409202</c:v>
                </c:pt>
                <c:pt idx="60">
                  <c:v>2.7400000095367401</c:v>
                </c:pt>
                <c:pt idx="61">
                  <c:v>2.7130000591278098</c:v>
                </c:pt>
                <c:pt idx="62">
                  <c:v>2.7119998931884801</c:v>
                </c:pt>
                <c:pt idx="63">
                  <c:v>2.6619999408721902</c:v>
                </c:pt>
                <c:pt idx="64">
                  <c:v>2.7079999446868901</c:v>
                </c:pt>
                <c:pt idx="65">
                  <c:v>2.68400001525879</c:v>
                </c:pt>
                <c:pt idx="66">
                  <c:v>2.6770000457763699</c:v>
                </c:pt>
                <c:pt idx="67">
                  <c:v>2.6429998874664302</c:v>
                </c:pt>
                <c:pt idx="68">
                  <c:v>2.6640000343322798</c:v>
                </c:pt>
                <c:pt idx="69">
                  <c:v>2.7079999446868901</c:v>
                </c:pt>
                <c:pt idx="70">
                  <c:v>2.6989998817443799</c:v>
                </c:pt>
                <c:pt idx="71">
                  <c:v>2.7000000476837198</c:v>
                </c:pt>
                <c:pt idx="72">
                  <c:v>2.6640000343322798</c:v>
                </c:pt>
                <c:pt idx="73">
                  <c:v>2.6600000858306898</c:v>
                </c:pt>
                <c:pt idx="74">
                  <c:v>2.5899999141693102</c:v>
                </c:pt>
                <c:pt idx="75">
                  <c:v>2.57200002670288</c:v>
                </c:pt>
                <c:pt idx="76">
                  <c:v>2.51699995994568</c:v>
                </c:pt>
                <c:pt idx="77">
                  <c:v>2.4900000095367401</c:v>
                </c:pt>
                <c:pt idx="78">
                  <c:v>2.4900000095367401</c:v>
                </c:pt>
                <c:pt idx="79">
                  <c:v>2.5239999294281001</c:v>
                </c:pt>
                <c:pt idx="80">
                  <c:v>2.4549999237060498</c:v>
                </c:pt>
                <c:pt idx="81">
                  <c:v>2.4619998931884801</c:v>
                </c:pt>
                <c:pt idx="82">
                  <c:v>2.5139999389648402</c:v>
                </c:pt>
                <c:pt idx="83">
                  <c:v>2.56599998474121</c:v>
                </c:pt>
                <c:pt idx="84">
                  <c:v>2.59299993515015</c:v>
                </c:pt>
                <c:pt idx="85">
                  <c:v>2.5750000476837198</c:v>
                </c:pt>
                <c:pt idx="86">
                  <c:v>2.6199998855590798</c:v>
                </c:pt>
                <c:pt idx="87">
                  <c:v>2.58899998664856</c:v>
                </c:pt>
                <c:pt idx="88">
                  <c:v>2.5669999122619598</c:v>
                </c:pt>
                <c:pt idx="89">
                  <c:v>2.5239999294281001</c:v>
                </c:pt>
                <c:pt idx="90">
                  <c:v>2.5369999408721902</c:v>
                </c:pt>
                <c:pt idx="91">
                  <c:v>2.6099998950958301</c:v>
                </c:pt>
                <c:pt idx="92">
                  <c:v>2.5950000286102299</c:v>
                </c:pt>
                <c:pt idx="93">
                  <c:v>2.6189999580383301</c:v>
                </c:pt>
                <c:pt idx="94">
                  <c:v>2.62100005149841</c:v>
                </c:pt>
                <c:pt idx="95">
                  <c:v>2.6589999198913601</c:v>
                </c:pt>
                <c:pt idx="96">
                  <c:v>2.6010000705718999</c:v>
                </c:pt>
                <c:pt idx="97">
                  <c:v>2.6389999389648402</c:v>
                </c:pt>
                <c:pt idx="98">
                  <c:v>2.6310000419616699</c:v>
                </c:pt>
                <c:pt idx="99">
                  <c:v>2.6730000972747798</c:v>
                </c:pt>
                <c:pt idx="100">
                  <c:v>2.6129999160766602</c:v>
                </c:pt>
                <c:pt idx="101">
                  <c:v>2.5429999828338601</c:v>
                </c:pt>
                <c:pt idx="102">
                  <c:v>2.5780000686645499</c:v>
                </c:pt>
                <c:pt idx="103">
                  <c:v>2.59800004959106</c:v>
                </c:pt>
                <c:pt idx="104">
                  <c:v>2.59800004959106</c:v>
                </c:pt>
                <c:pt idx="105">
                  <c:v>2.5820000171661399</c:v>
                </c:pt>
                <c:pt idx="106">
                  <c:v>2.6329998970031698</c:v>
                </c:pt>
                <c:pt idx="107">
                  <c:v>2.5469999313354501</c:v>
                </c:pt>
                <c:pt idx="108">
                  <c:v>2.4539999961853001</c:v>
                </c:pt>
                <c:pt idx="109">
                  <c:v>2.4030001163482702</c:v>
                </c:pt>
                <c:pt idx="110">
                  <c:v>2.4159998893737802</c:v>
                </c:pt>
                <c:pt idx="111">
                  <c:v>2.3780000209808301</c:v>
                </c:pt>
                <c:pt idx="112">
                  <c:v>2.3239998817443799</c:v>
                </c:pt>
                <c:pt idx="113">
                  <c:v>2.3369998931884801</c:v>
                </c:pt>
                <c:pt idx="114">
                  <c:v>2.3570001125335698</c:v>
                </c:pt>
                <c:pt idx="115">
                  <c:v>2.3989999294281001</c:v>
                </c:pt>
                <c:pt idx="116">
                  <c:v>2.3859999179840101</c:v>
                </c:pt>
                <c:pt idx="117">
                  <c:v>2.3250000476837198</c:v>
                </c:pt>
                <c:pt idx="118">
                  <c:v>2.3870000839233398</c:v>
                </c:pt>
                <c:pt idx="119">
                  <c:v>2.3859999179840101</c:v>
                </c:pt>
                <c:pt idx="120">
                  <c:v>2.3280000686645499</c:v>
                </c:pt>
                <c:pt idx="121">
                  <c:v>2.27600002288818</c:v>
                </c:pt>
                <c:pt idx="122">
                  <c:v>2.1849999427795401</c:v>
                </c:pt>
                <c:pt idx="123">
                  <c:v>2.1860001087188698</c:v>
                </c:pt>
                <c:pt idx="124">
                  <c:v>2.30299997329712</c:v>
                </c:pt>
                <c:pt idx="125">
                  <c:v>2.3080000877380402</c:v>
                </c:pt>
                <c:pt idx="126">
                  <c:v>2.2909998893737802</c:v>
                </c:pt>
                <c:pt idx="127">
                  <c:v>2.3239998817443799</c:v>
                </c:pt>
                <c:pt idx="128">
                  <c:v>2.3080000877380402</c:v>
                </c:pt>
                <c:pt idx="129">
                  <c:v>2.26699995994568</c:v>
                </c:pt>
                <c:pt idx="130">
                  <c:v>2.2400000095367401</c:v>
                </c:pt>
                <c:pt idx="131">
                  <c:v>2.28999996185303</c:v>
                </c:pt>
                <c:pt idx="132">
                  <c:v>2.28999996185303</c:v>
                </c:pt>
                <c:pt idx="133">
                  <c:v>2.4179999828338601</c:v>
                </c:pt>
                <c:pt idx="134">
                  <c:v>2.4030001163482702</c:v>
                </c:pt>
                <c:pt idx="135">
                  <c:v>2.4249999523162802</c:v>
                </c:pt>
                <c:pt idx="136">
                  <c:v>2.4440000057220499</c:v>
                </c:pt>
                <c:pt idx="137">
                  <c:v>2.4159998893737802</c:v>
                </c:pt>
                <c:pt idx="138">
                  <c:v>2.4530000686645499</c:v>
                </c:pt>
                <c:pt idx="139">
                  <c:v>2.4079999923706099</c:v>
                </c:pt>
                <c:pt idx="140">
                  <c:v>2.3059999942779501</c:v>
                </c:pt>
                <c:pt idx="141">
                  <c:v>2.3039999008178702</c:v>
                </c:pt>
                <c:pt idx="142">
                  <c:v>2.2869999408721902</c:v>
                </c:pt>
                <c:pt idx="143">
                  <c:v>2.2509999275207502</c:v>
                </c:pt>
                <c:pt idx="144">
                  <c:v>2.31200003623962</c:v>
                </c:pt>
                <c:pt idx="145">
                  <c:v>2.2999999523162802</c:v>
                </c:pt>
                <c:pt idx="146">
                  <c:v>2.2200000286102299</c:v>
                </c:pt>
                <c:pt idx="147">
                  <c:v>2.2439999580383301</c:v>
                </c:pt>
                <c:pt idx="148">
                  <c:v>2.1689999103546098</c:v>
                </c:pt>
                <c:pt idx="149">
                  <c:v>2.1410000324249299</c:v>
                </c:pt>
                <c:pt idx="150">
                  <c:v>2.1370000839233398</c:v>
                </c:pt>
                <c:pt idx="151">
                  <c:v>2.23300004005432</c:v>
                </c:pt>
                <c:pt idx="152">
                  <c:v>2.2019999027252202</c:v>
                </c:pt>
                <c:pt idx="153">
                  <c:v>2.12100005149841</c:v>
                </c:pt>
                <c:pt idx="154">
                  <c:v>2.0699999332428001</c:v>
                </c:pt>
                <c:pt idx="155">
                  <c:v>2.1110000610351598</c:v>
                </c:pt>
                <c:pt idx="156">
                  <c:v>2.0829999446868901</c:v>
                </c:pt>
                <c:pt idx="157">
                  <c:v>2.1280000209808301</c:v>
                </c:pt>
                <c:pt idx="158">
                  <c:v>2.1189999580383301</c:v>
                </c:pt>
                <c:pt idx="159">
                  <c:v>2.1050000190734899</c:v>
                </c:pt>
                <c:pt idx="160">
                  <c:v>2.1470000743865998</c:v>
                </c:pt>
                <c:pt idx="161">
                  <c:v>2.1429998874664302</c:v>
                </c:pt>
                <c:pt idx="162">
                  <c:v>2.2320001125335698</c:v>
                </c:pt>
                <c:pt idx="163">
                  <c:v>2.2000000476837198</c:v>
                </c:pt>
                <c:pt idx="164">
                  <c:v>2.21000003814697</c:v>
                </c:pt>
                <c:pt idx="165">
                  <c:v>2.21799993515015</c:v>
                </c:pt>
                <c:pt idx="166">
                  <c:v>2.1700000762939502</c:v>
                </c:pt>
                <c:pt idx="167">
                  <c:v>2.1589999198913601</c:v>
                </c:pt>
                <c:pt idx="168">
                  <c:v>2.15199995040894</c:v>
                </c:pt>
                <c:pt idx="169">
                  <c:v>2.2300000190734899</c:v>
                </c:pt>
                <c:pt idx="170">
                  <c:v>2.2019999027252202</c:v>
                </c:pt>
                <c:pt idx="171">
                  <c:v>2.2509999275207502</c:v>
                </c:pt>
                <c:pt idx="172">
                  <c:v>2.2960000038146999</c:v>
                </c:pt>
                <c:pt idx="173">
                  <c:v>2.2850000858306898</c:v>
                </c:pt>
                <c:pt idx="174">
                  <c:v>2.2850000858306898</c:v>
                </c:pt>
                <c:pt idx="175">
                  <c:v>2.35800004005432</c:v>
                </c:pt>
                <c:pt idx="176">
                  <c:v>2.4449999332428001</c:v>
                </c:pt>
                <c:pt idx="177">
                  <c:v>2.4349999427795401</c:v>
                </c:pt>
                <c:pt idx="178">
                  <c:v>2.49600005149841</c:v>
                </c:pt>
                <c:pt idx="179">
                  <c:v>2.58500003814697</c:v>
                </c:pt>
                <c:pt idx="180">
                  <c:v>2.5799999237060498</c:v>
                </c:pt>
                <c:pt idx="181">
                  <c:v>2.5520000457763699</c:v>
                </c:pt>
                <c:pt idx="182">
                  <c:v>2.5739998817443799</c:v>
                </c:pt>
                <c:pt idx="183">
                  <c:v>2.6140000820159899</c:v>
                </c:pt>
                <c:pt idx="184">
                  <c:v>2.6809999942779501</c:v>
                </c:pt>
                <c:pt idx="185">
                  <c:v>2.6679999828338601</c:v>
                </c:pt>
                <c:pt idx="186">
                  <c:v>2.6370000839233398</c:v>
                </c:pt>
                <c:pt idx="187">
                  <c:v>2.5380001068115199</c:v>
                </c:pt>
                <c:pt idx="188">
                  <c:v>2.5339999198913601</c:v>
                </c:pt>
                <c:pt idx="189">
                  <c:v>2.52699995040894</c:v>
                </c:pt>
                <c:pt idx="190">
                  <c:v>2.5030000209808301</c:v>
                </c:pt>
                <c:pt idx="191">
                  <c:v>2.5020000934600799</c:v>
                </c:pt>
                <c:pt idx="192">
                  <c:v>2.42799997329712</c:v>
                </c:pt>
                <c:pt idx="193">
                  <c:v>2.4040000438690199</c:v>
                </c:pt>
                <c:pt idx="194">
                  <c:v>2.3299999237060498</c:v>
                </c:pt>
                <c:pt idx="195">
                  <c:v>2.2829999923706099</c:v>
                </c:pt>
                <c:pt idx="196">
                  <c:v>2.2469999790191699</c:v>
                </c:pt>
                <c:pt idx="197">
                  <c:v>2.3289999961853001</c:v>
                </c:pt>
                <c:pt idx="198">
                  <c:v>2.35199999809265</c:v>
                </c:pt>
                <c:pt idx="199">
                  <c:v>2.30299997329712</c:v>
                </c:pt>
                <c:pt idx="200">
                  <c:v>2.2880001068115199</c:v>
                </c:pt>
                <c:pt idx="201">
                  <c:v>2.2339999675750701</c:v>
                </c:pt>
                <c:pt idx="202">
                  <c:v>2.21799993515015</c:v>
                </c:pt>
                <c:pt idx="203">
                  <c:v>2.21399998664856</c:v>
                </c:pt>
                <c:pt idx="204">
                  <c:v>2.2799999713897701</c:v>
                </c:pt>
                <c:pt idx="205">
                  <c:v>2.33899998664856</c:v>
                </c:pt>
                <c:pt idx="206">
                  <c:v>2.30299997329712</c:v>
                </c:pt>
                <c:pt idx="207">
                  <c:v>2.3180000782012899</c:v>
                </c:pt>
                <c:pt idx="208">
                  <c:v>2.3199999332428001</c:v>
                </c:pt>
                <c:pt idx="209">
                  <c:v>2.2379999160766602</c:v>
                </c:pt>
                <c:pt idx="210">
                  <c:v>2.2720000743865998</c:v>
                </c:pt>
                <c:pt idx="211">
                  <c:v>2.28200006484985</c:v>
                </c:pt>
                <c:pt idx="212">
                  <c:v>2.31599998474121</c:v>
                </c:pt>
                <c:pt idx="213">
                  <c:v>2.2999999523162802</c:v>
                </c:pt>
                <c:pt idx="214">
                  <c:v>2.4460000991821298</c:v>
                </c:pt>
                <c:pt idx="215">
                  <c:v>2.5969998836517298</c:v>
                </c:pt>
                <c:pt idx="216">
                  <c:v>2.69099998474121</c:v>
                </c:pt>
                <c:pt idx="217">
                  <c:v>2.6329998970031698</c:v>
                </c:pt>
                <c:pt idx="218">
                  <c:v>2.71399998664856</c:v>
                </c:pt>
                <c:pt idx="219">
                  <c:v>2.8210000991821298</c:v>
                </c:pt>
                <c:pt idx="220">
                  <c:v>2.86199998855591</c:v>
                </c:pt>
                <c:pt idx="221">
                  <c:v>2.8280000686645499</c:v>
                </c:pt>
                <c:pt idx="222">
                  <c:v>2.7720000743865998</c:v>
                </c:pt>
                <c:pt idx="223">
                  <c:v>2.7890000343322798</c:v>
                </c:pt>
                <c:pt idx="224">
                  <c:v>2.6370000839233398</c:v>
                </c:pt>
                <c:pt idx="225">
                  <c:v>2.62100005149841</c:v>
                </c:pt>
                <c:pt idx="226">
                  <c:v>2.5999999046325701</c:v>
                </c:pt>
                <c:pt idx="227">
                  <c:v>2.6470000743865998</c:v>
                </c:pt>
                <c:pt idx="228">
                  <c:v>2.68799996376038</c:v>
                </c:pt>
                <c:pt idx="229">
                  <c:v>2.56599998474121</c:v>
                </c:pt>
                <c:pt idx="230">
                  <c:v>2.5099999904632599</c:v>
                </c:pt>
                <c:pt idx="231">
                  <c:v>2.55900001525879</c:v>
                </c:pt>
                <c:pt idx="232">
                  <c:v>2.5669999122619598</c:v>
                </c:pt>
                <c:pt idx="233">
                  <c:v>2.66499996185303</c:v>
                </c:pt>
                <c:pt idx="234">
                  <c:v>2.5309998989105198</c:v>
                </c:pt>
                <c:pt idx="235">
                  <c:v>2.4700000286102299</c:v>
                </c:pt>
                <c:pt idx="236">
                  <c:v>2.5009999275207502</c:v>
                </c:pt>
                <c:pt idx="237">
                  <c:v>2.5009999275207502</c:v>
                </c:pt>
                <c:pt idx="238">
                  <c:v>2.2809998989105198</c:v>
                </c:pt>
                <c:pt idx="239">
                  <c:v>2.3289999961853001</c:v>
                </c:pt>
                <c:pt idx="240">
                  <c:v>2.44099998474121</c:v>
                </c:pt>
                <c:pt idx="241">
                  <c:v>2.3989999294281001</c:v>
                </c:pt>
                <c:pt idx="242">
                  <c:v>2.4270000457763699</c:v>
                </c:pt>
                <c:pt idx="243">
                  <c:v>2.3340001106262198</c:v>
                </c:pt>
                <c:pt idx="244">
                  <c:v>2.2320001125335698</c:v>
                </c:pt>
                <c:pt idx="245">
                  <c:v>2.2639999389648402</c:v>
                </c:pt>
                <c:pt idx="246">
                  <c:v>2.2430000305175799</c:v>
                </c:pt>
                <c:pt idx="247">
                  <c:v>2.3280000686645499</c:v>
                </c:pt>
                <c:pt idx="248">
                  <c:v>2.2960000038146999</c:v>
                </c:pt>
                <c:pt idx="249">
                  <c:v>2.3410000801086399</c:v>
                </c:pt>
                <c:pt idx="250">
                  <c:v>2.3190000057220499</c:v>
                </c:pt>
                <c:pt idx="251">
                  <c:v>2.28600001335144</c:v>
                </c:pt>
                <c:pt idx="252">
                  <c:v>2.27300000190735</c:v>
                </c:pt>
                <c:pt idx="253">
                  <c:v>2.3280000686645499</c:v>
                </c:pt>
                <c:pt idx="254">
                  <c:v>2.21399998664856</c:v>
                </c:pt>
                <c:pt idx="255">
                  <c:v>2.1719999313354501</c:v>
                </c:pt>
                <c:pt idx="256">
                  <c:v>2.1719999313354501</c:v>
                </c:pt>
                <c:pt idx="257">
                  <c:v>2.2939999103546098</c:v>
                </c:pt>
                <c:pt idx="258">
                  <c:v>2.1579999923706099</c:v>
                </c:pt>
                <c:pt idx="259">
                  <c:v>2.1860001087188698</c:v>
                </c:pt>
                <c:pt idx="260">
                  <c:v>2.1889998912811302</c:v>
                </c:pt>
                <c:pt idx="261">
                  <c:v>2.1889998912811302</c:v>
                </c:pt>
                <c:pt idx="262">
                  <c:v>2.1219999790191699</c:v>
                </c:pt>
                <c:pt idx="263">
                  <c:v>2.1300001144409202</c:v>
                </c:pt>
                <c:pt idx="264">
                  <c:v>2.1349999904632599</c:v>
                </c:pt>
                <c:pt idx="265">
                  <c:v>2.1619999408721902</c:v>
                </c:pt>
                <c:pt idx="266">
                  <c:v>2.1410000324249299</c:v>
                </c:pt>
                <c:pt idx="267">
                  <c:v>2.1659998893737802</c:v>
                </c:pt>
                <c:pt idx="268">
                  <c:v>2.2019999027252202</c:v>
                </c:pt>
                <c:pt idx="269">
                  <c:v>2.1819999217987101</c:v>
                </c:pt>
                <c:pt idx="270">
                  <c:v>2.18700003623962</c:v>
                </c:pt>
                <c:pt idx="271">
                  <c:v>2.1199998855590798</c:v>
                </c:pt>
                <c:pt idx="272">
                  <c:v>2.0769999027252202</c:v>
                </c:pt>
                <c:pt idx="273">
                  <c:v>2.0030000209808301</c:v>
                </c:pt>
                <c:pt idx="274">
                  <c:v>2.0030000209808301</c:v>
                </c:pt>
                <c:pt idx="275">
                  <c:v>1.8949999809265099</c:v>
                </c:pt>
                <c:pt idx="276">
                  <c:v>1.9049999713897701</c:v>
                </c:pt>
                <c:pt idx="277">
                  <c:v>1.9259999990463299</c:v>
                </c:pt>
                <c:pt idx="278">
                  <c:v>1.89300000667572</c:v>
                </c:pt>
                <c:pt idx="279">
                  <c:v>1.90199995040894</c:v>
                </c:pt>
                <c:pt idx="280">
                  <c:v>1.93400001525879</c:v>
                </c:pt>
                <c:pt idx="281">
                  <c:v>1.8769999742507899</c:v>
                </c:pt>
                <c:pt idx="282">
                  <c:v>1.8289999961853001</c:v>
                </c:pt>
                <c:pt idx="283">
                  <c:v>1.8409999608993499</c:v>
                </c:pt>
                <c:pt idx="284">
                  <c:v>1.8190000057220499</c:v>
                </c:pt>
                <c:pt idx="285">
                  <c:v>1.8719999790191699</c:v>
                </c:pt>
                <c:pt idx="286">
                  <c:v>1.86099994182587</c:v>
                </c:pt>
                <c:pt idx="287">
                  <c:v>1.86199998855591</c:v>
                </c:pt>
                <c:pt idx="288">
                  <c:v>1.85800004005432</c:v>
                </c:pt>
                <c:pt idx="289">
                  <c:v>1.7660000324249301</c:v>
                </c:pt>
                <c:pt idx="290">
                  <c:v>1.7879999876022299</c:v>
                </c:pt>
                <c:pt idx="291">
                  <c:v>1.84399998188019</c:v>
                </c:pt>
                <c:pt idx="292">
                  <c:v>1.82599997520447</c:v>
                </c:pt>
                <c:pt idx="293">
                  <c:v>1.8370000123977701</c:v>
                </c:pt>
                <c:pt idx="294">
                  <c:v>1.8370000123977701</c:v>
                </c:pt>
                <c:pt idx="295">
                  <c:v>1.9809999465942401</c:v>
                </c:pt>
                <c:pt idx="296">
                  <c:v>1.95500004291534</c:v>
                </c:pt>
                <c:pt idx="297">
                  <c:v>1.91999995708466</c:v>
                </c:pt>
                <c:pt idx="298">
                  <c:v>1.9049999713897701</c:v>
                </c:pt>
                <c:pt idx="299">
                  <c:v>1.8270000219345099</c:v>
                </c:pt>
                <c:pt idx="300">
                  <c:v>1.8470000028610201</c:v>
                </c:pt>
                <c:pt idx="301">
                  <c:v>1.82099997997284</c:v>
                </c:pt>
                <c:pt idx="302">
                  <c:v>1.7519999742507899</c:v>
                </c:pt>
                <c:pt idx="303">
                  <c:v>1.68400001525879</c:v>
                </c:pt>
                <c:pt idx="304">
                  <c:v>1.7560000419616699</c:v>
                </c:pt>
                <c:pt idx="305">
                  <c:v>1.79999995231628</c:v>
                </c:pt>
                <c:pt idx="306">
                  <c:v>1.8270000219345099</c:v>
                </c:pt>
                <c:pt idx="307">
                  <c:v>1.77199995517731</c:v>
                </c:pt>
                <c:pt idx="308">
                  <c:v>1.7079999446868901</c:v>
                </c:pt>
                <c:pt idx="309">
                  <c:v>1.7779999971389799</c:v>
                </c:pt>
                <c:pt idx="310">
                  <c:v>1.9359999895095801</c:v>
                </c:pt>
                <c:pt idx="311">
                  <c:v>1.8780000209808301</c:v>
                </c:pt>
                <c:pt idx="312">
                  <c:v>1.8409999608993499</c:v>
                </c:pt>
                <c:pt idx="313">
                  <c:v>1.8689999580383301</c:v>
                </c:pt>
                <c:pt idx="314">
                  <c:v>1.8150000572204601</c:v>
                </c:pt>
                <c:pt idx="315">
                  <c:v>1.7289999723434399</c:v>
                </c:pt>
                <c:pt idx="316">
                  <c:v>1.6039999723434399</c:v>
                </c:pt>
                <c:pt idx="317">
                  <c:v>1.6540000438690201</c:v>
                </c:pt>
                <c:pt idx="318">
                  <c:v>1.6039999723434399</c:v>
                </c:pt>
                <c:pt idx="319">
                  <c:v>1.60199999809265</c:v>
                </c:pt>
                <c:pt idx="320">
                  <c:v>1.6529999971389799</c:v>
                </c:pt>
                <c:pt idx="321">
                  <c:v>1.6590000391006501</c:v>
                </c:pt>
                <c:pt idx="322">
                  <c:v>1.6369999647140501</c:v>
                </c:pt>
                <c:pt idx="323">
                  <c:v>1.63399994373322</c:v>
                </c:pt>
                <c:pt idx="324">
                  <c:v>1.6900000572204601</c:v>
                </c:pt>
                <c:pt idx="325">
                  <c:v>1.6399999856948899</c:v>
                </c:pt>
                <c:pt idx="326">
                  <c:v>1.5870000123977701</c:v>
                </c:pt>
                <c:pt idx="327">
                  <c:v>1.5520000457763701</c:v>
                </c:pt>
                <c:pt idx="328">
                  <c:v>1.62100005149841</c:v>
                </c:pt>
                <c:pt idx="329">
                  <c:v>1.7309999465942401</c:v>
                </c:pt>
                <c:pt idx="330">
                  <c:v>1.85199999809265</c:v>
                </c:pt>
                <c:pt idx="331">
                  <c:v>1.7829999923706099</c:v>
                </c:pt>
                <c:pt idx="332">
                  <c:v>1.73300004005432</c:v>
                </c:pt>
                <c:pt idx="333">
                  <c:v>1.73300004005432</c:v>
                </c:pt>
                <c:pt idx="334">
                  <c:v>1.72399997711182</c:v>
                </c:pt>
                <c:pt idx="335">
                  <c:v>1.6499999761581401</c:v>
                </c:pt>
                <c:pt idx="336">
                  <c:v>1.59800004959106</c:v>
                </c:pt>
                <c:pt idx="337">
                  <c:v>1.6859999895095801</c:v>
                </c:pt>
                <c:pt idx="338">
                  <c:v>1.7530000209808301</c:v>
                </c:pt>
                <c:pt idx="339">
                  <c:v>1.92400002479553</c:v>
                </c:pt>
                <c:pt idx="340">
                  <c:v>1.82099997997284</c:v>
                </c:pt>
                <c:pt idx="341">
                  <c:v>1.9390000104904199</c:v>
                </c:pt>
                <c:pt idx="342">
                  <c:v>1.8150000572204601</c:v>
                </c:pt>
                <c:pt idx="343">
                  <c:v>1.74600005149841</c:v>
                </c:pt>
                <c:pt idx="344">
                  <c:v>1.8190000057220499</c:v>
                </c:pt>
                <c:pt idx="345">
                  <c:v>1.7940000295639</c:v>
                </c:pt>
                <c:pt idx="346">
                  <c:v>1.8689999580383301</c:v>
                </c:pt>
                <c:pt idx="347">
                  <c:v>1.9490000009536701</c:v>
                </c:pt>
                <c:pt idx="348">
                  <c:v>1.8899999856948899</c:v>
                </c:pt>
                <c:pt idx="349">
                  <c:v>1.9930000305175799</c:v>
                </c:pt>
                <c:pt idx="350">
                  <c:v>2.1340000629425</c:v>
                </c:pt>
                <c:pt idx="351">
                  <c:v>1.9440000057220499</c:v>
                </c:pt>
                <c:pt idx="352">
                  <c:v>1.8940000534057599</c:v>
                </c:pt>
                <c:pt idx="353">
                  <c:v>1.8229999542236299</c:v>
                </c:pt>
                <c:pt idx="354">
                  <c:v>1.82599997520447</c:v>
                </c:pt>
                <c:pt idx="355">
                  <c:v>1.7200000286102299</c:v>
                </c:pt>
                <c:pt idx="356">
                  <c:v>1.61600005626678</c:v>
                </c:pt>
                <c:pt idx="357">
                  <c:v>1.6809999942779501</c:v>
                </c:pt>
                <c:pt idx="358">
                  <c:v>1.6460000276565601</c:v>
                </c:pt>
                <c:pt idx="359">
                  <c:v>1.7829999923706099</c:v>
                </c:pt>
                <c:pt idx="360">
                  <c:v>1.83000004291534</c:v>
                </c:pt>
                <c:pt idx="361">
                  <c:v>1.7710000276565601</c:v>
                </c:pt>
                <c:pt idx="362">
                  <c:v>1.71000003814697</c:v>
                </c:pt>
                <c:pt idx="363">
                  <c:v>1.7309999465942401</c:v>
                </c:pt>
                <c:pt idx="364">
                  <c:v>1.7309999465942401</c:v>
                </c:pt>
                <c:pt idx="365">
                  <c:v>1.7929999828338601</c:v>
                </c:pt>
                <c:pt idx="366">
                  <c:v>1.7220000028610201</c:v>
                </c:pt>
                <c:pt idx="367">
                  <c:v>1.8270000219345099</c:v>
                </c:pt>
                <c:pt idx="368">
                  <c:v>1.84899997711182</c:v>
                </c:pt>
                <c:pt idx="369">
                  <c:v>1.7740000486373899</c:v>
                </c:pt>
                <c:pt idx="370">
                  <c:v>1.77699995040894</c:v>
                </c:pt>
                <c:pt idx="371">
                  <c:v>1.82099997997284</c:v>
                </c:pt>
                <c:pt idx="372">
                  <c:v>1.82200002670288</c:v>
                </c:pt>
                <c:pt idx="373">
                  <c:v>1.78199994564056</c:v>
                </c:pt>
                <c:pt idx="374">
                  <c:v>1.7890000343322801</c:v>
                </c:pt>
                <c:pt idx="375">
                  <c:v>1.76699995994568</c:v>
                </c:pt>
                <c:pt idx="376">
                  <c:v>1.7799999713897701</c:v>
                </c:pt>
                <c:pt idx="377">
                  <c:v>1.81299996376038</c:v>
                </c:pt>
                <c:pt idx="378">
                  <c:v>1.7309999465942401</c:v>
                </c:pt>
                <c:pt idx="379">
                  <c:v>1.6690000295639</c:v>
                </c:pt>
                <c:pt idx="380">
                  <c:v>1.6139999628067001</c:v>
                </c:pt>
                <c:pt idx="381">
                  <c:v>1.63800001144409</c:v>
                </c:pt>
                <c:pt idx="382">
                  <c:v>1.63800001144409</c:v>
                </c:pt>
                <c:pt idx="383">
                  <c:v>1.6690000295639</c:v>
                </c:pt>
                <c:pt idx="384">
                  <c:v>1.6640000343322801</c:v>
                </c:pt>
                <c:pt idx="385">
                  <c:v>1.6369999647140501</c:v>
                </c:pt>
                <c:pt idx="386">
                  <c:v>1.5970000028610201</c:v>
                </c:pt>
                <c:pt idx="387">
                  <c:v>1.48199999332428</c:v>
                </c:pt>
                <c:pt idx="388">
                  <c:v>1.49500000476837</c:v>
                </c:pt>
                <c:pt idx="389">
                  <c:v>1.70899999141693</c:v>
                </c:pt>
                <c:pt idx="390">
                  <c:v>1.7510000467300399</c:v>
                </c:pt>
                <c:pt idx="391">
                  <c:v>1.6710000038146999</c:v>
                </c:pt>
                <c:pt idx="392">
                  <c:v>1.7339999675750699</c:v>
                </c:pt>
                <c:pt idx="393">
                  <c:v>1.7339999675750699</c:v>
                </c:pt>
                <c:pt idx="394">
                  <c:v>1.83000004291534</c:v>
                </c:pt>
                <c:pt idx="395">
                  <c:v>1.8760000467300399</c:v>
                </c:pt>
                <c:pt idx="396">
                  <c:v>1.8240000009536701</c:v>
                </c:pt>
                <c:pt idx="397">
                  <c:v>1.7790000438690201</c:v>
                </c:pt>
                <c:pt idx="398">
                  <c:v>1.8049999475479099</c:v>
                </c:pt>
                <c:pt idx="399">
                  <c:v>1.7389999628067001</c:v>
                </c:pt>
                <c:pt idx="400">
                  <c:v>1.74600005149841</c:v>
                </c:pt>
                <c:pt idx="401">
                  <c:v>1.7779999971389799</c:v>
                </c:pt>
                <c:pt idx="402">
                  <c:v>1.72300004959106</c:v>
                </c:pt>
                <c:pt idx="403">
                  <c:v>1.71800005435944</c:v>
                </c:pt>
                <c:pt idx="404">
                  <c:v>1.6410000324249301</c:v>
                </c:pt>
                <c:pt idx="405">
                  <c:v>1.67499995231628</c:v>
                </c:pt>
                <c:pt idx="406">
                  <c:v>1.6809999942779501</c:v>
                </c:pt>
                <c:pt idx="407">
                  <c:v>1.7849999666214</c:v>
                </c:pt>
                <c:pt idx="408">
                  <c:v>1.80799996852875</c:v>
                </c:pt>
                <c:pt idx="409">
                  <c:v>1.7339999675750699</c:v>
                </c:pt>
                <c:pt idx="410">
                  <c:v>1.79999995231628</c:v>
                </c:pt>
                <c:pt idx="411">
                  <c:v>1.8539999723434399</c:v>
                </c:pt>
                <c:pt idx="412">
                  <c:v>1.8289999961853001</c:v>
                </c:pt>
                <c:pt idx="413">
                  <c:v>1.79900002479553</c:v>
                </c:pt>
                <c:pt idx="414">
                  <c:v>2.1010000705718999</c:v>
                </c:pt>
                <c:pt idx="415">
                  <c:v>2.1930000782012899</c:v>
                </c:pt>
                <c:pt idx="416">
                  <c:v>2.19099998474121</c:v>
                </c:pt>
                <c:pt idx="417">
                  <c:v>2.16499996185303</c:v>
                </c:pt>
                <c:pt idx="418">
                  <c:v>2.2379999160766602</c:v>
                </c:pt>
                <c:pt idx="419">
                  <c:v>2.1530001163482702</c:v>
                </c:pt>
                <c:pt idx="420">
                  <c:v>2.1710000038146999</c:v>
                </c:pt>
                <c:pt idx="421">
                  <c:v>2.15199995040894</c:v>
                </c:pt>
                <c:pt idx="422">
                  <c:v>2.1819999217987101</c:v>
                </c:pt>
                <c:pt idx="423">
                  <c:v>2.3559999465942401</c:v>
                </c:pt>
                <c:pt idx="424">
                  <c:v>2.33899998664856</c:v>
                </c:pt>
                <c:pt idx="425">
                  <c:v>2.4170000553131099</c:v>
                </c:pt>
                <c:pt idx="426">
                  <c:v>2.4260001182556201</c:v>
                </c:pt>
                <c:pt idx="427">
                  <c:v>2.35199999809265</c:v>
                </c:pt>
                <c:pt idx="428">
                  <c:v>2.4479999542236301</c:v>
                </c:pt>
                <c:pt idx="429">
                  <c:v>2.51300001144409</c:v>
                </c:pt>
                <c:pt idx="430">
                  <c:v>2.4890000820159899</c:v>
                </c:pt>
                <c:pt idx="431">
                  <c:v>2.4609999656677202</c:v>
                </c:pt>
                <c:pt idx="432">
                  <c:v>2.5789999961853001</c:v>
                </c:pt>
                <c:pt idx="433">
                  <c:v>2.65700006484985</c:v>
                </c:pt>
                <c:pt idx="434">
                  <c:v>2.6300001144409202</c:v>
                </c:pt>
                <c:pt idx="435">
                  <c:v>2.52699995040894</c:v>
                </c:pt>
                <c:pt idx="436">
                  <c:v>2.4860000610351598</c:v>
                </c:pt>
                <c:pt idx="437">
                  <c:v>2.48699998855591</c:v>
                </c:pt>
                <c:pt idx="438">
                  <c:v>2.5880000591278098</c:v>
                </c:pt>
                <c:pt idx="439">
                  <c:v>2.5880000591278098</c:v>
                </c:pt>
                <c:pt idx="440">
                  <c:v>2.4000000953674299</c:v>
                </c:pt>
                <c:pt idx="441">
                  <c:v>2.4059998989105198</c:v>
                </c:pt>
                <c:pt idx="442">
                  <c:v>2.3229999542236301</c:v>
                </c:pt>
                <c:pt idx="443">
                  <c:v>2.2690000534057599</c:v>
                </c:pt>
                <c:pt idx="444">
                  <c:v>2.3099999427795401</c:v>
                </c:pt>
                <c:pt idx="445">
                  <c:v>2.36199998855591</c:v>
                </c:pt>
                <c:pt idx="446">
                  <c:v>2.26699995994568</c:v>
                </c:pt>
                <c:pt idx="447">
                  <c:v>2.0420000553131099</c:v>
                </c:pt>
                <c:pt idx="448">
                  <c:v>2.0480000972747798</c:v>
                </c:pt>
                <c:pt idx="449">
                  <c:v>1.83500003814697</c:v>
                </c:pt>
                <c:pt idx="450">
                  <c:v>1.83399999141693</c:v>
                </c:pt>
                <c:pt idx="451">
                  <c:v>2.125</c:v>
                </c:pt>
                <c:pt idx="452">
                  <c:v>2.2479999065399201</c:v>
                </c:pt>
                <c:pt idx="453">
                  <c:v>2.1389999389648402</c:v>
                </c:pt>
                <c:pt idx="454">
                  <c:v>2.1010000705718999</c:v>
                </c:pt>
                <c:pt idx="455">
                  <c:v>2.5610001087188698</c:v>
                </c:pt>
                <c:pt idx="456">
                  <c:v>2.52699995040894</c:v>
                </c:pt>
                <c:pt idx="457">
                  <c:v>2.52699995040894</c:v>
                </c:pt>
                <c:pt idx="458">
                  <c:v>2.43799996376038</c:v>
                </c:pt>
                <c:pt idx="459">
                  <c:v>2.6150000095367401</c:v>
                </c:pt>
                <c:pt idx="460">
                  <c:v>2.5199999809265101</c:v>
                </c:pt>
                <c:pt idx="461">
                  <c:v>2.6059999465942401</c:v>
                </c:pt>
                <c:pt idx="462">
                  <c:v>2.6270000934600799</c:v>
                </c:pt>
                <c:pt idx="463">
                  <c:v>2.7409999370575</c:v>
                </c:pt>
                <c:pt idx="464">
                  <c:v>2.8810000419616699</c:v>
                </c:pt>
                <c:pt idx="465">
                  <c:v>2.8550000190734899</c:v>
                </c:pt>
                <c:pt idx="466">
                  <c:v>2.6359999179840101</c:v>
                </c:pt>
                <c:pt idx="467">
                  <c:v>2.7750000953674299</c:v>
                </c:pt>
                <c:pt idx="468">
                  <c:v>2.77300000190735</c:v>
                </c:pt>
                <c:pt idx="469">
                  <c:v>2.7950000762939502</c:v>
                </c:pt>
                <c:pt idx="470">
                  <c:v>2.9130001068115199</c:v>
                </c:pt>
                <c:pt idx="471">
                  <c:v>3.02300000190735</c:v>
                </c:pt>
                <c:pt idx="472">
                  <c:v>3.0069999694824201</c:v>
                </c:pt>
                <c:pt idx="473">
                  <c:v>2.9709999561309801</c:v>
                </c:pt>
                <c:pt idx="474">
                  <c:v>3.0239999294281001</c:v>
                </c:pt>
                <c:pt idx="475">
                  <c:v>3.0190000534057599</c:v>
                </c:pt>
                <c:pt idx="476">
                  <c:v>2.99600005149841</c:v>
                </c:pt>
                <c:pt idx="477">
                  <c:v>3.3010001182556201</c:v>
                </c:pt>
                <c:pt idx="478">
                  <c:v>3.3540000915527299</c:v>
                </c:pt>
                <c:pt idx="479">
                  <c:v>3.2439999580383301</c:v>
                </c:pt>
                <c:pt idx="480">
                  <c:v>3.05900001525879</c:v>
                </c:pt>
                <c:pt idx="481">
                  <c:v>3.0460000038146999</c:v>
                </c:pt>
                <c:pt idx="482">
                  <c:v>2.9419999122619598</c:v>
                </c:pt>
                <c:pt idx="483">
                  <c:v>2.88800001144409</c:v>
                </c:pt>
                <c:pt idx="484">
                  <c:v>2.8589999675750701</c:v>
                </c:pt>
                <c:pt idx="485">
                  <c:v>2.9489998817443799</c:v>
                </c:pt>
                <c:pt idx="486">
                  <c:v>3.0309998989105198</c:v>
                </c:pt>
                <c:pt idx="487">
                  <c:v>2.9760000705718999</c:v>
                </c:pt>
                <c:pt idx="488">
                  <c:v>2.9949998855590798</c:v>
                </c:pt>
                <c:pt idx="489">
                  <c:v>2.69700002670288</c:v>
                </c:pt>
                <c:pt idx="490">
                  <c:v>2.6919999122619598</c:v>
                </c:pt>
                <c:pt idx="491">
                  <c:v>2.7119998931884801</c:v>
                </c:pt>
                <c:pt idx="492">
                  <c:v>2.5920000076293901</c:v>
                </c:pt>
                <c:pt idx="493">
                  <c:v>2.6500000953674299</c:v>
                </c:pt>
                <c:pt idx="494">
                  <c:v>2.7109999656677202</c:v>
                </c:pt>
                <c:pt idx="495">
                  <c:v>2.7750000953674299</c:v>
                </c:pt>
                <c:pt idx="496">
                  <c:v>2.8959999084472701</c:v>
                </c:pt>
                <c:pt idx="497">
                  <c:v>2.9609999656677202</c:v>
                </c:pt>
                <c:pt idx="498">
                  <c:v>2.84299993515015</c:v>
                </c:pt>
                <c:pt idx="499">
                  <c:v>2.8819999694824201</c:v>
                </c:pt>
                <c:pt idx="500">
                  <c:v>2.8800001144409202</c:v>
                </c:pt>
                <c:pt idx="501">
                  <c:v>2.7799999713897701</c:v>
                </c:pt>
                <c:pt idx="502">
                  <c:v>2.5069999694824201</c:v>
                </c:pt>
                <c:pt idx="503">
                  <c:v>2.5750000476837198</c:v>
                </c:pt>
                <c:pt idx="504">
                  <c:v>2.4059998989105198</c:v>
                </c:pt>
                <c:pt idx="505">
                  <c:v>2.3989999294281001</c:v>
                </c:pt>
                <c:pt idx="506">
                  <c:v>2.4419999122619598</c:v>
                </c:pt>
                <c:pt idx="507">
                  <c:v>2.55299997329712</c:v>
                </c:pt>
                <c:pt idx="508">
                  <c:v>2.5910000801086399</c:v>
                </c:pt>
                <c:pt idx="509">
                  <c:v>2.6819999217987101</c:v>
                </c:pt>
                <c:pt idx="510">
                  <c:v>2.6819999217987101</c:v>
                </c:pt>
                <c:pt idx="511">
                  <c:v>2.6770000457763699</c:v>
                </c:pt>
                <c:pt idx="512">
                  <c:v>2.6359999179840101</c:v>
                </c:pt>
                <c:pt idx="513">
                  <c:v>2.7000000476837198</c:v>
                </c:pt>
                <c:pt idx="514">
                  <c:v>2.7049999237060498</c:v>
                </c:pt>
                <c:pt idx="515">
                  <c:v>2.7799999713897701</c:v>
                </c:pt>
                <c:pt idx="516">
                  <c:v>2.60800004005432</c:v>
                </c:pt>
                <c:pt idx="517">
                  <c:v>2.5179998874664302</c:v>
                </c:pt>
                <c:pt idx="518">
                  <c:v>2.5179998874664302</c:v>
                </c:pt>
                <c:pt idx="519">
                  <c:v>2.3050000667571999</c:v>
                </c:pt>
                <c:pt idx="520">
                  <c:v>2.4670000076293901</c:v>
                </c:pt>
                <c:pt idx="521">
                  <c:v>2.4219999313354501</c:v>
                </c:pt>
                <c:pt idx="522">
                  <c:v>2.5390000343322798</c:v>
                </c:pt>
                <c:pt idx="523">
                  <c:v>2.5390000343322798</c:v>
                </c:pt>
                <c:pt idx="524">
                  <c:v>2.5810000896453902</c:v>
                </c:pt>
                <c:pt idx="525">
                  <c:v>2.7019999027252202</c:v>
                </c:pt>
                <c:pt idx="526">
                  <c:v>2.7160000801086399</c:v>
                </c:pt>
                <c:pt idx="527">
                  <c:v>2.7290000915527299</c:v>
                </c:pt>
                <c:pt idx="528">
                  <c:v>2.7000000476837198</c:v>
                </c:pt>
                <c:pt idx="529">
                  <c:v>2.7469999790191699</c:v>
                </c:pt>
                <c:pt idx="530">
                  <c:v>2.7530000209808301</c:v>
                </c:pt>
                <c:pt idx="531">
                  <c:v>2.72699999809265</c:v>
                </c:pt>
                <c:pt idx="532">
                  <c:v>2.6659998893737802</c:v>
                </c:pt>
                <c:pt idx="533">
                  <c:v>2.73699998855591</c:v>
                </c:pt>
                <c:pt idx="534">
                  <c:v>2.73699998855591</c:v>
                </c:pt>
                <c:pt idx="535">
                  <c:v>2.5460000038146999</c:v>
                </c:pt>
                <c:pt idx="536">
                  <c:v>2.5390000343322798</c:v>
                </c:pt>
                <c:pt idx="537">
                  <c:v>2.4909999370575</c:v>
                </c:pt>
                <c:pt idx="538">
                  <c:v>2.4460000991821298</c:v>
                </c:pt>
                <c:pt idx="539">
                  <c:v>2.60199999809265</c:v>
                </c:pt>
                <c:pt idx="540">
                  <c:v>2.6559998989105198</c:v>
                </c:pt>
                <c:pt idx="541">
                  <c:v>2.7599999904632599</c:v>
                </c:pt>
                <c:pt idx="542">
                  <c:v>2.6640000343322798</c:v>
                </c:pt>
                <c:pt idx="543">
                  <c:v>2.5639998912811302</c:v>
                </c:pt>
                <c:pt idx="544">
                  <c:v>2.8499999046325701</c:v>
                </c:pt>
                <c:pt idx="545">
                  <c:v>2.8450000286102299</c:v>
                </c:pt>
                <c:pt idx="546">
                  <c:v>2.7890000343322798</c:v>
                </c:pt>
                <c:pt idx="547">
                  <c:v>2.9349999427795401</c:v>
                </c:pt>
                <c:pt idx="548">
                  <c:v>2.8629999160766602</c:v>
                </c:pt>
                <c:pt idx="549">
                  <c:v>2.8819999694824201</c:v>
                </c:pt>
                <c:pt idx="550">
                  <c:v>2.83500003814697</c:v>
                </c:pt>
                <c:pt idx="551">
                  <c:v>2.91100001335144</c:v>
                </c:pt>
                <c:pt idx="552">
                  <c:v>2.8680000305175799</c:v>
                </c:pt>
                <c:pt idx="553">
                  <c:v>2.9119999408721902</c:v>
                </c:pt>
                <c:pt idx="554">
                  <c:v>2.9119999408721902</c:v>
                </c:pt>
                <c:pt idx="555">
                  <c:v>3.12899994850159</c:v>
                </c:pt>
                <c:pt idx="556">
                  <c:v>3.2190001010894802</c:v>
                </c:pt>
                <c:pt idx="557">
                  <c:v>3.0820000171661399</c:v>
                </c:pt>
                <c:pt idx="558">
                  <c:v>3.0690000057220499</c:v>
                </c:pt>
                <c:pt idx="559">
                  <c:v>2.9530000686645499</c:v>
                </c:pt>
                <c:pt idx="560">
                  <c:v>2.87899994850159</c:v>
                </c:pt>
                <c:pt idx="561">
                  <c:v>2.8540000915527299</c:v>
                </c:pt>
                <c:pt idx="562">
                  <c:v>2.77699995040894</c:v>
                </c:pt>
                <c:pt idx="563">
                  <c:v>2.7709999084472701</c:v>
                </c:pt>
                <c:pt idx="564">
                  <c:v>2.77699995040894</c:v>
                </c:pt>
                <c:pt idx="565">
                  <c:v>2.83899998664856</c:v>
                </c:pt>
                <c:pt idx="566">
                  <c:v>2.81599998474121</c:v>
                </c:pt>
                <c:pt idx="567">
                  <c:v>2.74600005149841</c:v>
                </c:pt>
                <c:pt idx="568">
                  <c:v>2.70099997520447</c:v>
                </c:pt>
                <c:pt idx="569">
                  <c:v>2.6640000343322798</c:v>
                </c:pt>
                <c:pt idx="570">
                  <c:v>2.6619999408721902</c:v>
                </c:pt>
                <c:pt idx="571">
                  <c:v>2.6919999122619598</c:v>
                </c:pt>
                <c:pt idx="572">
                  <c:v>2.6679999828338601</c:v>
                </c:pt>
                <c:pt idx="573">
                  <c:v>2.5999999046325701</c:v>
                </c:pt>
                <c:pt idx="574">
                  <c:v>2.4839999675750701</c:v>
                </c:pt>
                <c:pt idx="575">
                  <c:v>2.56200003623962</c:v>
                </c:pt>
                <c:pt idx="576">
                  <c:v>2.5280001163482702</c:v>
                </c:pt>
                <c:pt idx="577">
                  <c:v>2.4809999465942401</c:v>
                </c:pt>
                <c:pt idx="578">
                  <c:v>2.5350000858306898</c:v>
                </c:pt>
                <c:pt idx="579">
                  <c:v>2.5820000171661399</c:v>
                </c:pt>
                <c:pt idx="580">
                  <c:v>2.5079998970031698</c:v>
                </c:pt>
                <c:pt idx="581">
                  <c:v>2.5179998874664302</c:v>
                </c:pt>
                <c:pt idx="582">
                  <c:v>2.5699999332428001</c:v>
                </c:pt>
                <c:pt idx="583">
                  <c:v>2.5569999217987101</c:v>
                </c:pt>
                <c:pt idx="584">
                  <c:v>2.5859999656677202</c:v>
                </c:pt>
                <c:pt idx="585">
                  <c:v>2.6229999065399201</c:v>
                </c:pt>
                <c:pt idx="586">
                  <c:v>2.60800004005432</c:v>
                </c:pt>
                <c:pt idx="587">
                  <c:v>2.6389999389648402</c:v>
                </c:pt>
                <c:pt idx="588">
                  <c:v>2.6389999389648402</c:v>
                </c:pt>
                <c:pt idx="589">
                  <c:v>2.5109999179840101</c:v>
                </c:pt>
                <c:pt idx="590">
                  <c:v>2.4560000896453902</c:v>
                </c:pt>
                <c:pt idx="591">
                  <c:v>2.5199999809265101</c:v>
                </c:pt>
                <c:pt idx="592">
                  <c:v>2.5220000743865998</c:v>
                </c:pt>
                <c:pt idx="593">
                  <c:v>2.52600002288818</c:v>
                </c:pt>
                <c:pt idx="594">
                  <c:v>2.5610001087188698</c:v>
                </c:pt>
                <c:pt idx="595">
                  <c:v>2.6189999580383301</c:v>
                </c:pt>
                <c:pt idx="596">
                  <c:v>2.6180000305175799</c:v>
                </c:pt>
                <c:pt idx="597">
                  <c:v>2.6579999923706099</c:v>
                </c:pt>
                <c:pt idx="598">
                  <c:v>2.6800000667571999</c:v>
                </c:pt>
                <c:pt idx="599">
                  <c:v>2.7490000724792498</c:v>
                </c:pt>
                <c:pt idx="600">
                  <c:v>2.72699999809265</c:v>
                </c:pt>
                <c:pt idx="601">
                  <c:v>2.6919999122619598</c:v>
                </c:pt>
                <c:pt idx="602">
                  <c:v>2.7490000724792498</c:v>
                </c:pt>
                <c:pt idx="603">
                  <c:v>2.7300000190734899</c:v>
                </c:pt>
                <c:pt idx="604">
                  <c:v>2.78999996185303</c:v>
                </c:pt>
                <c:pt idx="605">
                  <c:v>2.8729999065399201</c:v>
                </c:pt>
                <c:pt idx="606">
                  <c:v>2.9249999523162802</c:v>
                </c:pt>
                <c:pt idx="607">
                  <c:v>2.91100001335144</c:v>
                </c:pt>
                <c:pt idx="608">
                  <c:v>2.9309999942779501</c:v>
                </c:pt>
                <c:pt idx="609">
                  <c:v>2.9660000801086399</c:v>
                </c:pt>
                <c:pt idx="610">
                  <c:v>2.9670000076293901</c:v>
                </c:pt>
                <c:pt idx="611">
                  <c:v>2.93799996376038</c:v>
                </c:pt>
                <c:pt idx="612">
                  <c:v>2.92799997329712</c:v>
                </c:pt>
                <c:pt idx="613">
                  <c:v>2.9579999446868901</c:v>
                </c:pt>
                <c:pt idx="614">
                  <c:v>2.9319999217987101</c:v>
                </c:pt>
                <c:pt idx="615">
                  <c:v>2.9549999237060498</c:v>
                </c:pt>
                <c:pt idx="616">
                  <c:v>2.9690001010894802</c:v>
                </c:pt>
                <c:pt idx="617">
                  <c:v>2.97300004959106</c:v>
                </c:pt>
                <c:pt idx="618">
                  <c:v>2.9609999656677202</c:v>
                </c:pt>
                <c:pt idx="619">
                  <c:v>3.1089999675750701</c:v>
                </c:pt>
                <c:pt idx="620">
                  <c:v>3.0120000839233398</c:v>
                </c:pt>
                <c:pt idx="621">
                  <c:v>2.96399998664856</c:v>
                </c:pt>
                <c:pt idx="622">
                  <c:v>2.9249999523162802</c:v>
                </c:pt>
                <c:pt idx="623">
                  <c:v>2.9059998989105198</c:v>
                </c:pt>
                <c:pt idx="624">
                  <c:v>2.8859999179840101</c:v>
                </c:pt>
                <c:pt idx="625">
                  <c:v>2.9130001068115199</c:v>
                </c:pt>
                <c:pt idx="626">
                  <c:v>2.9839999675750701</c:v>
                </c:pt>
                <c:pt idx="627">
                  <c:v>2.9579999446868901</c:v>
                </c:pt>
                <c:pt idx="628">
                  <c:v>2.9860000610351598</c:v>
                </c:pt>
                <c:pt idx="629">
                  <c:v>2.9860000610351598</c:v>
                </c:pt>
                <c:pt idx="630">
                  <c:v>3.1040000915527299</c:v>
                </c:pt>
                <c:pt idx="631">
                  <c:v>3.0750000476837198</c:v>
                </c:pt>
                <c:pt idx="632">
                  <c:v>3.0409998893737802</c:v>
                </c:pt>
                <c:pt idx="633">
                  <c:v>3.0969998836517298</c:v>
                </c:pt>
                <c:pt idx="634">
                  <c:v>3.0699999332428001</c:v>
                </c:pt>
                <c:pt idx="635">
                  <c:v>3.1280000209808301</c:v>
                </c:pt>
                <c:pt idx="636">
                  <c:v>3.12899994850159</c:v>
                </c:pt>
                <c:pt idx="637">
                  <c:v>3.1489999294281001</c:v>
                </c:pt>
                <c:pt idx="638">
                  <c:v>3.2960000038146999</c:v>
                </c:pt>
                <c:pt idx="639">
                  <c:v>3.35199999809265</c:v>
                </c:pt>
                <c:pt idx="640">
                  <c:v>3.2400000095367401</c:v>
                </c:pt>
                <c:pt idx="641">
                  <c:v>3.2509999275207502</c:v>
                </c:pt>
                <c:pt idx="642">
                  <c:v>3.2530000209808301</c:v>
                </c:pt>
                <c:pt idx="643">
                  <c:v>3.2149999141693102</c:v>
                </c:pt>
                <c:pt idx="644">
                  <c:v>3.19099998474121</c:v>
                </c:pt>
                <c:pt idx="645">
                  <c:v>3.2579998970031698</c:v>
                </c:pt>
                <c:pt idx="646">
                  <c:v>3.3329999446868901</c:v>
                </c:pt>
                <c:pt idx="647">
                  <c:v>3.4179999828338601</c:v>
                </c:pt>
                <c:pt idx="648">
                  <c:v>3.49600005149841</c:v>
                </c:pt>
                <c:pt idx="649">
                  <c:v>3.6170001029968302</c:v>
                </c:pt>
                <c:pt idx="650">
                  <c:v>3.6300001144409202</c:v>
                </c:pt>
                <c:pt idx="651">
                  <c:v>3.6500000953674299</c:v>
                </c:pt>
                <c:pt idx="652">
                  <c:v>3.66100001335144</c:v>
                </c:pt>
                <c:pt idx="653">
                  <c:v>3.7000000476837198</c:v>
                </c:pt>
                <c:pt idx="654">
                  <c:v>3.7000000476837198</c:v>
                </c:pt>
                <c:pt idx="655">
                  <c:v>3.6370000839233398</c:v>
                </c:pt>
                <c:pt idx="656">
                  <c:v>3.5959999561309801</c:v>
                </c:pt>
                <c:pt idx="657">
                  <c:v>3.68799996376038</c:v>
                </c:pt>
                <c:pt idx="658">
                  <c:v>3.67400002479553</c:v>
                </c:pt>
                <c:pt idx="659">
                  <c:v>3.7490000724792498</c:v>
                </c:pt>
                <c:pt idx="660">
                  <c:v>3.6960000991821298</c:v>
                </c:pt>
                <c:pt idx="661">
                  <c:v>3.6600000858306898</c:v>
                </c:pt>
                <c:pt idx="662">
                  <c:v>3.6140000820159899</c:v>
                </c:pt>
                <c:pt idx="663">
                  <c:v>3.67400002479553</c:v>
                </c:pt>
                <c:pt idx="664">
                  <c:v>3.7790000438690199</c:v>
                </c:pt>
                <c:pt idx="665">
                  <c:v>3.8759999275207502</c:v>
                </c:pt>
                <c:pt idx="666">
                  <c:v>3.9590001106262198</c:v>
                </c:pt>
                <c:pt idx="667">
                  <c:v>4.0029997825622603</c:v>
                </c:pt>
                <c:pt idx="668">
                  <c:v>4.0599999427795401</c:v>
                </c:pt>
                <c:pt idx="669">
                  <c:v>4.1020002365112296</c:v>
                </c:pt>
                <c:pt idx="670">
                  <c:v>3.9709999561309801</c:v>
                </c:pt>
                <c:pt idx="671">
                  <c:v>4.0440001487731898</c:v>
                </c:pt>
                <c:pt idx="672">
                  <c:v>4.05900001525879</c:v>
                </c:pt>
                <c:pt idx="673">
                  <c:v>3.9140000343322798</c:v>
                </c:pt>
                <c:pt idx="674">
                  <c:v>3.9349999427795401</c:v>
                </c:pt>
                <c:pt idx="675">
                  <c:v>4.02699995040894</c:v>
                </c:pt>
                <c:pt idx="676">
                  <c:v>4.1579999923706099</c:v>
                </c:pt>
                <c:pt idx="677">
                  <c:v>4.1399998664856001</c:v>
                </c:pt>
                <c:pt idx="678">
                  <c:v>4.1399998664856001</c:v>
                </c:pt>
                <c:pt idx="679">
                  <c:v>4.0599999427795401</c:v>
                </c:pt>
                <c:pt idx="680">
                  <c:v>4.0890002250671396</c:v>
                </c:pt>
                <c:pt idx="681">
                  <c:v>4.05900001525879</c:v>
                </c:pt>
                <c:pt idx="682">
                  <c:v>3.9330000877380402</c:v>
                </c:pt>
                <c:pt idx="683">
                  <c:v>3.8610000610351598</c:v>
                </c:pt>
                <c:pt idx="684">
                  <c:v>3.9460000991821298</c:v>
                </c:pt>
                <c:pt idx="685">
                  <c:v>3.8369998931884801</c:v>
                </c:pt>
                <c:pt idx="686">
                  <c:v>3.85199999809265</c:v>
                </c:pt>
                <c:pt idx="687">
                  <c:v>3.8299999237060498</c:v>
                </c:pt>
                <c:pt idx="688">
                  <c:v>3.8510000705718999</c:v>
                </c:pt>
                <c:pt idx="689">
                  <c:v>3.9449999332428001</c:v>
                </c:pt>
                <c:pt idx="690">
                  <c:v>3.8959999084472701</c:v>
                </c:pt>
                <c:pt idx="691">
                  <c:v>3.8970000743865998</c:v>
                </c:pt>
                <c:pt idx="692">
                  <c:v>4.18400001525879</c:v>
                </c:pt>
                <c:pt idx="693">
                  <c:v>4.3699998855590803</c:v>
                </c:pt>
                <c:pt idx="694">
                  <c:v>4.3049998283386204</c:v>
                </c:pt>
                <c:pt idx="695">
                  <c:v>4.3769998550415004</c:v>
                </c:pt>
                <c:pt idx="696">
                  <c:v>4.6149997711181596</c:v>
                </c:pt>
                <c:pt idx="697">
                  <c:v>4.6409997940063503</c:v>
                </c:pt>
                <c:pt idx="698">
                  <c:v>4.7119998931884801</c:v>
                </c:pt>
                <c:pt idx="699">
                  <c:v>4.7119998931884801</c:v>
                </c:pt>
                <c:pt idx="700">
                  <c:v>4.5679998397827104</c:v>
                </c:pt>
                <c:pt idx="701">
                  <c:v>4.9140000343322798</c:v>
                </c:pt>
                <c:pt idx="702">
                  <c:v>5.0310001373290998</c:v>
                </c:pt>
                <c:pt idx="703">
                  <c:v>4.9380002021789604</c:v>
                </c:pt>
                <c:pt idx="704">
                  <c:v>5.2309999465942401</c:v>
                </c:pt>
                <c:pt idx="705">
                  <c:v>5.2600002288818404</c:v>
                </c:pt>
                <c:pt idx="706">
                  <c:v>5.46000003814697</c:v>
                </c:pt>
                <c:pt idx="707">
                  <c:v>5.33500003814697</c:v>
                </c:pt>
                <c:pt idx="708">
                  <c:v>5.1050000190734899</c:v>
                </c:pt>
                <c:pt idx="709">
                  <c:v>4.9850001335143999</c:v>
                </c:pt>
                <c:pt idx="710">
                  <c:v>4.8049998283386204</c:v>
                </c:pt>
                <c:pt idx="711">
                  <c:v>4.8049998283386204</c:v>
                </c:pt>
                <c:pt idx="712">
                  <c:v>4.9759998321533203</c:v>
                </c:pt>
                <c:pt idx="713">
                  <c:v>5.1399998664856001</c:v>
                </c:pt>
                <c:pt idx="714">
                  <c:v>5.7059998512268102</c:v>
                </c:pt>
                <c:pt idx="715">
                  <c:v>5.8410000801086399</c:v>
                </c:pt>
                <c:pt idx="716">
                  <c:v>5.4770002365112296</c:v>
                </c:pt>
                <c:pt idx="717">
                  <c:v>5.8670001029968297</c:v>
                </c:pt>
                <c:pt idx="718">
                  <c:v>5.6189999580383301</c:v>
                </c:pt>
                <c:pt idx="719">
                  <c:v>5.7659997940063503</c:v>
                </c:pt>
                <c:pt idx="720">
                  <c:v>6.3119997978210396</c:v>
                </c:pt>
                <c:pt idx="721">
                  <c:v>5.6750001907348597</c:v>
                </c:pt>
                <c:pt idx="722">
                  <c:v>5.6770000457763699</c:v>
                </c:pt>
                <c:pt idx="723">
                  <c:v>5.5650000572204599</c:v>
                </c:pt>
                <c:pt idx="724">
                  <c:v>5.3449997901916504</c:v>
                </c:pt>
                <c:pt idx="725">
                  <c:v>5.5050001144409197</c:v>
                </c:pt>
                <c:pt idx="726">
                  <c:v>5.5900001525878897</c:v>
                </c:pt>
                <c:pt idx="727">
                  <c:v>5.6869997978210396</c:v>
                </c:pt>
                <c:pt idx="728">
                  <c:v>5.4099998474121103</c:v>
                </c:pt>
                <c:pt idx="729">
                  <c:v>4.9889998435974103</c:v>
                </c:pt>
                <c:pt idx="730">
                  <c:v>5.0879998207092303</c:v>
                </c:pt>
                <c:pt idx="731">
                  <c:v>5.1700000762939498</c:v>
                </c:pt>
                <c:pt idx="732">
                  <c:v>5.1149997711181596</c:v>
                </c:pt>
                <c:pt idx="733">
                  <c:v>5.2800002098083496</c:v>
                </c:pt>
                <c:pt idx="734">
                  <c:v>5.8979997634887704</c:v>
                </c:pt>
                <c:pt idx="735">
                  <c:v>5.8819999694824201</c:v>
                </c:pt>
                <c:pt idx="736">
                  <c:v>6.2020001411437997</c:v>
                </c:pt>
                <c:pt idx="739">
                  <c:v>5.1859998703002903</c:v>
                </c:pt>
                <c:pt idx="740">
                  <c:v>5.5419998168945304</c:v>
                </c:pt>
                <c:pt idx="741">
                  <c:v>5.6700000762939498</c:v>
                </c:pt>
                <c:pt idx="742">
                  <c:v>5.7160000801086399</c:v>
                </c:pt>
                <c:pt idx="743">
                  <c:v>5.5159997940063503</c:v>
                </c:pt>
                <c:pt idx="744">
                  <c:v>5.4270000457763699</c:v>
                </c:pt>
                <c:pt idx="745">
                  <c:v>4.9790000915527299</c:v>
                </c:pt>
                <c:pt idx="746">
                  <c:v>4.8800001144409197</c:v>
                </c:pt>
                <c:pt idx="747">
                  <c:v>5.1490001678466797</c:v>
                </c:pt>
                <c:pt idx="748">
                  <c:v>4.7909998893737802</c:v>
                </c:pt>
                <c:pt idx="749">
                  <c:v>5.0170001983642596</c:v>
                </c:pt>
                <c:pt idx="750">
                  <c:v>5.1770000457763699</c:v>
                </c:pt>
                <c:pt idx="751">
                  <c:v>4.81599998474121</c:v>
                </c:pt>
                <c:pt idx="752">
                  <c:v>4.90199995040894</c:v>
                </c:pt>
                <c:pt idx="753">
                  <c:v>5.0650000572204599</c:v>
                </c:pt>
                <c:pt idx="754">
                  <c:v>4.7890000343322798</c:v>
                </c:pt>
                <c:pt idx="755">
                  <c:v>4.9670000076293901</c:v>
                </c:pt>
                <c:pt idx="756">
                  <c:v>5.0679998397827104</c:v>
                </c:pt>
                <c:pt idx="757">
                  <c:v>5.44700002670288</c:v>
                </c:pt>
                <c:pt idx="760">
                  <c:v>4.2579998970031703</c:v>
                </c:pt>
                <c:pt idx="761">
                  <c:v>4.0560002326965297</c:v>
                </c:pt>
                <c:pt idx="762">
                  <c:v>4.1319999694824201</c:v>
                </c:pt>
                <c:pt idx="763">
                  <c:v>3.65700006484985</c:v>
                </c:pt>
                <c:pt idx="764">
                  <c:v>3.7079999446868901</c:v>
                </c:pt>
                <c:pt idx="765">
                  <c:v>3.8150000572204599</c:v>
                </c:pt>
                <c:pt idx="766">
                  <c:v>3.8139998912811302</c:v>
                </c:pt>
                <c:pt idx="767">
                  <c:v>3.9249999523162802</c:v>
                </c:pt>
                <c:pt idx="768">
                  <c:v>3.7939999103546098</c:v>
                </c:pt>
                <c:pt idx="769">
                  <c:v>3.7469999790191699</c:v>
                </c:pt>
                <c:pt idx="770">
                  <c:v>3.8020000457763699</c:v>
                </c:pt>
                <c:pt idx="771">
                  <c:v>3.7660000324249299</c:v>
                </c:pt>
                <c:pt idx="772">
                  <c:v>3.6900000572204599</c:v>
                </c:pt>
                <c:pt idx="773">
                  <c:v>3.8340001106262198</c:v>
                </c:pt>
                <c:pt idx="774">
                  <c:v>3.8689999580383301</c:v>
                </c:pt>
                <c:pt idx="775">
                  <c:v>3.9760000705718999</c:v>
                </c:pt>
                <c:pt idx="776">
                  <c:v>3.7309999465942401</c:v>
                </c:pt>
                <c:pt idx="777">
                  <c:v>4.0599999427795401</c:v>
                </c:pt>
                <c:pt idx="778">
                  <c:v>4.0549998283386204</c:v>
                </c:pt>
                <c:pt idx="779">
                  <c:v>4.0240001678466797</c:v>
                </c:pt>
                <c:pt idx="782">
                  <c:v>3.8150000572204599</c:v>
                </c:pt>
                <c:pt idx="783">
                  <c:v>3.7170000076293901</c:v>
                </c:pt>
                <c:pt idx="784">
                  <c:v>3.8819999694824201</c:v>
                </c:pt>
                <c:pt idx="785">
                  <c:v>3.81200003623962</c:v>
                </c:pt>
                <c:pt idx="786">
                  <c:v>3.9159998893737802</c:v>
                </c:pt>
                <c:pt idx="787">
                  <c:v>4.0789999961853001</c:v>
                </c:pt>
                <c:pt idx="788">
                  <c:v>4.2490000724792498</c:v>
                </c:pt>
                <c:pt idx="789">
                  <c:v>4.8569998741149902</c:v>
                </c:pt>
                <c:pt idx="790">
                  <c:v>4.2699999809265101</c:v>
                </c:pt>
                <c:pt idx="791">
                  <c:v>4.2620000839233398</c:v>
                </c:pt>
                <c:pt idx="792">
                  <c:v>4.2829999923706099</c:v>
                </c:pt>
                <c:pt idx="793">
                  <c:v>4.0310001373290998</c:v>
                </c:pt>
                <c:pt idx="794">
                  <c:v>3.8020000457763699</c:v>
                </c:pt>
                <c:pt idx="795">
                  <c:v>3.9990000724792498</c:v>
                </c:pt>
                <c:pt idx="796">
                  <c:v>4.02699995040894</c:v>
                </c:pt>
                <c:pt idx="797">
                  <c:v>4.05299997329712</c:v>
                </c:pt>
                <c:pt idx="798">
                  <c:v>4.27699995040894</c:v>
                </c:pt>
                <c:pt idx="799">
                  <c:v>6.2649998664856001</c:v>
                </c:pt>
                <c:pt idx="802">
                  <c:v>4.7509999275207502</c:v>
                </c:pt>
                <c:pt idx="803">
                  <c:v>5.5009999275207502</c:v>
                </c:pt>
                <c:pt idx="804">
                  <c:v>4.88800001144409</c:v>
                </c:pt>
                <c:pt idx="805">
                  <c:v>4.57200002670288</c:v>
                </c:pt>
                <c:pt idx="806">
                  <c:v>4.2319998741149902</c:v>
                </c:pt>
                <c:pt idx="807">
                  <c:v>4.2480001449584996</c:v>
                </c:pt>
                <c:pt idx="808">
                  <c:v>4.0089998245239302</c:v>
                </c:pt>
                <c:pt idx="809">
                  <c:v>3.9590001106262198</c:v>
                </c:pt>
                <c:pt idx="810">
                  <c:v>3.94099998474121</c:v>
                </c:pt>
                <c:pt idx="811">
                  <c:v>4.1950001716613796</c:v>
                </c:pt>
                <c:pt idx="812">
                  <c:v>4.3060002326965297</c:v>
                </c:pt>
                <c:pt idx="813">
                  <c:v>4.7170000076293901</c:v>
                </c:pt>
                <c:pt idx="814">
                  <c:v>4.4860000610351598</c:v>
                </c:pt>
                <c:pt idx="815">
                  <c:v>4.4310002326965297</c:v>
                </c:pt>
                <c:pt idx="816">
                  <c:v>4.4980001449584996</c:v>
                </c:pt>
                <c:pt idx="817">
                  <c:v>4.6230001449584996</c:v>
                </c:pt>
                <c:pt idx="818">
                  <c:v>4.5679998397827104</c:v>
                </c:pt>
                <c:pt idx="821">
                  <c:v>4.5729999542236301</c:v>
                </c:pt>
                <c:pt idx="822">
                  <c:v>4.7620000839233398</c:v>
                </c:pt>
                <c:pt idx="823">
                  <c:v>4.7220001220703098</c:v>
                </c:pt>
                <c:pt idx="824">
                  <c:v>5.0159997940063503</c:v>
                </c:pt>
                <c:pt idx="825">
                  <c:v>4.8330001831054696</c:v>
                </c:pt>
                <c:pt idx="826">
                  <c:v>4.52699995040894</c:v>
                </c:pt>
                <c:pt idx="827">
                  <c:v>4.52600002288818</c:v>
                </c:pt>
                <c:pt idx="828">
                  <c:v>4.6310000419616699</c:v>
                </c:pt>
                <c:pt idx="829">
                  <c:v>4.7249999046325701</c:v>
                </c:pt>
                <c:pt idx="830">
                  <c:v>4.6579999923706099</c:v>
                </c:pt>
                <c:pt idx="831">
                  <c:v>4.5679998397827104</c:v>
                </c:pt>
                <c:pt idx="832">
                  <c:v>4.7480001449584996</c:v>
                </c:pt>
                <c:pt idx="833">
                  <c:v>4.9899997711181596</c:v>
                </c:pt>
                <c:pt idx="834">
                  <c:v>4.8629999160766602</c:v>
                </c:pt>
                <c:pt idx="835">
                  <c:v>4.9000000953674299</c:v>
                </c:pt>
                <c:pt idx="836">
                  <c:v>5.1869997978210396</c:v>
                </c:pt>
                <c:pt idx="837">
                  <c:v>5.2319998741149902</c:v>
                </c:pt>
                <c:pt idx="838">
                  <c:v>5.40100002288818</c:v>
                </c:pt>
                <c:pt idx="839">
                  <c:v>5.5710000991821298</c:v>
                </c:pt>
                <c:pt idx="840">
                  <c:v>5.5079998970031703</c:v>
                </c:pt>
                <c:pt idx="841">
                  <c:v>5.3359999656677202</c:v>
                </c:pt>
                <c:pt idx="844">
                  <c:v>5.7199997901916504</c:v>
                </c:pt>
                <c:pt idx="845">
                  <c:v>5.7119998931884801</c:v>
                </c:pt>
                <c:pt idx="846">
                  <c:v>6.03200006484985</c:v>
                </c:pt>
                <c:pt idx="847">
                  <c:v>6.0289998054504403</c:v>
                </c:pt>
                <c:pt idx="848">
                  <c:v>6.3590002059936497</c:v>
                </c:pt>
                <c:pt idx="849">
                  <c:v>6.2779998779296902</c:v>
                </c:pt>
                <c:pt idx="850">
                  <c:v>6.6430001258850098</c:v>
                </c:pt>
                <c:pt idx="851">
                  <c:v>6.6799998283386204</c:v>
                </c:pt>
                <c:pt idx="852">
                  <c:v>6.9970002174377397</c:v>
                </c:pt>
                <c:pt idx="853">
                  <c:v>7.3000001907348597</c:v>
                </c:pt>
                <c:pt idx="854">
                  <c:v>7.8200001716613796</c:v>
                </c:pt>
                <c:pt idx="855">
                  <c:v>7.1760001182556197</c:v>
                </c:pt>
                <c:pt idx="856">
                  <c:v>6.9369997978210396</c:v>
                </c:pt>
                <c:pt idx="857">
                  <c:v>6.9569997787475604</c:v>
                </c:pt>
                <c:pt idx="858">
                  <c:v>6.5339999198913601</c:v>
                </c:pt>
                <c:pt idx="859">
                  <c:v>6.6690001487731898</c:v>
                </c:pt>
                <c:pt idx="860">
                  <c:v>6.8499999046325701</c:v>
                </c:pt>
                <c:pt idx="861">
                  <c:v>7.2670001983642596</c:v>
                </c:pt>
                <c:pt idx="864">
                  <c:v>7.4749999046325701</c:v>
                </c:pt>
                <c:pt idx="865">
                  <c:v>7.9539999961853001</c:v>
                </c:pt>
                <c:pt idx="866">
                  <c:v>8.4149999618530291</c:v>
                </c:pt>
                <c:pt idx="867">
                  <c:v>8.7829999923706108</c:v>
                </c:pt>
                <c:pt idx="868">
                  <c:v>8.0430002212524396</c:v>
                </c:pt>
                <c:pt idx="869">
                  <c:v>7.02600002288818</c:v>
                </c:pt>
                <c:pt idx="870">
                  <c:v>7.3850002288818404</c:v>
                </c:pt>
                <c:pt idx="871">
                  <c:v>7.6399998664856001</c:v>
                </c:pt>
                <c:pt idx="872">
                  <c:v>7.7389998435974103</c:v>
                </c:pt>
                <c:pt idx="873">
                  <c:v>7.6630001068115199</c:v>
                </c:pt>
                <c:pt idx="874">
                  <c:v>7.9559998512268102</c:v>
                </c:pt>
                <c:pt idx="875">
                  <c:v>8.3039999008178693</c:v>
                </c:pt>
                <c:pt idx="876">
                  <c:v>8.3680000305175799</c:v>
                </c:pt>
                <c:pt idx="877">
                  <c:v>8.3079996109008807</c:v>
                </c:pt>
                <c:pt idx="878">
                  <c:v>8.0830001831054705</c:v>
                </c:pt>
                <c:pt idx="879">
                  <c:v>8.7440004348754901</c:v>
                </c:pt>
                <c:pt idx="880">
                  <c:v>8.7959995269775408</c:v>
                </c:pt>
                <c:pt idx="881">
                  <c:v>8.9709997177124006</c:v>
                </c:pt>
                <c:pt idx="882">
                  <c:v>8.9079999923706108</c:v>
                </c:pt>
                <c:pt idx="885">
                  <c:v>8.6960000991821307</c:v>
                </c:pt>
                <c:pt idx="886">
                  <c:v>8.4849996566772496</c:v>
                </c:pt>
                <c:pt idx="887">
                  <c:v>8.5229997634887695</c:v>
                </c:pt>
                <c:pt idx="888">
                  <c:v>9.3219995498657209</c:v>
                </c:pt>
                <c:pt idx="889">
                  <c:v>9.2930002212524396</c:v>
                </c:pt>
                <c:pt idx="890">
                  <c:v>8.6990003585815394</c:v>
                </c:pt>
                <c:pt idx="891">
                  <c:v>8.9630002975463903</c:v>
                </c:pt>
                <c:pt idx="892">
                  <c:v>8.8500003814697301</c:v>
                </c:pt>
                <c:pt idx="893">
                  <c:v>8.6090002059936506</c:v>
                </c:pt>
                <c:pt idx="894">
                  <c:v>7.1890001296997097</c:v>
                </c:pt>
                <c:pt idx="895">
                  <c:v>7.4200000762939498</c:v>
                </c:pt>
                <c:pt idx="896">
                  <c:v>7.4640002250671396</c:v>
                </c:pt>
                <c:pt idx="897">
                  <c:v>6.9439997673034703</c:v>
                </c:pt>
                <c:pt idx="898">
                  <c:v>6.8080000877380398</c:v>
                </c:pt>
                <c:pt idx="899">
                  <c:v>6.8579998016357404</c:v>
                </c:pt>
                <c:pt idx="900">
                  <c:v>6.2389998435974103</c:v>
                </c:pt>
                <c:pt idx="901">
                  <c:v>6.2199997901916504</c:v>
                </c:pt>
                <c:pt idx="902">
                  <c:v>6.5009999275207502</c:v>
                </c:pt>
                <c:pt idx="903">
                  <c:v>6.5510001182556197</c:v>
                </c:pt>
                <c:pt idx="906">
                  <c:v>5.7300000190734899</c:v>
                </c:pt>
                <c:pt idx="907">
                  <c:v>5.5229997634887704</c:v>
                </c:pt>
                <c:pt idx="908">
                  <c:v>5.5100002288818404</c:v>
                </c:pt>
                <c:pt idx="909">
                  <c:v>6.2969999313354501</c:v>
                </c:pt>
                <c:pt idx="910">
                  <c:v>6.0339999198913601</c:v>
                </c:pt>
                <c:pt idx="911">
                  <c:v>6.4260001182556197</c:v>
                </c:pt>
                <c:pt idx="912">
                  <c:v>6.1630001068115199</c:v>
                </c:pt>
                <c:pt idx="913">
                  <c:v>6.6890001296997097</c:v>
                </c:pt>
                <c:pt idx="914">
                  <c:v>6.5999999046325701</c:v>
                </c:pt>
                <c:pt idx="915">
                  <c:v>7.0159997940063503</c:v>
                </c:pt>
                <c:pt idx="916">
                  <c:v>7.4790000915527299</c:v>
                </c:pt>
                <c:pt idx="917">
                  <c:v>7.2639999389648402</c:v>
                </c:pt>
                <c:pt idx="918">
                  <c:v>8.0069999694824201</c:v>
                </c:pt>
                <c:pt idx="919">
                  <c:v>7.9320001602172896</c:v>
                </c:pt>
                <c:pt idx="920">
                  <c:v>8.2989997863769496</c:v>
                </c:pt>
                <c:pt idx="921">
                  <c:v>8.7270002365112305</c:v>
                </c:pt>
                <c:pt idx="922">
                  <c:v>8.9930000305175799</c:v>
                </c:pt>
                <c:pt idx="923">
                  <c:v>8.6870002746581996</c:v>
                </c:pt>
                <c:pt idx="926">
                  <c:v>8.2829999923706108</c:v>
                </c:pt>
                <c:pt idx="927">
                  <c:v>7.7059998512268102</c:v>
                </c:pt>
                <c:pt idx="928">
                  <c:v>8.2659997940063494</c:v>
                </c:pt>
                <c:pt idx="929">
                  <c:v>8.1219997406005895</c:v>
                </c:pt>
                <c:pt idx="930">
                  <c:v>8.0640001296997106</c:v>
                </c:pt>
                <c:pt idx="931">
                  <c:v>7.5890002250671396</c:v>
                </c:pt>
                <c:pt idx="932">
                  <c:v>7.8330001831054696</c:v>
                </c:pt>
                <c:pt idx="933">
                  <c:v>8.2019996643066406</c:v>
                </c:pt>
                <c:pt idx="934">
                  <c:v>8.8739995956420898</c:v>
                </c:pt>
                <c:pt idx="935">
                  <c:v>8.7679996490478498</c:v>
                </c:pt>
                <c:pt idx="936">
                  <c:v>8.7279996871948207</c:v>
                </c:pt>
                <c:pt idx="937">
                  <c:v>9.3290004730224592</c:v>
                </c:pt>
                <c:pt idx="938">
                  <c:v>9.2440004348754901</c:v>
                </c:pt>
                <c:pt idx="939">
                  <c:v>9.1879997253418004</c:v>
                </c:pt>
                <c:pt idx="940">
                  <c:v>9.3360004425048793</c:v>
                </c:pt>
                <c:pt idx="941">
                  <c:v>9.6800003051757795</c:v>
                </c:pt>
                <c:pt idx="942">
                  <c:v>9.1929998397827095</c:v>
                </c:pt>
                <c:pt idx="943">
                  <c:v>9.3299999237060494</c:v>
                </c:pt>
                <c:pt idx="944">
                  <c:v>9.375</c:v>
                </c:pt>
                <c:pt idx="945">
                  <c:v>9.2959995269775408</c:v>
                </c:pt>
                <c:pt idx="946">
                  <c:v>9.3529996871948207</c:v>
                </c:pt>
                <c:pt idx="948">
                  <c:v>9.2620000839233398</c:v>
                </c:pt>
                <c:pt idx="949">
                  <c:v>8.7860002517700195</c:v>
                </c:pt>
                <c:pt idx="950">
                  <c:v>8.1450004577636701</c:v>
                </c:pt>
                <c:pt idx="951">
                  <c:v>7.8420000076293901</c:v>
                </c:pt>
                <c:pt idx="952">
                  <c:v>7.91499996185303</c:v>
                </c:pt>
                <c:pt idx="953">
                  <c:v>7.9959998130798304</c:v>
                </c:pt>
                <c:pt idx="954">
                  <c:v>8.2489995956420898</c:v>
                </c:pt>
                <c:pt idx="955">
                  <c:v>8.2840003967285192</c:v>
                </c:pt>
                <c:pt idx="956">
                  <c:v>9.1140003204345703</c:v>
                </c:pt>
                <c:pt idx="957">
                  <c:v>8.3240003585815394</c:v>
                </c:pt>
                <c:pt idx="958">
                  <c:v>7.7639999389648402</c:v>
                </c:pt>
                <c:pt idx="959">
                  <c:v>7.7519998550415004</c:v>
                </c:pt>
                <c:pt idx="960">
                  <c:v>7.7170000076293901</c:v>
                </c:pt>
                <c:pt idx="961">
                  <c:v>7.7789998054504403</c:v>
                </c:pt>
                <c:pt idx="962">
                  <c:v>7.0890002250671396</c:v>
                </c:pt>
                <c:pt idx="963">
                  <c:v>6.8280000686645499</c:v>
                </c:pt>
                <c:pt idx="964">
                  <c:v>6.9029998779296902</c:v>
                </c:pt>
                <c:pt idx="965">
                  <c:v>6.65100002288818</c:v>
                </c:pt>
                <c:pt idx="966">
                  <c:v>6.8680000305175799</c:v>
                </c:pt>
                <c:pt idx="969">
                  <c:v>6.4699997901916504</c:v>
                </c:pt>
                <c:pt idx="970">
                  <c:v>6.8369998931884801</c:v>
                </c:pt>
                <c:pt idx="971">
                  <c:v>6.9299998283386204</c:v>
                </c:pt>
                <c:pt idx="972">
                  <c:v>6.9720001220703098</c:v>
                </c:pt>
                <c:pt idx="973">
                  <c:v>6.7480001449584996</c:v>
                </c:pt>
                <c:pt idx="974">
                  <c:v>6.4349999427795401</c:v>
                </c:pt>
                <c:pt idx="975">
                  <c:v>6.5960001945495597</c:v>
                </c:pt>
                <c:pt idx="976">
                  <c:v>6.4349999427795401</c:v>
                </c:pt>
                <c:pt idx="977">
                  <c:v>6.7410001754760698</c:v>
                </c:pt>
                <c:pt idx="978">
                  <c:v>6.4530000686645499</c:v>
                </c:pt>
                <c:pt idx="979">
                  <c:v>5.9990000724792498</c:v>
                </c:pt>
                <c:pt idx="980">
                  <c:v>5.7449998855590803</c:v>
                </c:pt>
                <c:pt idx="981">
                  <c:v>5.4619998931884801</c:v>
                </c:pt>
                <c:pt idx="982">
                  <c:v>5.3579998016357404</c:v>
                </c:pt>
                <c:pt idx="983">
                  <c:v>4.9590001106262198</c:v>
                </c:pt>
                <c:pt idx="984">
                  <c:v>5.1989998817443803</c:v>
                </c:pt>
                <c:pt idx="985">
                  <c:v>5.6129999160766602</c:v>
                </c:pt>
                <c:pt idx="986">
                  <c:v>5.6059999465942401</c:v>
                </c:pt>
                <c:pt idx="987">
                  <c:v>5.1859998703002903</c:v>
                </c:pt>
                <c:pt idx="990">
                  <c:v>5.7140002250671396</c:v>
                </c:pt>
                <c:pt idx="991">
                  <c:v>6.2680001258850098</c:v>
                </c:pt>
                <c:pt idx="992">
                  <c:v>5.9749999046325701</c:v>
                </c:pt>
                <c:pt idx="993">
                  <c:v>6.4000000953674299</c:v>
                </c:pt>
                <c:pt idx="994">
                  <c:v>6.9439997673034703</c:v>
                </c:pt>
                <c:pt idx="995">
                  <c:v>6.13800001144409</c:v>
                </c:pt>
                <c:pt idx="996">
                  <c:v>5.8649997711181596</c:v>
                </c:pt>
                <c:pt idx="997">
                  <c:v>6.2389998435974103</c:v>
                </c:pt>
                <c:pt idx="998">
                  <c:v>5.8790001869201696</c:v>
                </c:pt>
                <c:pt idx="999">
                  <c:v>5.9330000877380398</c:v>
                </c:pt>
                <c:pt idx="1000">
                  <c:v>6.0339999198913601</c:v>
                </c:pt>
                <c:pt idx="1001">
                  <c:v>6.1999998092651403</c:v>
                </c:pt>
                <c:pt idx="1002">
                  <c:v>6.3689999580383301</c:v>
                </c:pt>
                <c:pt idx="1003">
                  <c:v>6.30299997329712</c:v>
                </c:pt>
                <c:pt idx="1004">
                  <c:v>6.77600002288818</c:v>
                </c:pt>
                <c:pt idx="1005">
                  <c:v>6.7789998054504403</c:v>
                </c:pt>
                <c:pt idx="1006">
                  <c:v>7.3080000877380398</c:v>
                </c:pt>
                <c:pt idx="1007">
                  <c:v>7.0240001678466797</c:v>
                </c:pt>
                <c:pt idx="1008">
                  <c:v>6.7119998931884801</c:v>
                </c:pt>
                <c:pt idx="1011">
                  <c:v>6.7379999160766602</c:v>
                </c:pt>
                <c:pt idx="1012">
                  <c:v>6.2810001373290998</c:v>
                </c:pt>
                <c:pt idx="1013">
                  <c:v>5.5770001411437997</c:v>
                </c:pt>
                <c:pt idx="1014">
                  <c:v>5.4689998626709002</c:v>
                </c:pt>
                <c:pt idx="1015">
                  <c:v>5.72300004959106</c:v>
                </c:pt>
                <c:pt idx="1016">
                  <c:v>5.9619998931884801</c:v>
                </c:pt>
                <c:pt idx="1017">
                  <c:v>6.2449998855590803</c:v>
                </c:pt>
                <c:pt idx="1018">
                  <c:v>6.5869998931884801</c:v>
                </c:pt>
                <c:pt idx="1019">
                  <c:v>6.9349999427795401</c:v>
                </c:pt>
                <c:pt idx="1020">
                  <c:v>6.4299998283386204</c:v>
                </c:pt>
                <c:pt idx="1021">
                  <c:v>6.9699997901916504</c:v>
                </c:pt>
                <c:pt idx="1022">
                  <c:v>6.5999999046325701</c:v>
                </c:pt>
                <c:pt idx="1023">
                  <c:v>5.8509998321533203</c:v>
                </c:pt>
                <c:pt idx="1024">
                  <c:v>5.3260002136230504</c:v>
                </c:pt>
                <c:pt idx="1025">
                  <c:v>5.3319997787475604</c:v>
                </c:pt>
                <c:pt idx="1026">
                  <c:v>4.9990000724792498</c:v>
                </c:pt>
                <c:pt idx="1027">
                  <c:v>5.0789999961853001</c:v>
                </c:pt>
                <c:pt idx="1028">
                  <c:v>5.28200006484985</c:v>
                </c:pt>
                <c:pt idx="1029">
                  <c:v>4.7090001106262198</c:v>
                </c:pt>
                <c:pt idx="1032">
                  <c:v>3.9879999160766602</c:v>
                </c:pt>
                <c:pt idx="1033">
                  <c:v>4.1719999313354501</c:v>
                </c:pt>
                <c:pt idx="1034">
                  <c:v>3.7200000286102299</c:v>
                </c:pt>
                <c:pt idx="1035">
                  <c:v>3.71000003814697</c:v>
                </c:pt>
                <c:pt idx="1036">
                  <c:v>3.9100000858306898</c:v>
                </c:pt>
                <c:pt idx="1037">
                  <c:v>3.6389999389648402</c:v>
                </c:pt>
                <c:pt idx="1038">
                  <c:v>3.6710000038146999</c:v>
                </c:pt>
                <c:pt idx="1039">
                  <c:v>3.6949999332428001</c:v>
                </c:pt>
                <c:pt idx="1040">
                  <c:v>3.4189999103546098</c:v>
                </c:pt>
                <c:pt idx="1041">
                  <c:v>3.5859999656677202</c:v>
                </c:pt>
                <c:pt idx="1042">
                  <c:v>3.3110001087188698</c:v>
                </c:pt>
                <c:pt idx="1043">
                  <c:v>3.2750000953674299</c:v>
                </c:pt>
                <c:pt idx="1044">
                  <c:v>3.17400002479553</c:v>
                </c:pt>
                <c:pt idx="1045">
                  <c:v>3.44700002670288</c:v>
                </c:pt>
                <c:pt idx="1046">
                  <c:v>3.2579998970031698</c:v>
                </c:pt>
                <c:pt idx="1047">
                  <c:v>3.0669999122619598</c:v>
                </c:pt>
                <c:pt idx="1048">
                  <c:v>2.9440000057220499</c:v>
                </c:pt>
                <c:pt idx="1049">
                  <c:v>3.1089999675750701</c:v>
                </c:pt>
                <c:pt idx="1052">
                  <c:v>2.46799993515015</c:v>
                </c:pt>
                <c:pt idx="1053">
                  <c:v>2.4560000896453902</c:v>
                </c:pt>
                <c:pt idx="1054">
                  <c:v>2.4100000858306898</c:v>
                </c:pt>
                <c:pt idx="1055">
                  <c:v>2.4570000171661399</c:v>
                </c:pt>
                <c:pt idx="1056">
                  <c:v>2.5840001106262198</c:v>
                </c:pt>
                <c:pt idx="1057">
                  <c:v>2.3959999084472701</c:v>
                </c:pt>
                <c:pt idx="1058">
                  <c:v>2.4300000667571999</c:v>
                </c:pt>
                <c:pt idx="1059">
                  <c:v>2.5139999389648402</c:v>
                </c:pt>
                <c:pt idx="1060">
                  <c:v>2.4049999713897701</c:v>
                </c:pt>
                <c:pt idx="1061">
                  <c:v>2.5669999122619598</c:v>
                </c:pt>
                <c:pt idx="1062">
                  <c:v>2.4709999561309801</c:v>
                </c:pt>
                <c:pt idx="1063">
                  <c:v>2.3889999389648402</c:v>
                </c:pt>
                <c:pt idx="1064">
                  <c:v>2.0729999542236301</c:v>
                </c:pt>
                <c:pt idx="1065">
                  <c:v>2.17400002479553</c:v>
                </c:pt>
                <c:pt idx="1066">
                  <c:v>2.3139998912811302</c:v>
                </c:pt>
                <c:pt idx="1067">
                  <c:v>2.45099997520447</c:v>
                </c:pt>
                <c:pt idx="1070">
                  <c:v>2.8110001087188698</c:v>
                </c:pt>
                <c:pt idx="1071">
                  <c:v>2.7650001049041699</c:v>
                </c:pt>
                <c:pt idx="1072">
                  <c:v>3.0090000629425</c:v>
                </c:pt>
                <c:pt idx="1073">
                  <c:v>2.57200002670288</c:v>
                </c:pt>
                <c:pt idx="1074">
                  <c:v>2.68700003623962</c:v>
                </c:pt>
                <c:pt idx="1075">
                  <c:v>2.5510001182556201</c:v>
                </c:pt>
                <c:pt idx="1076">
                  <c:v>2.5429999828338601</c:v>
                </c:pt>
                <c:pt idx="1077">
                  <c:v>2.4300000667571999</c:v>
                </c:pt>
                <c:pt idx="1078">
                  <c:v>2.6059999465942401</c:v>
                </c:pt>
                <c:pt idx="1079">
                  <c:v>2.5729999542236301</c:v>
                </c:pt>
                <c:pt idx="1080">
                  <c:v>2.4389998912811302</c:v>
                </c:pt>
                <c:pt idx="1081">
                  <c:v>2.5139999389648402</c:v>
                </c:pt>
                <c:pt idx="1082">
                  <c:v>2.3380000591278098</c:v>
                </c:pt>
                <c:pt idx="1083">
                  <c:v>2.22300004959106</c:v>
                </c:pt>
                <c:pt idx="1084">
                  <c:v>2.34800004959106</c:v>
                </c:pt>
                <c:pt idx="1085">
                  <c:v>2.1710000038146999</c:v>
                </c:pt>
                <c:pt idx="1086">
                  <c:v>2.1540000438690199</c:v>
                </c:pt>
                <c:pt idx="1087">
                  <c:v>2.2160000801086399</c:v>
                </c:pt>
                <c:pt idx="1088">
                  <c:v>2.0880000591278098</c:v>
                </c:pt>
                <c:pt idx="1089">
                  <c:v>2.0299999713897701</c:v>
                </c:pt>
                <c:pt idx="1090">
                  <c:v>1.99100005626678</c:v>
                </c:pt>
                <c:pt idx="1093">
                  <c:v>2.0969998836517298</c:v>
                </c:pt>
                <c:pt idx="1094">
                  <c:v>2.1059999465942401</c:v>
                </c:pt>
                <c:pt idx="1095">
                  <c:v>2.1549999713897701</c:v>
                </c:pt>
                <c:pt idx="1096">
                  <c:v>2.0109999179840101</c:v>
                </c:pt>
                <c:pt idx="1097">
                  <c:v>2.1719999313354501</c:v>
                </c:pt>
                <c:pt idx="1098">
                  <c:v>2.1860001087188698</c:v>
                </c:pt>
                <c:pt idx="1099">
                  <c:v>2.09299993515015</c:v>
                </c:pt>
                <c:pt idx="1100">
                  <c:v>2.0069999694824201</c:v>
                </c:pt>
                <c:pt idx="1101">
                  <c:v>2.1140000820159899</c:v>
                </c:pt>
                <c:pt idx="1102">
                  <c:v>2.2750000953674299</c:v>
                </c:pt>
                <c:pt idx="1103">
                  <c:v>2.2219998836517298</c:v>
                </c:pt>
                <c:pt idx="1104">
                  <c:v>2.2490000724792498</c:v>
                </c:pt>
                <c:pt idx="1105">
                  <c:v>2.23300004005432</c:v>
                </c:pt>
                <c:pt idx="1106">
                  <c:v>2.27300000190735</c:v>
                </c:pt>
                <c:pt idx="1107">
                  <c:v>2.3069999217987101</c:v>
                </c:pt>
                <c:pt idx="1108">
                  <c:v>2.3180000782012899</c:v>
                </c:pt>
                <c:pt idx="1109">
                  <c:v>2.21399998664856</c:v>
                </c:pt>
                <c:pt idx="1110">
                  <c:v>2.1700000762939502</c:v>
                </c:pt>
                <c:pt idx="1111">
                  <c:v>2.1010000705718999</c:v>
                </c:pt>
                <c:pt idx="1112">
                  <c:v>2.1370000839233398</c:v>
                </c:pt>
                <c:pt idx="1113">
                  <c:v>2.2379999160766602</c:v>
                </c:pt>
                <c:pt idx="1114">
                  <c:v>2.26699995994568</c:v>
                </c:pt>
                <c:pt idx="1115">
                  <c:v>2.19099998474121</c:v>
                </c:pt>
                <c:pt idx="1116">
                  <c:v>2.1900000572204599</c:v>
                </c:pt>
                <c:pt idx="1117">
                  <c:v>2.2660000324249299</c:v>
                </c:pt>
                <c:pt idx="1118">
                  <c:v>2.375</c:v>
                </c:pt>
                <c:pt idx="1119">
                  <c:v>2.3759999275207502</c:v>
                </c:pt>
                <c:pt idx="1120">
                  <c:v>2.3650000095367401</c:v>
                </c:pt>
                <c:pt idx="1121">
                  <c:v>2.5920000076293901</c:v>
                </c:pt>
                <c:pt idx="1122">
                  <c:v>2.58500003814697</c:v>
                </c:pt>
                <c:pt idx="1123">
                  <c:v>2.4000000953674299</c:v>
                </c:pt>
                <c:pt idx="1124">
                  <c:v>2.3210000991821298</c:v>
                </c:pt>
                <c:pt idx="1125">
                  <c:v>2.39800000190735</c:v>
                </c:pt>
                <c:pt idx="1126">
                  <c:v>2.3069999217987101</c:v>
                </c:pt>
                <c:pt idx="1127">
                  <c:v>2.1809999942779501</c:v>
                </c:pt>
                <c:pt idx="1130">
                  <c:v>2.1579999923706099</c:v>
                </c:pt>
                <c:pt idx="1131">
                  <c:v>2.1719999313354501</c:v>
                </c:pt>
                <c:pt idx="1132">
                  <c:v>2.2449998855590798</c:v>
                </c:pt>
                <c:pt idx="1133">
                  <c:v>2.2620000839233398</c:v>
                </c:pt>
                <c:pt idx="1134">
                  <c:v>2.3289999961853001</c:v>
                </c:pt>
                <c:pt idx="1135">
                  <c:v>2.35199999809265</c:v>
                </c:pt>
                <c:pt idx="1136">
                  <c:v>2.25399994850159</c:v>
                </c:pt>
                <c:pt idx="1137">
                  <c:v>2.2660000324249299</c:v>
                </c:pt>
                <c:pt idx="1138">
                  <c:v>2.3399999141693102</c:v>
                </c:pt>
                <c:pt idx="1139">
                  <c:v>2.3420000076293901</c:v>
                </c:pt>
                <c:pt idx="1140">
                  <c:v>2.5329999923706099</c:v>
                </c:pt>
                <c:pt idx="1141">
                  <c:v>2.6319999694824201</c:v>
                </c:pt>
                <c:pt idx="1142">
                  <c:v>2.4920001029968302</c:v>
                </c:pt>
                <c:pt idx="1143">
                  <c:v>2.5969998836517298</c:v>
                </c:pt>
                <c:pt idx="1144">
                  <c:v>2.60800004005432</c:v>
                </c:pt>
                <c:pt idx="1145">
                  <c:v>2.7290000915527299</c:v>
                </c:pt>
                <c:pt idx="1146">
                  <c:v>2.7909998893737802</c:v>
                </c:pt>
                <c:pt idx="1147">
                  <c:v>2.76300001144409</c:v>
                </c:pt>
                <c:pt idx="1150">
                  <c:v>2.7090001106262198</c:v>
                </c:pt>
                <c:pt idx="1151">
                  <c:v>2.6089999675750701</c:v>
                </c:pt>
                <c:pt idx="1152">
                  <c:v>2.5820000171661399</c:v>
                </c:pt>
                <c:pt idx="1153">
                  <c:v>2.6689999103546098</c:v>
                </c:pt>
                <c:pt idx="1154">
                  <c:v>2.7309999465942401</c:v>
                </c:pt>
                <c:pt idx="1155">
                  <c:v>2.6319999694824201</c:v>
                </c:pt>
                <c:pt idx="1156">
                  <c:v>2.5450000762939502</c:v>
                </c:pt>
                <c:pt idx="1157">
                  <c:v>2.5390000343322798</c:v>
                </c:pt>
                <c:pt idx="1158">
                  <c:v>2.5120000839233398</c:v>
                </c:pt>
                <c:pt idx="1159">
                  <c:v>2.62899994850159</c:v>
                </c:pt>
                <c:pt idx="1160">
                  <c:v>2.6029999256134002</c:v>
                </c:pt>
                <c:pt idx="1161">
                  <c:v>2.7569999694824201</c:v>
                </c:pt>
                <c:pt idx="1162">
                  <c:v>2.7130000591278098</c:v>
                </c:pt>
                <c:pt idx="1163">
                  <c:v>2.6849999427795401</c:v>
                </c:pt>
                <c:pt idx="1164">
                  <c:v>2.7300000190734899</c:v>
                </c:pt>
                <c:pt idx="1165">
                  <c:v>2.66499996185303</c:v>
                </c:pt>
                <c:pt idx="1166">
                  <c:v>2.4920001029968302</c:v>
                </c:pt>
                <c:pt idx="1169">
                  <c:v>2.5599999427795401</c:v>
                </c:pt>
                <c:pt idx="1170">
                  <c:v>2.47699999809265</c:v>
                </c:pt>
                <c:pt idx="1171">
                  <c:v>2.5650000572204599</c:v>
                </c:pt>
                <c:pt idx="1172">
                  <c:v>2.5769999027252202</c:v>
                </c:pt>
                <c:pt idx="1173">
                  <c:v>2.7249999046325701</c:v>
                </c:pt>
                <c:pt idx="1174">
                  <c:v>2.77699995040894</c:v>
                </c:pt>
                <c:pt idx="1175">
                  <c:v>2.9590001106262198</c:v>
                </c:pt>
                <c:pt idx="1176">
                  <c:v>2.76300001144409</c:v>
                </c:pt>
                <c:pt idx="1177">
                  <c:v>2.7699999809265101</c:v>
                </c:pt>
                <c:pt idx="1178">
                  <c:v>2.7950000762939502</c:v>
                </c:pt>
                <c:pt idx="1179">
                  <c:v>2.6589999198913601</c:v>
                </c:pt>
                <c:pt idx="1180">
                  <c:v>2.5920000076293901</c:v>
                </c:pt>
                <c:pt idx="1181">
                  <c:v>2.62100005149841</c:v>
                </c:pt>
                <c:pt idx="1182">
                  <c:v>2.5510001182556201</c:v>
                </c:pt>
                <c:pt idx="1183">
                  <c:v>2.6319999694824201</c:v>
                </c:pt>
                <c:pt idx="1184">
                  <c:v>2.5599999427795401</c:v>
                </c:pt>
                <c:pt idx="1185">
                  <c:v>2.4969999790191699</c:v>
                </c:pt>
                <c:pt idx="1186">
                  <c:v>2.5190000534057599</c:v>
                </c:pt>
                <c:pt idx="1187">
                  <c:v>2.53999996185303</c:v>
                </c:pt>
                <c:pt idx="1188">
                  <c:v>2.5789999961853001</c:v>
                </c:pt>
                <c:pt idx="1189">
                  <c:v>2.5559999942779501</c:v>
                </c:pt>
                <c:pt idx="1191">
                  <c:v>2.7650001049041699</c:v>
                </c:pt>
                <c:pt idx="1192">
                  <c:v>2.5820000171661399</c:v>
                </c:pt>
                <c:pt idx="1193">
                  <c:v>2.5099999904632599</c:v>
                </c:pt>
                <c:pt idx="1194">
                  <c:v>2.5789999961853001</c:v>
                </c:pt>
                <c:pt idx="1195">
                  <c:v>2.6050000190734899</c:v>
                </c:pt>
                <c:pt idx="1196">
                  <c:v>2.60800004005432</c:v>
                </c:pt>
                <c:pt idx="1197">
                  <c:v>2.7430000305175799</c:v>
                </c:pt>
                <c:pt idx="1198">
                  <c:v>2.6800000667571999</c:v>
                </c:pt>
              </c:numCache>
            </c:numRef>
          </c:val>
          <c:smooth val="1"/>
          <c:extLst>
            <c:ext xmlns:c16="http://schemas.microsoft.com/office/drawing/2014/chart" uri="{C3380CC4-5D6E-409C-BE32-E72D297353CC}">
              <c16:uniqueId val="{00000000-CB0F-4EF7-A8F1-22306E322E7C}"/>
            </c:ext>
          </c:extLst>
        </c:ser>
        <c:ser>
          <c:idx val="1"/>
          <c:order val="1"/>
          <c:tx>
            <c:strRef>
              <c:f>Sheet1!$C$1</c:f>
              <c:strCache>
                <c:ptCount val="1"/>
                <c:pt idx="0">
                  <c:v>LNG Northeast Asia</c:v>
                </c:pt>
              </c:strCache>
            </c:strRef>
          </c:tx>
          <c:spPr>
            <a:ln w="28575" cap="rnd">
              <a:solidFill>
                <a:srgbClr val="044876"/>
              </a:solidFill>
              <a:round/>
            </a:ln>
            <a:effectLst/>
          </c:spPr>
          <c:marker>
            <c:symbol val="none"/>
          </c:marker>
          <c:cat>
            <c:numRef>
              <c:f>Sheet1!$A$2:$A$1200</c:f>
              <c:numCache>
                <c:formatCode>m/d/yyyy</c:formatCode>
                <c:ptCount val="1199"/>
                <c:pt idx="0">
                  <c:v>43466</c:v>
                </c:pt>
                <c:pt idx="1">
                  <c:v>43467</c:v>
                </c:pt>
                <c:pt idx="2">
                  <c:v>43468</c:v>
                </c:pt>
                <c:pt idx="3">
                  <c:v>43469</c:v>
                </c:pt>
                <c:pt idx="4">
                  <c:v>43472</c:v>
                </c:pt>
                <c:pt idx="5">
                  <c:v>43473</c:v>
                </c:pt>
                <c:pt idx="6">
                  <c:v>43474</c:v>
                </c:pt>
                <c:pt idx="7">
                  <c:v>43475</c:v>
                </c:pt>
                <c:pt idx="8">
                  <c:v>43476</c:v>
                </c:pt>
                <c:pt idx="9">
                  <c:v>43479</c:v>
                </c:pt>
                <c:pt idx="10">
                  <c:v>43480</c:v>
                </c:pt>
                <c:pt idx="11">
                  <c:v>43481</c:v>
                </c:pt>
                <c:pt idx="12">
                  <c:v>43482</c:v>
                </c:pt>
                <c:pt idx="13">
                  <c:v>43483</c:v>
                </c:pt>
                <c:pt idx="14">
                  <c:v>43486</c:v>
                </c:pt>
                <c:pt idx="15">
                  <c:v>43487</c:v>
                </c:pt>
                <c:pt idx="16">
                  <c:v>43488</c:v>
                </c:pt>
                <c:pt idx="17">
                  <c:v>43489</c:v>
                </c:pt>
                <c:pt idx="18">
                  <c:v>43490</c:v>
                </c:pt>
                <c:pt idx="19">
                  <c:v>43493</c:v>
                </c:pt>
                <c:pt idx="20">
                  <c:v>43494</c:v>
                </c:pt>
                <c:pt idx="21">
                  <c:v>43495</c:v>
                </c:pt>
                <c:pt idx="22">
                  <c:v>43496</c:v>
                </c:pt>
                <c:pt idx="23">
                  <c:v>43497</c:v>
                </c:pt>
                <c:pt idx="24">
                  <c:v>43500</c:v>
                </c:pt>
                <c:pt idx="25">
                  <c:v>43501</c:v>
                </c:pt>
                <c:pt idx="26">
                  <c:v>43502</c:v>
                </c:pt>
                <c:pt idx="27">
                  <c:v>43503</c:v>
                </c:pt>
                <c:pt idx="28">
                  <c:v>43504</c:v>
                </c:pt>
                <c:pt idx="29">
                  <c:v>43507</c:v>
                </c:pt>
                <c:pt idx="30">
                  <c:v>43508</c:v>
                </c:pt>
                <c:pt idx="31">
                  <c:v>43509</c:v>
                </c:pt>
                <c:pt idx="32">
                  <c:v>43510</c:v>
                </c:pt>
                <c:pt idx="33">
                  <c:v>43511</c:v>
                </c:pt>
                <c:pt idx="34">
                  <c:v>43514</c:v>
                </c:pt>
                <c:pt idx="35">
                  <c:v>43515</c:v>
                </c:pt>
                <c:pt idx="36">
                  <c:v>43516</c:v>
                </c:pt>
                <c:pt idx="37">
                  <c:v>43517</c:v>
                </c:pt>
                <c:pt idx="38">
                  <c:v>43518</c:v>
                </c:pt>
                <c:pt idx="39">
                  <c:v>43521</c:v>
                </c:pt>
                <c:pt idx="40">
                  <c:v>43522</c:v>
                </c:pt>
                <c:pt idx="41">
                  <c:v>43523</c:v>
                </c:pt>
                <c:pt idx="42">
                  <c:v>43524</c:v>
                </c:pt>
                <c:pt idx="43">
                  <c:v>43525</c:v>
                </c:pt>
                <c:pt idx="44">
                  <c:v>43528</c:v>
                </c:pt>
                <c:pt idx="45">
                  <c:v>43529</c:v>
                </c:pt>
                <c:pt idx="46">
                  <c:v>43530</c:v>
                </c:pt>
                <c:pt idx="47">
                  <c:v>43531</c:v>
                </c:pt>
                <c:pt idx="48">
                  <c:v>43532</c:v>
                </c:pt>
                <c:pt idx="49">
                  <c:v>43535</c:v>
                </c:pt>
                <c:pt idx="50">
                  <c:v>43536</c:v>
                </c:pt>
                <c:pt idx="51">
                  <c:v>43537</c:v>
                </c:pt>
                <c:pt idx="52">
                  <c:v>43538</c:v>
                </c:pt>
                <c:pt idx="53">
                  <c:v>43539</c:v>
                </c:pt>
                <c:pt idx="54">
                  <c:v>43542</c:v>
                </c:pt>
                <c:pt idx="55">
                  <c:v>43543</c:v>
                </c:pt>
                <c:pt idx="56">
                  <c:v>43544</c:v>
                </c:pt>
                <c:pt idx="57">
                  <c:v>43545</c:v>
                </c:pt>
                <c:pt idx="58">
                  <c:v>43546</c:v>
                </c:pt>
                <c:pt idx="59">
                  <c:v>43549</c:v>
                </c:pt>
                <c:pt idx="60">
                  <c:v>43550</c:v>
                </c:pt>
                <c:pt idx="61">
                  <c:v>43551</c:v>
                </c:pt>
                <c:pt idx="62">
                  <c:v>43552</c:v>
                </c:pt>
                <c:pt idx="63">
                  <c:v>43553</c:v>
                </c:pt>
                <c:pt idx="64">
                  <c:v>43556</c:v>
                </c:pt>
                <c:pt idx="65">
                  <c:v>43557</c:v>
                </c:pt>
                <c:pt idx="66">
                  <c:v>43558</c:v>
                </c:pt>
                <c:pt idx="67">
                  <c:v>43559</c:v>
                </c:pt>
                <c:pt idx="68">
                  <c:v>43560</c:v>
                </c:pt>
                <c:pt idx="69">
                  <c:v>43563</c:v>
                </c:pt>
                <c:pt idx="70">
                  <c:v>43564</c:v>
                </c:pt>
                <c:pt idx="71">
                  <c:v>43565</c:v>
                </c:pt>
                <c:pt idx="72">
                  <c:v>43566</c:v>
                </c:pt>
                <c:pt idx="73">
                  <c:v>43567</c:v>
                </c:pt>
                <c:pt idx="74">
                  <c:v>43570</c:v>
                </c:pt>
                <c:pt idx="75">
                  <c:v>43571</c:v>
                </c:pt>
                <c:pt idx="76">
                  <c:v>43572</c:v>
                </c:pt>
                <c:pt idx="77">
                  <c:v>43573</c:v>
                </c:pt>
                <c:pt idx="78">
                  <c:v>43574</c:v>
                </c:pt>
                <c:pt idx="79">
                  <c:v>43577</c:v>
                </c:pt>
                <c:pt idx="80">
                  <c:v>43578</c:v>
                </c:pt>
                <c:pt idx="81">
                  <c:v>43579</c:v>
                </c:pt>
                <c:pt idx="82">
                  <c:v>43580</c:v>
                </c:pt>
                <c:pt idx="83">
                  <c:v>43581</c:v>
                </c:pt>
                <c:pt idx="84">
                  <c:v>43584</c:v>
                </c:pt>
                <c:pt idx="85">
                  <c:v>43585</c:v>
                </c:pt>
                <c:pt idx="86">
                  <c:v>43586</c:v>
                </c:pt>
                <c:pt idx="87">
                  <c:v>43587</c:v>
                </c:pt>
                <c:pt idx="88">
                  <c:v>43588</c:v>
                </c:pt>
                <c:pt idx="89">
                  <c:v>43591</c:v>
                </c:pt>
                <c:pt idx="90">
                  <c:v>43592</c:v>
                </c:pt>
                <c:pt idx="91">
                  <c:v>43593</c:v>
                </c:pt>
                <c:pt idx="92">
                  <c:v>43594</c:v>
                </c:pt>
                <c:pt idx="93">
                  <c:v>43595</c:v>
                </c:pt>
                <c:pt idx="94">
                  <c:v>43598</c:v>
                </c:pt>
                <c:pt idx="95">
                  <c:v>43599</c:v>
                </c:pt>
                <c:pt idx="96">
                  <c:v>43600</c:v>
                </c:pt>
                <c:pt idx="97">
                  <c:v>43601</c:v>
                </c:pt>
                <c:pt idx="98">
                  <c:v>43602</c:v>
                </c:pt>
                <c:pt idx="99">
                  <c:v>43605</c:v>
                </c:pt>
                <c:pt idx="100">
                  <c:v>43606</c:v>
                </c:pt>
                <c:pt idx="101">
                  <c:v>43607</c:v>
                </c:pt>
                <c:pt idx="102">
                  <c:v>43608</c:v>
                </c:pt>
                <c:pt idx="103">
                  <c:v>43609</c:v>
                </c:pt>
                <c:pt idx="104">
                  <c:v>43612</c:v>
                </c:pt>
                <c:pt idx="105">
                  <c:v>43613</c:v>
                </c:pt>
                <c:pt idx="106">
                  <c:v>43614</c:v>
                </c:pt>
                <c:pt idx="107">
                  <c:v>43615</c:v>
                </c:pt>
                <c:pt idx="108">
                  <c:v>43616</c:v>
                </c:pt>
                <c:pt idx="109">
                  <c:v>43619</c:v>
                </c:pt>
                <c:pt idx="110">
                  <c:v>43620</c:v>
                </c:pt>
                <c:pt idx="111">
                  <c:v>43621</c:v>
                </c:pt>
                <c:pt idx="112">
                  <c:v>43622</c:v>
                </c:pt>
                <c:pt idx="113">
                  <c:v>43623</c:v>
                </c:pt>
                <c:pt idx="114">
                  <c:v>43626</c:v>
                </c:pt>
                <c:pt idx="115">
                  <c:v>43627</c:v>
                </c:pt>
                <c:pt idx="116">
                  <c:v>43628</c:v>
                </c:pt>
                <c:pt idx="117">
                  <c:v>43629</c:v>
                </c:pt>
                <c:pt idx="118">
                  <c:v>43630</c:v>
                </c:pt>
                <c:pt idx="119">
                  <c:v>43633</c:v>
                </c:pt>
                <c:pt idx="120">
                  <c:v>43634</c:v>
                </c:pt>
                <c:pt idx="121">
                  <c:v>43635</c:v>
                </c:pt>
                <c:pt idx="122">
                  <c:v>43636</c:v>
                </c:pt>
                <c:pt idx="123">
                  <c:v>43637</c:v>
                </c:pt>
                <c:pt idx="124">
                  <c:v>43640</c:v>
                </c:pt>
                <c:pt idx="125">
                  <c:v>43641</c:v>
                </c:pt>
                <c:pt idx="126">
                  <c:v>43642</c:v>
                </c:pt>
                <c:pt idx="127">
                  <c:v>43643</c:v>
                </c:pt>
                <c:pt idx="128">
                  <c:v>43644</c:v>
                </c:pt>
                <c:pt idx="129">
                  <c:v>43647</c:v>
                </c:pt>
                <c:pt idx="130">
                  <c:v>43648</c:v>
                </c:pt>
                <c:pt idx="131">
                  <c:v>43649</c:v>
                </c:pt>
                <c:pt idx="132">
                  <c:v>43650</c:v>
                </c:pt>
                <c:pt idx="133">
                  <c:v>43651</c:v>
                </c:pt>
                <c:pt idx="134">
                  <c:v>43654</c:v>
                </c:pt>
                <c:pt idx="135">
                  <c:v>43655</c:v>
                </c:pt>
                <c:pt idx="136">
                  <c:v>43656</c:v>
                </c:pt>
                <c:pt idx="137">
                  <c:v>43657</c:v>
                </c:pt>
                <c:pt idx="138">
                  <c:v>43658</c:v>
                </c:pt>
                <c:pt idx="139">
                  <c:v>43661</c:v>
                </c:pt>
                <c:pt idx="140">
                  <c:v>43662</c:v>
                </c:pt>
                <c:pt idx="141">
                  <c:v>43663</c:v>
                </c:pt>
                <c:pt idx="142">
                  <c:v>43664</c:v>
                </c:pt>
                <c:pt idx="143">
                  <c:v>43665</c:v>
                </c:pt>
                <c:pt idx="144">
                  <c:v>43668</c:v>
                </c:pt>
                <c:pt idx="145">
                  <c:v>43669</c:v>
                </c:pt>
                <c:pt idx="146">
                  <c:v>43670</c:v>
                </c:pt>
                <c:pt idx="147">
                  <c:v>43671</c:v>
                </c:pt>
                <c:pt idx="148">
                  <c:v>43672</c:v>
                </c:pt>
                <c:pt idx="149">
                  <c:v>43675</c:v>
                </c:pt>
                <c:pt idx="150">
                  <c:v>43676</c:v>
                </c:pt>
                <c:pt idx="151">
                  <c:v>43677</c:v>
                </c:pt>
                <c:pt idx="152">
                  <c:v>43678</c:v>
                </c:pt>
                <c:pt idx="153">
                  <c:v>43679</c:v>
                </c:pt>
                <c:pt idx="154">
                  <c:v>43682</c:v>
                </c:pt>
                <c:pt idx="155">
                  <c:v>43683</c:v>
                </c:pt>
                <c:pt idx="156">
                  <c:v>43684</c:v>
                </c:pt>
                <c:pt idx="157">
                  <c:v>43685</c:v>
                </c:pt>
                <c:pt idx="158">
                  <c:v>43686</c:v>
                </c:pt>
                <c:pt idx="159">
                  <c:v>43689</c:v>
                </c:pt>
                <c:pt idx="160">
                  <c:v>43690</c:v>
                </c:pt>
                <c:pt idx="161">
                  <c:v>43691</c:v>
                </c:pt>
                <c:pt idx="162">
                  <c:v>43692</c:v>
                </c:pt>
                <c:pt idx="163">
                  <c:v>43693</c:v>
                </c:pt>
                <c:pt idx="164">
                  <c:v>43696</c:v>
                </c:pt>
                <c:pt idx="165">
                  <c:v>43697</c:v>
                </c:pt>
                <c:pt idx="166">
                  <c:v>43698</c:v>
                </c:pt>
                <c:pt idx="167">
                  <c:v>43699</c:v>
                </c:pt>
                <c:pt idx="168">
                  <c:v>43700</c:v>
                </c:pt>
                <c:pt idx="169">
                  <c:v>43703</c:v>
                </c:pt>
                <c:pt idx="170">
                  <c:v>43704</c:v>
                </c:pt>
                <c:pt idx="171">
                  <c:v>43705</c:v>
                </c:pt>
                <c:pt idx="172">
                  <c:v>43706</c:v>
                </c:pt>
                <c:pt idx="173">
                  <c:v>43707</c:v>
                </c:pt>
                <c:pt idx="174">
                  <c:v>43710</c:v>
                </c:pt>
                <c:pt idx="175">
                  <c:v>43711</c:v>
                </c:pt>
                <c:pt idx="176">
                  <c:v>43712</c:v>
                </c:pt>
                <c:pt idx="177">
                  <c:v>43713</c:v>
                </c:pt>
                <c:pt idx="178">
                  <c:v>43714</c:v>
                </c:pt>
                <c:pt idx="179">
                  <c:v>43717</c:v>
                </c:pt>
                <c:pt idx="180">
                  <c:v>43718</c:v>
                </c:pt>
                <c:pt idx="181">
                  <c:v>43719</c:v>
                </c:pt>
                <c:pt idx="182">
                  <c:v>43720</c:v>
                </c:pt>
                <c:pt idx="183">
                  <c:v>43721</c:v>
                </c:pt>
                <c:pt idx="184">
                  <c:v>43724</c:v>
                </c:pt>
                <c:pt idx="185">
                  <c:v>43725</c:v>
                </c:pt>
                <c:pt idx="186">
                  <c:v>43726</c:v>
                </c:pt>
                <c:pt idx="187">
                  <c:v>43727</c:v>
                </c:pt>
                <c:pt idx="188">
                  <c:v>43728</c:v>
                </c:pt>
                <c:pt idx="189">
                  <c:v>43731</c:v>
                </c:pt>
                <c:pt idx="190">
                  <c:v>43732</c:v>
                </c:pt>
                <c:pt idx="191">
                  <c:v>43733</c:v>
                </c:pt>
                <c:pt idx="192">
                  <c:v>43734</c:v>
                </c:pt>
                <c:pt idx="193">
                  <c:v>43735</c:v>
                </c:pt>
                <c:pt idx="194">
                  <c:v>43738</c:v>
                </c:pt>
                <c:pt idx="195">
                  <c:v>43739</c:v>
                </c:pt>
                <c:pt idx="196">
                  <c:v>43740</c:v>
                </c:pt>
                <c:pt idx="197">
                  <c:v>43741</c:v>
                </c:pt>
                <c:pt idx="198">
                  <c:v>43742</c:v>
                </c:pt>
                <c:pt idx="199">
                  <c:v>43745</c:v>
                </c:pt>
                <c:pt idx="200">
                  <c:v>43746</c:v>
                </c:pt>
                <c:pt idx="201">
                  <c:v>43747</c:v>
                </c:pt>
                <c:pt idx="202">
                  <c:v>43748</c:v>
                </c:pt>
                <c:pt idx="203">
                  <c:v>43749</c:v>
                </c:pt>
                <c:pt idx="204">
                  <c:v>43752</c:v>
                </c:pt>
                <c:pt idx="205">
                  <c:v>43753</c:v>
                </c:pt>
                <c:pt idx="206">
                  <c:v>43754</c:v>
                </c:pt>
                <c:pt idx="207">
                  <c:v>43755</c:v>
                </c:pt>
                <c:pt idx="208">
                  <c:v>43756</c:v>
                </c:pt>
                <c:pt idx="209">
                  <c:v>43759</c:v>
                </c:pt>
                <c:pt idx="210">
                  <c:v>43760</c:v>
                </c:pt>
                <c:pt idx="211">
                  <c:v>43761</c:v>
                </c:pt>
                <c:pt idx="212">
                  <c:v>43762</c:v>
                </c:pt>
                <c:pt idx="213">
                  <c:v>43763</c:v>
                </c:pt>
                <c:pt idx="214">
                  <c:v>43766</c:v>
                </c:pt>
                <c:pt idx="215">
                  <c:v>43767</c:v>
                </c:pt>
                <c:pt idx="216">
                  <c:v>43768</c:v>
                </c:pt>
                <c:pt idx="217">
                  <c:v>43769</c:v>
                </c:pt>
                <c:pt idx="218">
                  <c:v>43770</c:v>
                </c:pt>
                <c:pt idx="219">
                  <c:v>43773</c:v>
                </c:pt>
                <c:pt idx="220">
                  <c:v>43774</c:v>
                </c:pt>
                <c:pt idx="221">
                  <c:v>43775</c:v>
                </c:pt>
                <c:pt idx="222">
                  <c:v>43776</c:v>
                </c:pt>
                <c:pt idx="223">
                  <c:v>43777</c:v>
                </c:pt>
                <c:pt idx="224">
                  <c:v>43780</c:v>
                </c:pt>
                <c:pt idx="225">
                  <c:v>43781</c:v>
                </c:pt>
                <c:pt idx="226">
                  <c:v>43782</c:v>
                </c:pt>
                <c:pt idx="227">
                  <c:v>43783</c:v>
                </c:pt>
                <c:pt idx="228">
                  <c:v>43784</c:v>
                </c:pt>
                <c:pt idx="229">
                  <c:v>43787</c:v>
                </c:pt>
                <c:pt idx="230">
                  <c:v>43788</c:v>
                </c:pt>
                <c:pt idx="231">
                  <c:v>43789</c:v>
                </c:pt>
                <c:pt idx="232">
                  <c:v>43790</c:v>
                </c:pt>
                <c:pt idx="233">
                  <c:v>43791</c:v>
                </c:pt>
                <c:pt idx="234">
                  <c:v>43794</c:v>
                </c:pt>
                <c:pt idx="235">
                  <c:v>43795</c:v>
                </c:pt>
                <c:pt idx="236">
                  <c:v>43796</c:v>
                </c:pt>
                <c:pt idx="237">
                  <c:v>43797</c:v>
                </c:pt>
                <c:pt idx="238">
                  <c:v>43798</c:v>
                </c:pt>
                <c:pt idx="239">
                  <c:v>43801</c:v>
                </c:pt>
                <c:pt idx="240">
                  <c:v>43802</c:v>
                </c:pt>
                <c:pt idx="241">
                  <c:v>43803</c:v>
                </c:pt>
                <c:pt idx="242">
                  <c:v>43804</c:v>
                </c:pt>
                <c:pt idx="243">
                  <c:v>43805</c:v>
                </c:pt>
                <c:pt idx="244">
                  <c:v>43808</c:v>
                </c:pt>
                <c:pt idx="245">
                  <c:v>43809</c:v>
                </c:pt>
                <c:pt idx="246">
                  <c:v>43810</c:v>
                </c:pt>
                <c:pt idx="247">
                  <c:v>43811</c:v>
                </c:pt>
                <c:pt idx="248">
                  <c:v>43812</c:v>
                </c:pt>
                <c:pt idx="249">
                  <c:v>43815</c:v>
                </c:pt>
                <c:pt idx="250">
                  <c:v>43816</c:v>
                </c:pt>
                <c:pt idx="251">
                  <c:v>43817</c:v>
                </c:pt>
                <c:pt idx="252">
                  <c:v>43818</c:v>
                </c:pt>
                <c:pt idx="253">
                  <c:v>43819</c:v>
                </c:pt>
                <c:pt idx="254">
                  <c:v>43822</c:v>
                </c:pt>
                <c:pt idx="255">
                  <c:v>43823</c:v>
                </c:pt>
                <c:pt idx="256">
                  <c:v>43824</c:v>
                </c:pt>
                <c:pt idx="257">
                  <c:v>43825</c:v>
                </c:pt>
                <c:pt idx="258">
                  <c:v>43826</c:v>
                </c:pt>
                <c:pt idx="259">
                  <c:v>43829</c:v>
                </c:pt>
                <c:pt idx="260">
                  <c:v>43830</c:v>
                </c:pt>
                <c:pt idx="261">
                  <c:v>43831</c:v>
                </c:pt>
                <c:pt idx="262">
                  <c:v>43832</c:v>
                </c:pt>
                <c:pt idx="263">
                  <c:v>43833</c:v>
                </c:pt>
                <c:pt idx="264">
                  <c:v>43836</c:v>
                </c:pt>
                <c:pt idx="265">
                  <c:v>43837</c:v>
                </c:pt>
                <c:pt idx="266">
                  <c:v>43838</c:v>
                </c:pt>
                <c:pt idx="267">
                  <c:v>43839</c:v>
                </c:pt>
                <c:pt idx="268">
                  <c:v>43840</c:v>
                </c:pt>
                <c:pt idx="269">
                  <c:v>43843</c:v>
                </c:pt>
                <c:pt idx="270">
                  <c:v>43844</c:v>
                </c:pt>
                <c:pt idx="271">
                  <c:v>43845</c:v>
                </c:pt>
                <c:pt idx="272">
                  <c:v>43846</c:v>
                </c:pt>
                <c:pt idx="273">
                  <c:v>43847</c:v>
                </c:pt>
                <c:pt idx="274">
                  <c:v>43850</c:v>
                </c:pt>
                <c:pt idx="275">
                  <c:v>43851</c:v>
                </c:pt>
                <c:pt idx="276">
                  <c:v>43852</c:v>
                </c:pt>
                <c:pt idx="277">
                  <c:v>43853</c:v>
                </c:pt>
                <c:pt idx="278">
                  <c:v>43854</c:v>
                </c:pt>
                <c:pt idx="279">
                  <c:v>43857</c:v>
                </c:pt>
                <c:pt idx="280">
                  <c:v>43858</c:v>
                </c:pt>
                <c:pt idx="281">
                  <c:v>43859</c:v>
                </c:pt>
                <c:pt idx="282">
                  <c:v>43860</c:v>
                </c:pt>
                <c:pt idx="283">
                  <c:v>43861</c:v>
                </c:pt>
                <c:pt idx="284">
                  <c:v>43864</c:v>
                </c:pt>
                <c:pt idx="285">
                  <c:v>43865</c:v>
                </c:pt>
                <c:pt idx="286">
                  <c:v>43866</c:v>
                </c:pt>
                <c:pt idx="287">
                  <c:v>43867</c:v>
                </c:pt>
                <c:pt idx="288">
                  <c:v>43868</c:v>
                </c:pt>
                <c:pt idx="289">
                  <c:v>43871</c:v>
                </c:pt>
                <c:pt idx="290">
                  <c:v>43872</c:v>
                </c:pt>
                <c:pt idx="291">
                  <c:v>43873</c:v>
                </c:pt>
                <c:pt idx="292">
                  <c:v>43874</c:v>
                </c:pt>
                <c:pt idx="293">
                  <c:v>43875</c:v>
                </c:pt>
                <c:pt idx="294">
                  <c:v>43878</c:v>
                </c:pt>
                <c:pt idx="295">
                  <c:v>43879</c:v>
                </c:pt>
                <c:pt idx="296">
                  <c:v>43880</c:v>
                </c:pt>
                <c:pt idx="297">
                  <c:v>43881</c:v>
                </c:pt>
                <c:pt idx="298">
                  <c:v>43882</c:v>
                </c:pt>
                <c:pt idx="299">
                  <c:v>43885</c:v>
                </c:pt>
                <c:pt idx="300">
                  <c:v>43886</c:v>
                </c:pt>
                <c:pt idx="301">
                  <c:v>43887</c:v>
                </c:pt>
                <c:pt idx="302">
                  <c:v>43888</c:v>
                </c:pt>
                <c:pt idx="303">
                  <c:v>43889</c:v>
                </c:pt>
                <c:pt idx="304">
                  <c:v>43892</c:v>
                </c:pt>
                <c:pt idx="305">
                  <c:v>43893</c:v>
                </c:pt>
                <c:pt idx="306">
                  <c:v>43894</c:v>
                </c:pt>
                <c:pt idx="307">
                  <c:v>43895</c:v>
                </c:pt>
                <c:pt idx="308">
                  <c:v>43896</c:v>
                </c:pt>
                <c:pt idx="309">
                  <c:v>43899</c:v>
                </c:pt>
                <c:pt idx="310">
                  <c:v>43900</c:v>
                </c:pt>
                <c:pt idx="311">
                  <c:v>43901</c:v>
                </c:pt>
                <c:pt idx="312">
                  <c:v>43902</c:v>
                </c:pt>
                <c:pt idx="313">
                  <c:v>43903</c:v>
                </c:pt>
                <c:pt idx="314">
                  <c:v>43906</c:v>
                </c:pt>
                <c:pt idx="315">
                  <c:v>43907</c:v>
                </c:pt>
                <c:pt idx="316">
                  <c:v>43908</c:v>
                </c:pt>
                <c:pt idx="317">
                  <c:v>43909</c:v>
                </c:pt>
                <c:pt idx="318">
                  <c:v>43910</c:v>
                </c:pt>
                <c:pt idx="319">
                  <c:v>43913</c:v>
                </c:pt>
                <c:pt idx="320">
                  <c:v>43914</c:v>
                </c:pt>
                <c:pt idx="321">
                  <c:v>43915</c:v>
                </c:pt>
                <c:pt idx="322">
                  <c:v>43916</c:v>
                </c:pt>
                <c:pt idx="323">
                  <c:v>43917</c:v>
                </c:pt>
                <c:pt idx="324">
                  <c:v>43920</c:v>
                </c:pt>
                <c:pt idx="325">
                  <c:v>43921</c:v>
                </c:pt>
                <c:pt idx="326">
                  <c:v>43922</c:v>
                </c:pt>
                <c:pt idx="327">
                  <c:v>43923</c:v>
                </c:pt>
                <c:pt idx="328">
                  <c:v>43924</c:v>
                </c:pt>
                <c:pt idx="329">
                  <c:v>43927</c:v>
                </c:pt>
                <c:pt idx="330">
                  <c:v>43928</c:v>
                </c:pt>
                <c:pt idx="331">
                  <c:v>43929</c:v>
                </c:pt>
                <c:pt idx="332">
                  <c:v>43930</c:v>
                </c:pt>
                <c:pt idx="333">
                  <c:v>43931</c:v>
                </c:pt>
                <c:pt idx="334">
                  <c:v>43934</c:v>
                </c:pt>
                <c:pt idx="335">
                  <c:v>43935</c:v>
                </c:pt>
                <c:pt idx="336">
                  <c:v>43936</c:v>
                </c:pt>
                <c:pt idx="337">
                  <c:v>43937</c:v>
                </c:pt>
                <c:pt idx="338">
                  <c:v>43938</c:v>
                </c:pt>
                <c:pt idx="339">
                  <c:v>43941</c:v>
                </c:pt>
                <c:pt idx="340">
                  <c:v>43942</c:v>
                </c:pt>
                <c:pt idx="341">
                  <c:v>43943</c:v>
                </c:pt>
                <c:pt idx="342">
                  <c:v>43944</c:v>
                </c:pt>
                <c:pt idx="343">
                  <c:v>43945</c:v>
                </c:pt>
                <c:pt idx="344">
                  <c:v>43948</c:v>
                </c:pt>
                <c:pt idx="345">
                  <c:v>43949</c:v>
                </c:pt>
                <c:pt idx="346">
                  <c:v>43950</c:v>
                </c:pt>
                <c:pt idx="347">
                  <c:v>43951</c:v>
                </c:pt>
                <c:pt idx="348">
                  <c:v>43952</c:v>
                </c:pt>
                <c:pt idx="349">
                  <c:v>43955</c:v>
                </c:pt>
                <c:pt idx="350">
                  <c:v>43956</c:v>
                </c:pt>
                <c:pt idx="351">
                  <c:v>43957</c:v>
                </c:pt>
                <c:pt idx="352">
                  <c:v>43958</c:v>
                </c:pt>
                <c:pt idx="353">
                  <c:v>43959</c:v>
                </c:pt>
                <c:pt idx="354">
                  <c:v>43962</c:v>
                </c:pt>
                <c:pt idx="355">
                  <c:v>43963</c:v>
                </c:pt>
                <c:pt idx="356">
                  <c:v>43964</c:v>
                </c:pt>
                <c:pt idx="357">
                  <c:v>43965</c:v>
                </c:pt>
                <c:pt idx="358">
                  <c:v>43966</c:v>
                </c:pt>
                <c:pt idx="359">
                  <c:v>43969</c:v>
                </c:pt>
                <c:pt idx="360">
                  <c:v>43970</c:v>
                </c:pt>
                <c:pt idx="361">
                  <c:v>43971</c:v>
                </c:pt>
                <c:pt idx="362">
                  <c:v>43972</c:v>
                </c:pt>
                <c:pt idx="363">
                  <c:v>43973</c:v>
                </c:pt>
                <c:pt idx="364">
                  <c:v>43976</c:v>
                </c:pt>
                <c:pt idx="365">
                  <c:v>43977</c:v>
                </c:pt>
                <c:pt idx="366">
                  <c:v>43978</c:v>
                </c:pt>
                <c:pt idx="367">
                  <c:v>43979</c:v>
                </c:pt>
                <c:pt idx="368">
                  <c:v>43980</c:v>
                </c:pt>
                <c:pt idx="369">
                  <c:v>43983</c:v>
                </c:pt>
                <c:pt idx="370">
                  <c:v>43984</c:v>
                </c:pt>
                <c:pt idx="371">
                  <c:v>43985</c:v>
                </c:pt>
                <c:pt idx="372">
                  <c:v>43986</c:v>
                </c:pt>
                <c:pt idx="373">
                  <c:v>43987</c:v>
                </c:pt>
                <c:pt idx="374">
                  <c:v>43990</c:v>
                </c:pt>
                <c:pt idx="375">
                  <c:v>43991</c:v>
                </c:pt>
                <c:pt idx="376">
                  <c:v>43992</c:v>
                </c:pt>
                <c:pt idx="377">
                  <c:v>43993</c:v>
                </c:pt>
                <c:pt idx="378">
                  <c:v>43994</c:v>
                </c:pt>
                <c:pt idx="379">
                  <c:v>43997</c:v>
                </c:pt>
                <c:pt idx="380">
                  <c:v>43998</c:v>
                </c:pt>
                <c:pt idx="381">
                  <c:v>43999</c:v>
                </c:pt>
                <c:pt idx="382">
                  <c:v>44000</c:v>
                </c:pt>
                <c:pt idx="383">
                  <c:v>44001</c:v>
                </c:pt>
                <c:pt idx="384">
                  <c:v>44004</c:v>
                </c:pt>
                <c:pt idx="385">
                  <c:v>44005</c:v>
                </c:pt>
                <c:pt idx="386">
                  <c:v>44006</c:v>
                </c:pt>
                <c:pt idx="387">
                  <c:v>44007</c:v>
                </c:pt>
                <c:pt idx="388">
                  <c:v>44008</c:v>
                </c:pt>
                <c:pt idx="389">
                  <c:v>44011</c:v>
                </c:pt>
                <c:pt idx="390">
                  <c:v>44012</c:v>
                </c:pt>
                <c:pt idx="391">
                  <c:v>44013</c:v>
                </c:pt>
                <c:pt idx="392">
                  <c:v>44014</c:v>
                </c:pt>
                <c:pt idx="393">
                  <c:v>44015</c:v>
                </c:pt>
                <c:pt idx="394">
                  <c:v>44018</c:v>
                </c:pt>
                <c:pt idx="395">
                  <c:v>44019</c:v>
                </c:pt>
                <c:pt idx="396">
                  <c:v>44020</c:v>
                </c:pt>
                <c:pt idx="397">
                  <c:v>44021</c:v>
                </c:pt>
                <c:pt idx="398">
                  <c:v>44022</c:v>
                </c:pt>
                <c:pt idx="399">
                  <c:v>44025</c:v>
                </c:pt>
                <c:pt idx="400">
                  <c:v>44026</c:v>
                </c:pt>
                <c:pt idx="401">
                  <c:v>44027</c:v>
                </c:pt>
                <c:pt idx="402">
                  <c:v>44028</c:v>
                </c:pt>
                <c:pt idx="403">
                  <c:v>44029</c:v>
                </c:pt>
                <c:pt idx="404">
                  <c:v>44032</c:v>
                </c:pt>
                <c:pt idx="405">
                  <c:v>44033</c:v>
                </c:pt>
                <c:pt idx="406">
                  <c:v>44034</c:v>
                </c:pt>
                <c:pt idx="407">
                  <c:v>44035</c:v>
                </c:pt>
                <c:pt idx="408">
                  <c:v>44036</c:v>
                </c:pt>
                <c:pt idx="409">
                  <c:v>44039</c:v>
                </c:pt>
                <c:pt idx="410">
                  <c:v>44040</c:v>
                </c:pt>
                <c:pt idx="411">
                  <c:v>44041</c:v>
                </c:pt>
                <c:pt idx="412">
                  <c:v>44042</c:v>
                </c:pt>
                <c:pt idx="413">
                  <c:v>44043</c:v>
                </c:pt>
                <c:pt idx="414">
                  <c:v>44046</c:v>
                </c:pt>
                <c:pt idx="415">
                  <c:v>44047</c:v>
                </c:pt>
                <c:pt idx="416">
                  <c:v>44048</c:v>
                </c:pt>
                <c:pt idx="417">
                  <c:v>44049</c:v>
                </c:pt>
                <c:pt idx="418">
                  <c:v>44050</c:v>
                </c:pt>
                <c:pt idx="419">
                  <c:v>44053</c:v>
                </c:pt>
                <c:pt idx="420">
                  <c:v>44054</c:v>
                </c:pt>
                <c:pt idx="421">
                  <c:v>44055</c:v>
                </c:pt>
                <c:pt idx="422">
                  <c:v>44056</c:v>
                </c:pt>
                <c:pt idx="423">
                  <c:v>44057</c:v>
                </c:pt>
                <c:pt idx="424">
                  <c:v>44060</c:v>
                </c:pt>
                <c:pt idx="425">
                  <c:v>44061</c:v>
                </c:pt>
                <c:pt idx="426">
                  <c:v>44062</c:v>
                </c:pt>
                <c:pt idx="427">
                  <c:v>44063</c:v>
                </c:pt>
                <c:pt idx="428">
                  <c:v>44064</c:v>
                </c:pt>
                <c:pt idx="429">
                  <c:v>44067</c:v>
                </c:pt>
                <c:pt idx="430">
                  <c:v>44068</c:v>
                </c:pt>
                <c:pt idx="431">
                  <c:v>44069</c:v>
                </c:pt>
                <c:pt idx="432">
                  <c:v>44070</c:v>
                </c:pt>
                <c:pt idx="433">
                  <c:v>44071</c:v>
                </c:pt>
                <c:pt idx="434">
                  <c:v>44074</c:v>
                </c:pt>
                <c:pt idx="435">
                  <c:v>44075</c:v>
                </c:pt>
                <c:pt idx="436">
                  <c:v>44076</c:v>
                </c:pt>
                <c:pt idx="437">
                  <c:v>44077</c:v>
                </c:pt>
                <c:pt idx="438">
                  <c:v>44078</c:v>
                </c:pt>
                <c:pt idx="439">
                  <c:v>44081</c:v>
                </c:pt>
                <c:pt idx="440">
                  <c:v>44082</c:v>
                </c:pt>
                <c:pt idx="441">
                  <c:v>44083</c:v>
                </c:pt>
                <c:pt idx="442">
                  <c:v>44084</c:v>
                </c:pt>
                <c:pt idx="443">
                  <c:v>44085</c:v>
                </c:pt>
                <c:pt idx="444">
                  <c:v>44088</c:v>
                </c:pt>
                <c:pt idx="445">
                  <c:v>44089</c:v>
                </c:pt>
                <c:pt idx="446">
                  <c:v>44090</c:v>
                </c:pt>
                <c:pt idx="447">
                  <c:v>44091</c:v>
                </c:pt>
                <c:pt idx="448">
                  <c:v>44092</c:v>
                </c:pt>
                <c:pt idx="449">
                  <c:v>44095</c:v>
                </c:pt>
                <c:pt idx="450">
                  <c:v>44096</c:v>
                </c:pt>
                <c:pt idx="451">
                  <c:v>44097</c:v>
                </c:pt>
                <c:pt idx="452">
                  <c:v>44098</c:v>
                </c:pt>
                <c:pt idx="453">
                  <c:v>44099</c:v>
                </c:pt>
                <c:pt idx="454">
                  <c:v>44102</c:v>
                </c:pt>
                <c:pt idx="455">
                  <c:v>44103</c:v>
                </c:pt>
                <c:pt idx="456">
                  <c:v>44104</c:v>
                </c:pt>
                <c:pt idx="457">
                  <c:v>44105</c:v>
                </c:pt>
                <c:pt idx="458">
                  <c:v>44106</c:v>
                </c:pt>
                <c:pt idx="459">
                  <c:v>44109</c:v>
                </c:pt>
                <c:pt idx="460">
                  <c:v>44110</c:v>
                </c:pt>
                <c:pt idx="461">
                  <c:v>44111</c:v>
                </c:pt>
                <c:pt idx="462">
                  <c:v>44112</c:v>
                </c:pt>
                <c:pt idx="463">
                  <c:v>44113</c:v>
                </c:pt>
                <c:pt idx="464">
                  <c:v>44116</c:v>
                </c:pt>
                <c:pt idx="465">
                  <c:v>44117</c:v>
                </c:pt>
                <c:pt idx="466">
                  <c:v>44118</c:v>
                </c:pt>
                <c:pt idx="467">
                  <c:v>44119</c:v>
                </c:pt>
                <c:pt idx="468">
                  <c:v>44120</c:v>
                </c:pt>
                <c:pt idx="469">
                  <c:v>44123</c:v>
                </c:pt>
                <c:pt idx="470">
                  <c:v>44124</c:v>
                </c:pt>
                <c:pt idx="471">
                  <c:v>44125</c:v>
                </c:pt>
                <c:pt idx="472">
                  <c:v>44126</c:v>
                </c:pt>
                <c:pt idx="473">
                  <c:v>44127</c:v>
                </c:pt>
                <c:pt idx="474">
                  <c:v>44130</c:v>
                </c:pt>
                <c:pt idx="475">
                  <c:v>44131</c:v>
                </c:pt>
                <c:pt idx="476">
                  <c:v>44132</c:v>
                </c:pt>
                <c:pt idx="477">
                  <c:v>44133</c:v>
                </c:pt>
                <c:pt idx="478">
                  <c:v>44134</c:v>
                </c:pt>
                <c:pt idx="479">
                  <c:v>44137</c:v>
                </c:pt>
                <c:pt idx="480">
                  <c:v>44138</c:v>
                </c:pt>
                <c:pt idx="481">
                  <c:v>44139</c:v>
                </c:pt>
                <c:pt idx="482">
                  <c:v>44140</c:v>
                </c:pt>
                <c:pt idx="483">
                  <c:v>44141</c:v>
                </c:pt>
                <c:pt idx="484">
                  <c:v>44144</c:v>
                </c:pt>
                <c:pt idx="485">
                  <c:v>44145</c:v>
                </c:pt>
                <c:pt idx="486">
                  <c:v>44146</c:v>
                </c:pt>
                <c:pt idx="487">
                  <c:v>44147</c:v>
                </c:pt>
                <c:pt idx="488">
                  <c:v>44148</c:v>
                </c:pt>
                <c:pt idx="489">
                  <c:v>44151</c:v>
                </c:pt>
                <c:pt idx="490">
                  <c:v>44152</c:v>
                </c:pt>
                <c:pt idx="491">
                  <c:v>44153</c:v>
                </c:pt>
                <c:pt idx="492">
                  <c:v>44154</c:v>
                </c:pt>
                <c:pt idx="493">
                  <c:v>44155</c:v>
                </c:pt>
                <c:pt idx="494">
                  <c:v>44158</c:v>
                </c:pt>
                <c:pt idx="495">
                  <c:v>44159</c:v>
                </c:pt>
                <c:pt idx="496">
                  <c:v>44160</c:v>
                </c:pt>
                <c:pt idx="497">
                  <c:v>44161</c:v>
                </c:pt>
                <c:pt idx="498">
                  <c:v>44162</c:v>
                </c:pt>
                <c:pt idx="499">
                  <c:v>44165</c:v>
                </c:pt>
                <c:pt idx="500">
                  <c:v>44166</c:v>
                </c:pt>
                <c:pt idx="501">
                  <c:v>44167</c:v>
                </c:pt>
                <c:pt idx="502">
                  <c:v>44168</c:v>
                </c:pt>
                <c:pt idx="503">
                  <c:v>44169</c:v>
                </c:pt>
                <c:pt idx="504">
                  <c:v>44172</c:v>
                </c:pt>
                <c:pt idx="505">
                  <c:v>44173</c:v>
                </c:pt>
                <c:pt idx="506">
                  <c:v>44174</c:v>
                </c:pt>
                <c:pt idx="507">
                  <c:v>44175</c:v>
                </c:pt>
                <c:pt idx="508">
                  <c:v>44176</c:v>
                </c:pt>
                <c:pt idx="509">
                  <c:v>44179</c:v>
                </c:pt>
                <c:pt idx="510">
                  <c:v>44180</c:v>
                </c:pt>
                <c:pt idx="511">
                  <c:v>44181</c:v>
                </c:pt>
                <c:pt idx="512">
                  <c:v>44182</c:v>
                </c:pt>
                <c:pt idx="513">
                  <c:v>44183</c:v>
                </c:pt>
                <c:pt idx="514">
                  <c:v>44186</c:v>
                </c:pt>
                <c:pt idx="515">
                  <c:v>44187</c:v>
                </c:pt>
                <c:pt idx="516">
                  <c:v>44188</c:v>
                </c:pt>
                <c:pt idx="517">
                  <c:v>44189</c:v>
                </c:pt>
                <c:pt idx="518">
                  <c:v>44190</c:v>
                </c:pt>
                <c:pt idx="519">
                  <c:v>44193</c:v>
                </c:pt>
                <c:pt idx="520">
                  <c:v>44194</c:v>
                </c:pt>
                <c:pt idx="521">
                  <c:v>44195</c:v>
                </c:pt>
                <c:pt idx="522">
                  <c:v>44196</c:v>
                </c:pt>
                <c:pt idx="523">
                  <c:v>44197</c:v>
                </c:pt>
                <c:pt idx="524">
                  <c:v>44200</c:v>
                </c:pt>
                <c:pt idx="525">
                  <c:v>44201</c:v>
                </c:pt>
                <c:pt idx="526">
                  <c:v>44202</c:v>
                </c:pt>
                <c:pt idx="527">
                  <c:v>44203</c:v>
                </c:pt>
                <c:pt idx="528">
                  <c:v>44204</c:v>
                </c:pt>
                <c:pt idx="529">
                  <c:v>44207</c:v>
                </c:pt>
                <c:pt idx="530">
                  <c:v>44208</c:v>
                </c:pt>
                <c:pt idx="531">
                  <c:v>44209</c:v>
                </c:pt>
                <c:pt idx="532">
                  <c:v>44210</c:v>
                </c:pt>
                <c:pt idx="533">
                  <c:v>44211</c:v>
                </c:pt>
                <c:pt idx="534">
                  <c:v>44214</c:v>
                </c:pt>
                <c:pt idx="535">
                  <c:v>44215</c:v>
                </c:pt>
                <c:pt idx="536">
                  <c:v>44216</c:v>
                </c:pt>
                <c:pt idx="537">
                  <c:v>44217</c:v>
                </c:pt>
                <c:pt idx="538">
                  <c:v>44218</c:v>
                </c:pt>
                <c:pt idx="539">
                  <c:v>44221</c:v>
                </c:pt>
                <c:pt idx="540">
                  <c:v>44222</c:v>
                </c:pt>
                <c:pt idx="541">
                  <c:v>44223</c:v>
                </c:pt>
                <c:pt idx="542">
                  <c:v>44224</c:v>
                </c:pt>
                <c:pt idx="543">
                  <c:v>44225</c:v>
                </c:pt>
                <c:pt idx="544">
                  <c:v>44228</c:v>
                </c:pt>
                <c:pt idx="545">
                  <c:v>44229</c:v>
                </c:pt>
                <c:pt idx="546">
                  <c:v>44230</c:v>
                </c:pt>
                <c:pt idx="547">
                  <c:v>44231</c:v>
                </c:pt>
                <c:pt idx="548">
                  <c:v>44232</c:v>
                </c:pt>
                <c:pt idx="549">
                  <c:v>44235</c:v>
                </c:pt>
                <c:pt idx="550">
                  <c:v>44236</c:v>
                </c:pt>
                <c:pt idx="551">
                  <c:v>44237</c:v>
                </c:pt>
                <c:pt idx="552">
                  <c:v>44238</c:v>
                </c:pt>
                <c:pt idx="553">
                  <c:v>44239</c:v>
                </c:pt>
                <c:pt idx="554">
                  <c:v>44242</c:v>
                </c:pt>
                <c:pt idx="555">
                  <c:v>44243</c:v>
                </c:pt>
                <c:pt idx="556">
                  <c:v>44244</c:v>
                </c:pt>
                <c:pt idx="557">
                  <c:v>44245</c:v>
                </c:pt>
                <c:pt idx="558">
                  <c:v>44246</c:v>
                </c:pt>
                <c:pt idx="559">
                  <c:v>44249</c:v>
                </c:pt>
                <c:pt idx="560">
                  <c:v>44250</c:v>
                </c:pt>
                <c:pt idx="561">
                  <c:v>44251</c:v>
                </c:pt>
                <c:pt idx="562">
                  <c:v>44252</c:v>
                </c:pt>
                <c:pt idx="563">
                  <c:v>44253</c:v>
                </c:pt>
                <c:pt idx="564">
                  <c:v>44256</c:v>
                </c:pt>
                <c:pt idx="565">
                  <c:v>44257</c:v>
                </c:pt>
                <c:pt idx="566">
                  <c:v>44258</c:v>
                </c:pt>
                <c:pt idx="567">
                  <c:v>44259</c:v>
                </c:pt>
                <c:pt idx="568">
                  <c:v>44260</c:v>
                </c:pt>
                <c:pt idx="569">
                  <c:v>44263</c:v>
                </c:pt>
                <c:pt idx="570">
                  <c:v>44264</c:v>
                </c:pt>
                <c:pt idx="571">
                  <c:v>44265</c:v>
                </c:pt>
                <c:pt idx="572">
                  <c:v>44266</c:v>
                </c:pt>
                <c:pt idx="573">
                  <c:v>44267</c:v>
                </c:pt>
                <c:pt idx="574">
                  <c:v>44270</c:v>
                </c:pt>
                <c:pt idx="575">
                  <c:v>44271</c:v>
                </c:pt>
                <c:pt idx="576">
                  <c:v>44272</c:v>
                </c:pt>
                <c:pt idx="577">
                  <c:v>44273</c:v>
                </c:pt>
                <c:pt idx="578">
                  <c:v>44274</c:v>
                </c:pt>
                <c:pt idx="579">
                  <c:v>44277</c:v>
                </c:pt>
                <c:pt idx="580">
                  <c:v>44278</c:v>
                </c:pt>
                <c:pt idx="581">
                  <c:v>44279</c:v>
                </c:pt>
                <c:pt idx="582">
                  <c:v>44280</c:v>
                </c:pt>
                <c:pt idx="583">
                  <c:v>44281</c:v>
                </c:pt>
                <c:pt idx="584">
                  <c:v>44284</c:v>
                </c:pt>
                <c:pt idx="585">
                  <c:v>44285</c:v>
                </c:pt>
                <c:pt idx="586">
                  <c:v>44286</c:v>
                </c:pt>
                <c:pt idx="587">
                  <c:v>44287</c:v>
                </c:pt>
                <c:pt idx="588">
                  <c:v>44288</c:v>
                </c:pt>
                <c:pt idx="589">
                  <c:v>44291</c:v>
                </c:pt>
                <c:pt idx="590">
                  <c:v>44292</c:v>
                </c:pt>
                <c:pt idx="591">
                  <c:v>44293</c:v>
                </c:pt>
                <c:pt idx="592">
                  <c:v>44294</c:v>
                </c:pt>
                <c:pt idx="593">
                  <c:v>44295</c:v>
                </c:pt>
                <c:pt idx="594">
                  <c:v>44298</c:v>
                </c:pt>
                <c:pt idx="595">
                  <c:v>44299</c:v>
                </c:pt>
                <c:pt idx="596">
                  <c:v>44300</c:v>
                </c:pt>
                <c:pt idx="597">
                  <c:v>44301</c:v>
                </c:pt>
                <c:pt idx="598">
                  <c:v>44302</c:v>
                </c:pt>
                <c:pt idx="599">
                  <c:v>44305</c:v>
                </c:pt>
                <c:pt idx="600">
                  <c:v>44306</c:v>
                </c:pt>
                <c:pt idx="601">
                  <c:v>44307</c:v>
                </c:pt>
                <c:pt idx="602">
                  <c:v>44308</c:v>
                </c:pt>
                <c:pt idx="603">
                  <c:v>44309</c:v>
                </c:pt>
                <c:pt idx="604">
                  <c:v>44312</c:v>
                </c:pt>
                <c:pt idx="605">
                  <c:v>44313</c:v>
                </c:pt>
                <c:pt idx="606">
                  <c:v>44314</c:v>
                </c:pt>
                <c:pt idx="607">
                  <c:v>44315</c:v>
                </c:pt>
                <c:pt idx="608">
                  <c:v>44316</c:v>
                </c:pt>
                <c:pt idx="609">
                  <c:v>44319</c:v>
                </c:pt>
                <c:pt idx="610">
                  <c:v>44320</c:v>
                </c:pt>
                <c:pt idx="611">
                  <c:v>44321</c:v>
                </c:pt>
                <c:pt idx="612">
                  <c:v>44322</c:v>
                </c:pt>
                <c:pt idx="613">
                  <c:v>44323</c:v>
                </c:pt>
                <c:pt idx="614">
                  <c:v>44326</c:v>
                </c:pt>
                <c:pt idx="615">
                  <c:v>44327</c:v>
                </c:pt>
                <c:pt idx="616">
                  <c:v>44328</c:v>
                </c:pt>
                <c:pt idx="617">
                  <c:v>44329</c:v>
                </c:pt>
                <c:pt idx="618">
                  <c:v>44330</c:v>
                </c:pt>
                <c:pt idx="619">
                  <c:v>44333</c:v>
                </c:pt>
                <c:pt idx="620">
                  <c:v>44334</c:v>
                </c:pt>
                <c:pt idx="621">
                  <c:v>44335</c:v>
                </c:pt>
                <c:pt idx="622">
                  <c:v>44336</c:v>
                </c:pt>
                <c:pt idx="623">
                  <c:v>44337</c:v>
                </c:pt>
                <c:pt idx="624">
                  <c:v>44340</c:v>
                </c:pt>
                <c:pt idx="625">
                  <c:v>44341</c:v>
                </c:pt>
                <c:pt idx="626">
                  <c:v>44342</c:v>
                </c:pt>
                <c:pt idx="627">
                  <c:v>44343</c:v>
                </c:pt>
                <c:pt idx="628">
                  <c:v>44344</c:v>
                </c:pt>
                <c:pt idx="629">
                  <c:v>44347</c:v>
                </c:pt>
                <c:pt idx="630">
                  <c:v>44348</c:v>
                </c:pt>
                <c:pt idx="631">
                  <c:v>44349</c:v>
                </c:pt>
                <c:pt idx="632">
                  <c:v>44350</c:v>
                </c:pt>
                <c:pt idx="633">
                  <c:v>44351</c:v>
                </c:pt>
                <c:pt idx="634">
                  <c:v>44354</c:v>
                </c:pt>
                <c:pt idx="635">
                  <c:v>44355</c:v>
                </c:pt>
                <c:pt idx="636">
                  <c:v>44356</c:v>
                </c:pt>
                <c:pt idx="637">
                  <c:v>44357</c:v>
                </c:pt>
                <c:pt idx="638">
                  <c:v>44358</c:v>
                </c:pt>
                <c:pt idx="639">
                  <c:v>44361</c:v>
                </c:pt>
                <c:pt idx="640">
                  <c:v>44362</c:v>
                </c:pt>
                <c:pt idx="641">
                  <c:v>44363</c:v>
                </c:pt>
                <c:pt idx="642">
                  <c:v>44364</c:v>
                </c:pt>
                <c:pt idx="643">
                  <c:v>44365</c:v>
                </c:pt>
                <c:pt idx="644">
                  <c:v>44368</c:v>
                </c:pt>
                <c:pt idx="645">
                  <c:v>44369</c:v>
                </c:pt>
                <c:pt idx="646">
                  <c:v>44370</c:v>
                </c:pt>
                <c:pt idx="647">
                  <c:v>44371</c:v>
                </c:pt>
                <c:pt idx="648">
                  <c:v>44372</c:v>
                </c:pt>
                <c:pt idx="649">
                  <c:v>44375</c:v>
                </c:pt>
                <c:pt idx="650">
                  <c:v>44376</c:v>
                </c:pt>
                <c:pt idx="651">
                  <c:v>44377</c:v>
                </c:pt>
                <c:pt idx="652">
                  <c:v>44378</c:v>
                </c:pt>
                <c:pt idx="653">
                  <c:v>44379</c:v>
                </c:pt>
                <c:pt idx="654">
                  <c:v>44382</c:v>
                </c:pt>
                <c:pt idx="655">
                  <c:v>44383</c:v>
                </c:pt>
                <c:pt idx="656">
                  <c:v>44384</c:v>
                </c:pt>
                <c:pt idx="657">
                  <c:v>44385</c:v>
                </c:pt>
                <c:pt idx="658">
                  <c:v>44386</c:v>
                </c:pt>
                <c:pt idx="659">
                  <c:v>44389</c:v>
                </c:pt>
                <c:pt idx="660">
                  <c:v>44390</c:v>
                </c:pt>
                <c:pt idx="661">
                  <c:v>44391</c:v>
                </c:pt>
                <c:pt idx="662">
                  <c:v>44392</c:v>
                </c:pt>
                <c:pt idx="663">
                  <c:v>44393</c:v>
                </c:pt>
                <c:pt idx="664">
                  <c:v>44396</c:v>
                </c:pt>
                <c:pt idx="665">
                  <c:v>44397</c:v>
                </c:pt>
                <c:pt idx="666">
                  <c:v>44398</c:v>
                </c:pt>
                <c:pt idx="667">
                  <c:v>44399</c:v>
                </c:pt>
                <c:pt idx="668">
                  <c:v>44400</c:v>
                </c:pt>
                <c:pt idx="669">
                  <c:v>44403</c:v>
                </c:pt>
                <c:pt idx="670">
                  <c:v>44404</c:v>
                </c:pt>
                <c:pt idx="671">
                  <c:v>44405</c:v>
                </c:pt>
                <c:pt idx="672">
                  <c:v>44406</c:v>
                </c:pt>
                <c:pt idx="673">
                  <c:v>44407</c:v>
                </c:pt>
                <c:pt idx="674">
                  <c:v>44410</c:v>
                </c:pt>
                <c:pt idx="675">
                  <c:v>44411</c:v>
                </c:pt>
                <c:pt idx="676">
                  <c:v>44412</c:v>
                </c:pt>
                <c:pt idx="677">
                  <c:v>44413</c:v>
                </c:pt>
                <c:pt idx="678">
                  <c:v>44414</c:v>
                </c:pt>
                <c:pt idx="679">
                  <c:v>44417</c:v>
                </c:pt>
                <c:pt idx="680">
                  <c:v>44418</c:v>
                </c:pt>
                <c:pt idx="681">
                  <c:v>44419</c:v>
                </c:pt>
                <c:pt idx="682">
                  <c:v>44420</c:v>
                </c:pt>
                <c:pt idx="683">
                  <c:v>44421</c:v>
                </c:pt>
                <c:pt idx="684">
                  <c:v>44424</c:v>
                </c:pt>
                <c:pt idx="685">
                  <c:v>44425</c:v>
                </c:pt>
                <c:pt idx="686">
                  <c:v>44426</c:v>
                </c:pt>
                <c:pt idx="687">
                  <c:v>44427</c:v>
                </c:pt>
                <c:pt idx="688">
                  <c:v>44428</c:v>
                </c:pt>
                <c:pt idx="689">
                  <c:v>44431</c:v>
                </c:pt>
                <c:pt idx="690">
                  <c:v>44432</c:v>
                </c:pt>
                <c:pt idx="691">
                  <c:v>44433</c:v>
                </c:pt>
                <c:pt idx="692">
                  <c:v>44434</c:v>
                </c:pt>
                <c:pt idx="693">
                  <c:v>44435</c:v>
                </c:pt>
                <c:pt idx="694">
                  <c:v>44438</c:v>
                </c:pt>
                <c:pt idx="695">
                  <c:v>44439</c:v>
                </c:pt>
                <c:pt idx="696">
                  <c:v>44440</c:v>
                </c:pt>
                <c:pt idx="697">
                  <c:v>44441</c:v>
                </c:pt>
                <c:pt idx="698">
                  <c:v>44442</c:v>
                </c:pt>
                <c:pt idx="699">
                  <c:v>44445</c:v>
                </c:pt>
                <c:pt idx="700">
                  <c:v>44446</c:v>
                </c:pt>
                <c:pt idx="701">
                  <c:v>44447</c:v>
                </c:pt>
                <c:pt idx="702">
                  <c:v>44448</c:v>
                </c:pt>
                <c:pt idx="703">
                  <c:v>44449</c:v>
                </c:pt>
                <c:pt idx="704">
                  <c:v>44452</c:v>
                </c:pt>
                <c:pt idx="705">
                  <c:v>44453</c:v>
                </c:pt>
                <c:pt idx="706">
                  <c:v>44454</c:v>
                </c:pt>
                <c:pt idx="707">
                  <c:v>44455</c:v>
                </c:pt>
                <c:pt idx="708">
                  <c:v>44456</c:v>
                </c:pt>
                <c:pt idx="709">
                  <c:v>44459</c:v>
                </c:pt>
                <c:pt idx="710">
                  <c:v>44460</c:v>
                </c:pt>
                <c:pt idx="711">
                  <c:v>44461</c:v>
                </c:pt>
                <c:pt idx="712">
                  <c:v>44462</c:v>
                </c:pt>
                <c:pt idx="713">
                  <c:v>44463</c:v>
                </c:pt>
                <c:pt idx="714">
                  <c:v>44466</c:v>
                </c:pt>
                <c:pt idx="715">
                  <c:v>44467</c:v>
                </c:pt>
                <c:pt idx="716">
                  <c:v>44468</c:v>
                </c:pt>
                <c:pt idx="717">
                  <c:v>44469</c:v>
                </c:pt>
                <c:pt idx="718">
                  <c:v>44470</c:v>
                </c:pt>
                <c:pt idx="719">
                  <c:v>44473</c:v>
                </c:pt>
                <c:pt idx="720">
                  <c:v>44474</c:v>
                </c:pt>
                <c:pt idx="721">
                  <c:v>44475</c:v>
                </c:pt>
                <c:pt idx="722">
                  <c:v>44476</c:v>
                </c:pt>
                <c:pt idx="723">
                  <c:v>44477</c:v>
                </c:pt>
                <c:pt idx="724">
                  <c:v>44480</c:v>
                </c:pt>
                <c:pt idx="725">
                  <c:v>44481</c:v>
                </c:pt>
                <c:pt idx="726">
                  <c:v>44482</c:v>
                </c:pt>
                <c:pt idx="727">
                  <c:v>44483</c:v>
                </c:pt>
                <c:pt idx="728">
                  <c:v>44484</c:v>
                </c:pt>
                <c:pt idx="729">
                  <c:v>44487</c:v>
                </c:pt>
                <c:pt idx="730">
                  <c:v>44488</c:v>
                </c:pt>
                <c:pt idx="731">
                  <c:v>44489</c:v>
                </c:pt>
                <c:pt idx="732">
                  <c:v>44490</c:v>
                </c:pt>
                <c:pt idx="733">
                  <c:v>44491</c:v>
                </c:pt>
                <c:pt idx="734">
                  <c:v>44494</c:v>
                </c:pt>
                <c:pt idx="735">
                  <c:v>44495</c:v>
                </c:pt>
                <c:pt idx="736">
                  <c:v>44496</c:v>
                </c:pt>
                <c:pt idx="737">
                  <c:v>44497</c:v>
                </c:pt>
                <c:pt idx="738">
                  <c:v>44498</c:v>
                </c:pt>
                <c:pt idx="739">
                  <c:v>44501</c:v>
                </c:pt>
                <c:pt idx="740">
                  <c:v>44502</c:v>
                </c:pt>
                <c:pt idx="741">
                  <c:v>44503</c:v>
                </c:pt>
                <c:pt idx="742">
                  <c:v>44504</c:v>
                </c:pt>
                <c:pt idx="743">
                  <c:v>44505</c:v>
                </c:pt>
                <c:pt idx="744">
                  <c:v>44508</c:v>
                </c:pt>
                <c:pt idx="745">
                  <c:v>44509</c:v>
                </c:pt>
                <c:pt idx="746">
                  <c:v>44510</c:v>
                </c:pt>
                <c:pt idx="747">
                  <c:v>44511</c:v>
                </c:pt>
                <c:pt idx="748">
                  <c:v>44512</c:v>
                </c:pt>
                <c:pt idx="749">
                  <c:v>44515</c:v>
                </c:pt>
                <c:pt idx="750">
                  <c:v>44516</c:v>
                </c:pt>
                <c:pt idx="751">
                  <c:v>44517</c:v>
                </c:pt>
                <c:pt idx="752">
                  <c:v>44518</c:v>
                </c:pt>
                <c:pt idx="753">
                  <c:v>44519</c:v>
                </c:pt>
                <c:pt idx="754">
                  <c:v>44522</c:v>
                </c:pt>
                <c:pt idx="755">
                  <c:v>44523</c:v>
                </c:pt>
                <c:pt idx="756">
                  <c:v>44524</c:v>
                </c:pt>
                <c:pt idx="757">
                  <c:v>44526</c:v>
                </c:pt>
                <c:pt idx="758">
                  <c:v>44529</c:v>
                </c:pt>
                <c:pt idx="759">
                  <c:v>44530</c:v>
                </c:pt>
                <c:pt idx="760">
                  <c:v>44531</c:v>
                </c:pt>
                <c:pt idx="761">
                  <c:v>44532</c:v>
                </c:pt>
                <c:pt idx="762">
                  <c:v>44533</c:v>
                </c:pt>
                <c:pt idx="763">
                  <c:v>44536</c:v>
                </c:pt>
                <c:pt idx="764">
                  <c:v>44537</c:v>
                </c:pt>
                <c:pt idx="765">
                  <c:v>44538</c:v>
                </c:pt>
                <c:pt idx="766">
                  <c:v>44539</c:v>
                </c:pt>
                <c:pt idx="767">
                  <c:v>44540</c:v>
                </c:pt>
                <c:pt idx="768">
                  <c:v>44543</c:v>
                </c:pt>
                <c:pt idx="769">
                  <c:v>44544</c:v>
                </c:pt>
                <c:pt idx="770">
                  <c:v>44545</c:v>
                </c:pt>
                <c:pt idx="771">
                  <c:v>44546</c:v>
                </c:pt>
                <c:pt idx="772">
                  <c:v>44547</c:v>
                </c:pt>
                <c:pt idx="773">
                  <c:v>44550</c:v>
                </c:pt>
                <c:pt idx="774">
                  <c:v>44551</c:v>
                </c:pt>
                <c:pt idx="775">
                  <c:v>44552</c:v>
                </c:pt>
                <c:pt idx="776">
                  <c:v>44553</c:v>
                </c:pt>
                <c:pt idx="777">
                  <c:v>44557</c:v>
                </c:pt>
                <c:pt idx="778">
                  <c:v>44558</c:v>
                </c:pt>
                <c:pt idx="779">
                  <c:v>44559</c:v>
                </c:pt>
                <c:pt idx="780">
                  <c:v>44560</c:v>
                </c:pt>
                <c:pt idx="781">
                  <c:v>44561</c:v>
                </c:pt>
                <c:pt idx="782">
                  <c:v>44564</c:v>
                </c:pt>
                <c:pt idx="783">
                  <c:v>44565</c:v>
                </c:pt>
                <c:pt idx="784">
                  <c:v>44566</c:v>
                </c:pt>
                <c:pt idx="785">
                  <c:v>44567</c:v>
                </c:pt>
                <c:pt idx="786">
                  <c:v>44568</c:v>
                </c:pt>
                <c:pt idx="787">
                  <c:v>44571</c:v>
                </c:pt>
                <c:pt idx="788">
                  <c:v>44572</c:v>
                </c:pt>
                <c:pt idx="789">
                  <c:v>44573</c:v>
                </c:pt>
                <c:pt idx="790">
                  <c:v>44574</c:v>
                </c:pt>
                <c:pt idx="791">
                  <c:v>44575</c:v>
                </c:pt>
                <c:pt idx="792">
                  <c:v>44579</c:v>
                </c:pt>
                <c:pt idx="793">
                  <c:v>44580</c:v>
                </c:pt>
                <c:pt idx="794">
                  <c:v>44581</c:v>
                </c:pt>
                <c:pt idx="795">
                  <c:v>44582</c:v>
                </c:pt>
                <c:pt idx="796">
                  <c:v>44585</c:v>
                </c:pt>
                <c:pt idx="797">
                  <c:v>44586</c:v>
                </c:pt>
                <c:pt idx="798">
                  <c:v>44587</c:v>
                </c:pt>
                <c:pt idx="799">
                  <c:v>44588</c:v>
                </c:pt>
                <c:pt idx="800">
                  <c:v>44589</c:v>
                </c:pt>
                <c:pt idx="801">
                  <c:v>44592</c:v>
                </c:pt>
                <c:pt idx="802">
                  <c:v>44593</c:v>
                </c:pt>
                <c:pt idx="803">
                  <c:v>44594</c:v>
                </c:pt>
                <c:pt idx="804">
                  <c:v>44595</c:v>
                </c:pt>
                <c:pt idx="805">
                  <c:v>44596</c:v>
                </c:pt>
                <c:pt idx="806">
                  <c:v>44599</c:v>
                </c:pt>
                <c:pt idx="807">
                  <c:v>44600</c:v>
                </c:pt>
                <c:pt idx="808">
                  <c:v>44601</c:v>
                </c:pt>
                <c:pt idx="809">
                  <c:v>44602</c:v>
                </c:pt>
                <c:pt idx="810">
                  <c:v>44603</c:v>
                </c:pt>
                <c:pt idx="811">
                  <c:v>44606</c:v>
                </c:pt>
                <c:pt idx="812">
                  <c:v>44607</c:v>
                </c:pt>
                <c:pt idx="813">
                  <c:v>44608</c:v>
                </c:pt>
                <c:pt idx="814">
                  <c:v>44609</c:v>
                </c:pt>
                <c:pt idx="815">
                  <c:v>44610</c:v>
                </c:pt>
                <c:pt idx="816">
                  <c:v>44614</c:v>
                </c:pt>
                <c:pt idx="817">
                  <c:v>44615</c:v>
                </c:pt>
                <c:pt idx="818">
                  <c:v>44616</c:v>
                </c:pt>
                <c:pt idx="819">
                  <c:v>44617</c:v>
                </c:pt>
                <c:pt idx="820">
                  <c:v>44620</c:v>
                </c:pt>
                <c:pt idx="821">
                  <c:v>44621</c:v>
                </c:pt>
                <c:pt idx="822">
                  <c:v>44622</c:v>
                </c:pt>
                <c:pt idx="823">
                  <c:v>44623</c:v>
                </c:pt>
                <c:pt idx="824">
                  <c:v>44624</c:v>
                </c:pt>
                <c:pt idx="825">
                  <c:v>44627</c:v>
                </c:pt>
                <c:pt idx="826">
                  <c:v>44628</c:v>
                </c:pt>
                <c:pt idx="827">
                  <c:v>44629</c:v>
                </c:pt>
                <c:pt idx="828">
                  <c:v>44630</c:v>
                </c:pt>
                <c:pt idx="829">
                  <c:v>44631</c:v>
                </c:pt>
                <c:pt idx="830">
                  <c:v>44634</c:v>
                </c:pt>
                <c:pt idx="831">
                  <c:v>44635</c:v>
                </c:pt>
                <c:pt idx="832">
                  <c:v>44636</c:v>
                </c:pt>
                <c:pt idx="833">
                  <c:v>44637</c:v>
                </c:pt>
                <c:pt idx="834">
                  <c:v>44638</c:v>
                </c:pt>
                <c:pt idx="835">
                  <c:v>44641</c:v>
                </c:pt>
                <c:pt idx="836">
                  <c:v>44642</c:v>
                </c:pt>
                <c:pt idx="837">
                  <c:v>44643</c:v>
                </c:pt>
                <c:pt idx="838">
                  <c:v>44644</c:v>
                </c:pt>
                <c:pt idx="839">
                  <c:v>44645</c:v>
                </c:pt>
                <c:pt idx="840">
                  <c:v>44648</c:v>
                </c:pt>
                <c:pt idx="841">
                  <c:v>44649</c:v>
                </c:pt>
                <c:pt idx="842">
                  <c:v>44650</c:v>
                </c:pt>
                <c:pt idx="843">
                  <c:v>44651</c:v>
                </c:pt>
                <c:pt idx="844">
                  <c:v>44652</c:v>
                </c:pt>
                <c:pt idx="845">
                  <c:v>44655</c:v>
                </c:pt>
                <c:pt idx="846">
                  <c:v>44656</c:v>
                </c:pt>
                <c:pt idx="847">
                  <c:v>44657</c:v>
                </c:pt>
                <c:pt idx="848">
                  <c:v>44658</c:v>
                </c:pt>
                <c:pt idx="849">
                  <c:v>44659</c:v>
                </c:pt>
                <c:pt idx="850">
                  <c:v>44662</c:v>
                </c:pt>
                <c:pt idx="851">
                  <c:v>44663</c:v>
                </c:pt>
                <c:pt idx="852">
                  <c:v>44664</c:v>
                </c:pt>
                <c:pt idx="853">
                  <c:v>44665</c:v>
                </c:pt>
                <c:pt idx="854">
                  <c:v>44669</c:v>
                </c:pt>
                <c:pt idx="855">
                  <c:v>44670</c:v>
                </c:pt>
                <c:pt idx="856">
                  <c:v>44671</c:v>
                </c:pt>
                <c:pt idx="857">
                  <c:v>44672</c:v>
                </c:pt>
                <c:pt idx="858">
                  <c:v>44673</c:v>
                </c:pt>
                <c:pt idx="859">
                  <c:v>44676</c:v>
                </c:pt>
                <c:pt idx="860">
                  <c:v>44677</c:v>
                </c:pt>
                <c:pt idx="861">
                  <c:v>44678</c:v>
                </c:pt>
                <c:pt idx="862">
                  <c:v>44679</c:v>
                </c:pt>
                <c:pt idx="863">
                  <c:v>44680</c:v>
                </c:pt>
                <c:pt idx="864">
                  <c:v>44683</c:v>
                </c:pt>
                <c:pt idx="865">
                  <c:v>44684</c:v>
                </c:pt>
                <c:pt idx="866">
                  <c:v>44685</c:v>
                </c:pt>
                <c:pt idx="867">
                  <c:v>44686</c:v>
                </c:pt>
                <c:pt idx="868">
                  <c:v>44687</c:v>
                </c:pt>
                <c:pt idx="869">
                  <c:v>44690</c:v>
                </c:pt>
                <c:pt idx="870">
                  <c:v>44691</c:v>
                </c:pt>
                <c:pt idx="871">
                  <c:v>44692</c:v>
                </c:pt>
                <c:pt idx="872">
                  <c:v>44693</c:v>
                </c:pt>
                <c:pt idx="873">
                  <c:v>44694</c:v>
                </c:pt>
                <c:pt idx="874">
                  <c:v>44697</c:v>
                </c:pt>
                <c:pt idx="875">
                  <c:v>44698</c:v>
                </c:pt>
                <c:pt idx="876">
                  <c:v>44699</c:v>
                </c:pt>
                <c:pt idx="877">
                  <c:v>44700</c:v>
                </c:pt>
                <c:pt idx="878">
                  <c:v>44701</c:v>
                </c:pt>
                <c:pt idx="879">
                  <c:v>44704</c:v>
                </c:pt>
                <c:pt idx="880">
                  <c:v>44705</c:v>
                </c:pt>
                <c:pt idx="881">
                  <c:v>44706</c:v>
                </c:pt>
                <c:pt idx="882">
                  <c:v>44707</c:v>
                </c:pt>
                <c:pt idx="883">
                  <c:v>44708</c:v>
                </c:pt>
                <c:pt idx="884">
                  <c:v>44712</c:v>
                </c:pt>
                <c:pt idx="885">
                  <c:v>44713</c:v>
                </c:pt>
                <c:pt idx="886">
                  <c:v>44714</c:v>
                </c:pt>
                <c:pt idx="887">
                  <c:v>44715</c:v>
                </c:pt>
                <c:pt idx="888">
                  <c:v>44718</c:v>
                </c:pt>
                <c:pt idx="889">
                  <c:v>44719</c:v>
                </c:pt>
                <c:pt idx="890">
                  <c:v>44720</c:v>
                </c:pt>
                <c:pt idx="891">
                  <c:v>44721</c:v>
                </c:pt>
                <c:pt idx="892">
                  <c:v>44722</c:v>
                </c:pt>
                <c:pt idx="893">
                  <c:v>44725</c:v>
                </c:pt>
                <c:pt idx="894">
                  <c:v>44726</c:v>
                </c:pt>
                <c:pt idx="895">
                  <c:v>44727</c:v>
                </c:pt>
                <c:pt idx="896">
                  <c:v>44728</c:v>
                </c:pt>
                <c:pt idx="897">
                  <c:v>44729</c:v>
                </c:pt>
                <c:pt idx="898">
                  <c:v>44733</c:v>
                </c:pt>
                <c:pt idx="899">
                  <c:v>44734</c:v>
                </c:pt>
                <c:pt idx="900">
                  <c:v>44735</c:v>
                </c:pt>
                <c:pt idx="901">
                  <c:v>44736</c:v>
                </c:pt>
                <c:pt idx="902">
                  <c:v>44739</c:v>
                </c:pt>
                <c:pt idx="903">
                  <c:v>44740</c:v>
                </c:pt>
                <c:pt idx="904">
                  <c:v>44741</c:v>
                </c:pt>
                <c:pt idx="905">
                  <c:v>44742</c:v>
                </c:pt>
                <c:pt idx="906">
                  <c:v>44743</c:v>
                </c:pt>
                <c:pt idx="907">
                  <c:v>44747</c:v>
                </c:pt>
                <c:pt idx="908">
                  <c:v>44748</c:v>
                </c:pt>
                <c:pt idx="909">
                  <c:v>44749</c:v>
                </c:pt>
                <c:pt idx="910">
                  <c:v>44750</c:v>
                </c:pt>
                <c:pt idx="911">
                  <c:v>44753</c:v>
                </c:pt>
                <c:pt idx="912">
                  <c:v>44754</c:v>
                </c:pt>
                <c:pt idx="913">
                  <c:v>44755</c:v>
                </c:pt>
                <c:pt idx="914">
                  <c:v>44756</c:v>
                </c:pt>
                <c:pt idx="915">
                  <c:v>44757</c:v>
                </c:pt>
                <c:pt idx="916">
                  <c:v>44760</c:v>
                </c:pt>
                <c:pt idx="917">
                  <c:v>44761</c:v>
                </c:pt>
                <c:pt idx="918">
                  <c:v>44762</c:v>
                </c:pt>
                <c:pt idx="919">
                  <c:v>44763</c:v>
                </c:pt>
                <c:pt idx="920">
                  <c:v>44764</c:v>
                </c:pt>
                <c:pt idx="921">
                  <c:v>44767</c:v>
                </c:pt>
                <c:pt idx="922">
                  <c:v>44768</c:v>
                </c:pt>
                <c:pt idx="923">
                  <c:v>44769</c:v>
                </c:pt>
                <c:pt idx="924">
                  <c:v>44770</c:v>
                </c:pt>
                <c:pt idx="925">
                  <c:v>44771</c:v>
                </c:pt>
                <c:pt idx="926">
                  <c:v>44774</c:v>
                </c:pt>
                <c:pt idx="927">
                  <c:v>44775</c:v>
                </c:pt>
                <c:pt idx="928">
                  <c:v>44776</c:v>
                </c:pt>
                <c:pt idx="929">
                  <c:v>44777</c:v>
                </c:pt>
                <c:pt idx="930">
                  <c:v>44778</c:v>
                </c:pt>
                <c:pt idx="931">
                  <c:v>44781</c:v>
                </c:pt>
                <c:pt idx="932">
                  <c:v>44782</c:v>
                </c:pt>
                <c:pt idx="933">
                  <c:v>44783</c:v>
                </c:pt>
                <c:pt idx="934">
                  <c:v>44784</c:v>
                </c:pt>
                <c:pt idx="935">
                  <c:v>44785</c:v>
                </c:pt>
                <c:pt idx="936">
                  <c:v>44788</c:v>
                </c:pt>
                <c:pt idx="937">
                  <c:v>44789</c:v>
                </c:pt>
                <c:pt idx="938">
                  <c:v>44790</c:v>
                </c:pt>
                <c:pt idx="939">
                  <c:v>44791</c:v>
                </c:pt>
                <c:pt idx="940">
                  <c:v>44792</c:v>
                </c:pt>
                <c:pt idx="941">
                  <c:v>44795</c:v>
                </c:pt>
                <c:pt idx="942">
                  <c:v>44796</c:v>
                </c:pt>
                <c:pt idx="943">
                  <c:v>44797</c:v>
                </c:pt>
                <c:pt idx="944">
                  <c:v>44798</c:v>
                </c:pt>
                <c:pt idx="945">
                  <c:v>44799</c:v>
                </c:pt>
                <c:pt idx="946">
                  <c:v>44802</c:v>
                </c:pt>
                <c:pt idx="947">
                  <c:v>44804</c:v>
                </c:pt>
                <c:pt idx="948">
                  <c:v>44805</c:v>
                </c:pt>
                <c:pt idx="949">
                  <c:v>44806</c:v>
                </c:pt>
                <c:pt idx="950">
                  <c:v>44810</c:v>
                </c:pt>
                <c:pt idx="951">
                  <c:v>44811</c:v>
                </c:pt>
                <c:pt idx="952">
                  <c:v>44812</c:v>
                </c:pt>
                <c:pt idx="953">
                  <c:v>44813</c:v>
                </c:pt>
                <c:pt idx="954">
                  <c:v>44816</c:v>
                </c:pt>
                <c:pt idx="955">
                  <c:v>44817</c:v>
                </c:pt>
                <c:pt idx="956">
                  <c:v>44818</c:v>
                </c:pt>
                <c:pt idx="957">
                  <c:v>44819</c:v>
                </c:pt>
                <c:pt idx="958">
                  <c:v>44820</c:v>
                </c:pt>
                <c:pt idx="959">
                  <c:v>44823</c:v>
                </c:pt>
                <c:pt idx="960">
                  <c:v>44824</c:v>
                </c:pt>
                <c:pt idx="961">
                  <c:v>44825</c:v>
                </c:pt>
                <c:pt idx="962">
                  <c:v>44826</c:v>
                </c:pt>
                <c:pt idx="963">
                  <c:v>44827</c:v>
                </c:pt>
                <c:pt idx="964">
                  <c:v>44830</c:v>
                </c:pt>
                <c:pt idx="965">
                  <c:v>44831</c:v>
                </c:pt>
                <c:pt idx="966">
                  <c:v>44832</c:v>
                </c:pt>
                <c:pt idx="967">
                  <c:v>44833</c:v>
                </c:pt>
                <c:pt idx="968">
                  <c:v>44834</c:v>
                </c:pt>
                <c:pt idx="969">
                  <c:v>44837</c:v>
                </c:pt>
                <c:pt idx="970">
                  <c:v>44838</c:v>
                </c:pt>
                <c:pt idx="971">
                  <c:v>44839</c:v>
                </c:pt>
                <c:pt idx="972">
                  <c:v>44840</c:v>
                </c:pt>
                <c:pt idx="973">
                  <c:v>44841</c:v>
                </c:pt>
                <c:pt idx="974">
                  <c:v>44844</c:v>
                </c:pt>
                <c:pt idx="975">
                  <c:v>44845</c:v>
                </c:pt>
                <c:pt idx="976">
                  <c:v>44846</c:v>
                </c:pt>
                <c:pt idx="977">
                  <c:v>44847</c:v>
                </c:pt>
                <c:pt idx="978">
                  <c:v>44848</c:v>
                </c:pt>
                <c:pt idx="979">
                  <c:v>44851</c:v>
                </c:pt>
                <c:pt idx="980">
                  <c:v>44852</c:v>
                </c:pt>
                <c:pt idx="981">
                  <c:v>44853</c:v>
                </c:pt>
                <c:pt idx="982">
                  <c:v>44854</c:v>
                </c:pt>
                <c:pt idx="983">
                  <c:v>44855</c:v>
                </c:pt>
                <c:pt idx="984">
                  <c:v>44858</c:v>
                </c:pt>
                <c:pt idx="985">
                  <c:v>44859</c:v>
                </c:pt>
                <c:pt idx="986">
                  <c:v>44860</c:v>
                </c:pt>
                <c:pt idx="987">
                  <c:v>44861</c:v>
                </c:pt>
                <c:pt idx="988">
                  <c:v>44862</c:v>
                </c:pt>
                <c:pt idx="989">
                  <c:v>44865</c:v>
                </c:pt>
                <c:pt idx="990">
                  <c:v>44866</c:v>
                </c:pt>
                <c:pt idx="991">
                  <c:v>44867</c:v>
                </c:pt>
                <c:pt idx="992">
                  <c:v>44868</c:v>
                </c:pt>
                <c:pt idx="993">
                  <c:v>44869</c:v>
                </c:pt>
                <c:pt idx="994">
                  <c:v>44872</c:v>
                </c:pt>
                <c:pt idx="995">
                  <c:v>44873</c:v>
                </c:pt>
                <c:pt idx="996">
                  <c:v>44874</c:v>
                </c:pt>
                <c:pt idx="997">
                  <c:v>44875</c:v>
                </c:pt>
                <c:pt idx="998">
                  <c:v>44876</c:v>
                </c:pt>
                <c:pt idx="999">
                  <c:v>44879</c:v>
                </c:pt>
                <c:pt idx="1000">
                  <c:v>44880</c:v>
                </c:pt>
                <c:pt idx="1001">
                  <c:v>44881</c:v>
                </c:pt>
                <c:pt idx="1002">
                  <c:v>44882</c:v>
                </c:pt>
                <c:pt idx="1003">
                  <c:v>44883</c:v>
                </c:pt>
                <c:pt idx="1004">
                  <c:v>44886</c:v>
                </c:pt>
                <c:pt idx="1005">
                  <c:v>44887</c:v>
                </c:pt>
                <c:pt idx="1006">
                  <c:v>44888</c:v>
                </c:pt>
                <c:pt idx="1007">
                  <c:v>44890</c:v>
                </c:pt>
                <c:pt idx="1008">
                  <c:v>44893</c:v>
                </c:pt>
                <c:pt idx="1009">
                  <c:v>44894</c:v>
                </c:pt>
                <c:pt idx="1010">
                  <c:v>44895</c:v>
                </c:pt>
                <c:pt idx="1011">
                  <c:v>44896</c:v>
                </c:pt>
                <c:pt idx="1012">
                  <c:v>44897</c:v>
                </c:pt>
                <c:pt idx="1013">
                  <c:v>44900</c:v>
                </c:pt>
                <c:pt idx="1014">
                  <c:v>44901</c:v>
                </c:pt>
                <c:pt idx="1015">
                  <c:v>44902</c:v>
                </c:pt>
                <c:pt idx="1016">
                  <c:v>44903</c:v>
                </c:pt>
                <c:pt idx="1017">
                  <c:v>44904</c:v>
                </c:pt>
                <c:pt idx="1018">
                  <c:v>44907</c:v>
                </c:pt>
                <c:pt idx="1019">
                  <c:v>44908</c:v>
                </c:pt>
                <c:pt idx="1020">
                  <c:v>44909</c:v>
                </c:pt>
                <c:pt idx="1021">
                  <c:v>44910</c:v>
                </c:pt>
                <c:pt idx="1022">
                  <c:v>44911</c:v>
                </c:pt>
                <c:pt idx="1023">
                  <c:v>44914</c:v>
                </c:pt>
                <c:pt idx="1024">
                  <c:v>44915</c:v>
                </c:pt>
                <c:pt idx="1025">
                  <c:v>44916</c:v>
                </c:pt>
                <c:pt idx="1026">
                  <c:v>44917</c:v>
                </c:pt>
                <c:pt idx="1027">
                  <c:v>44918</c:v>
                </c:pt>
                <c:pt idx="1028">
                  <c:v>44922</c:v>
                </c:pt>
                <c:pt idx="1029">
                  <c:v>44923</c:v>
                </c:pt>
                <c:pt idx="1030">
                  <c:v>44924</c:v>
                </c:pt>
                <c:pt idx="1031">
                  <c:v>44925</c:v>
                </c:pt>
                <c:pt idx="1032">
                  <c:v>44929</c:v>
                </c:pt>
                <c:pt idx="1033">
                  <c:v>44930</c:v>
                </c:pt>
                <c:pt idx="1034">
                  <c:v>44931</c:v>
                </c:pt>
                <c:pt idx="1035">
                  <c:v>44932</c:v>
                </c:pt>
                <c:pt idx="1036">
                  <c:v>44935</c:v>
                </c:pt>
                <c:pt idx="1037">
                  <c:v>44936</c:v>
                </c:pt>
                <c:pt idx="1038">
                  <c:v>44937</c:v>
                </c:pt>
                <c:pt idx="1039">
                  <c:v>44938</c:v>
                </c:pt>
                <c:pt idx="1040">
                  <c:v>44939</c:v>
                </c:pt>
                <c:pt idx="1041">
                  <c:v>44943</c:v>
                </c:pt>
                <c:pt idx="1042">
                  <c:v>44944</c:v>
                </c:pt>
                <c:pt idx="1043">
                  <c:v>44945</c:v>
                </c:pt>
                <c:pt idx="1044">
                  <c:v>44946</c:v>
                </c:pt>
                <c:pt idx="1045">
                  <c:v>44949</c:v>
                </c:pt>
                <c:pt idx="1046">
                  <c:v>44950</c:v>
                </c:pt>
                <c:pt idx="1047">
                  <c:v>44951</c:v>
                </c:pt>
                <c:pt idx="1048">
                  <c:v>44952</c:v>
                </c:pt>
                <c:pt idx="1049">
                  <c:v>44953</c:v>
                </c:pt>
                <c:pt idx="1050">
                  <c:v>44956</c:v>
                </c:pt>
                <c:pt idx="1051">
                  <c:v>44957</c:v>
                </c:pt>
                <c:pt idx="1052">
                  <c:v>44958</c:v>
                </c:pt>
                <c:pt idx="1053">
                  <c:v>44959</c:v>
                </c:pt>
                <c:pt idx="1054">
                  <c:v>44960</c:v>
                </c:pt>
                <c:pt idx="1055">
                  <c:v>44963</c:v>
                </c:pt>
                <c:pt idx="1056">
                  <c:v>44964</c:v>
                </c:pt>
                <c:pt idx="1057">
                  <c:v>44965</c:v>
                </c:pt>
                <c:pt idx="1058">
                  <c:v>44966</c:v>
                </c:pt>
                <c:pt idx="1059">
                  <c:v>44967</c:v>
                </c:pt>
                <c:pt idx="1060">
                  <c:v>44970</c:v>
                </c:pt>
                <c:pt idx="1061">
                  <c:v>44971</c:v>
                </c:pt>
                <c:pt idx="1062">
                  <c:v>44972</c:v>
                </c:pt>
                <c:pt idx="1063">
                  <c:v>44973</c:v>
                </c:pt>
                <c:pt idx="1064">
                  <c:v>44978</c:v>
                </c:pt>
                <c:pt idx="1065">
                  <c:v>44979</c:v>
                </c:pt>
                <c:pt idx="1066">
                  <c:v>44980</c:v>
                </c:pt>
                <c:pt idx="1067">
                  <c:v>44981</c:v>
                </c:pt>
                <c:pt idx="1068">
                  <c:v>44984</c:v>
                </c:pt>
                <c:pt idx="1069">
                  <c:v>44985</c:v>
                </c:pt>
                <c:pt idx="1070">
                  <c:v>44986</c:v>
                </c:pt>
                <c:pt idx="1071">
                  <c:v>44987</c:v>
                </c:pt>
                <c:pt idx="1072">
                  <c:v>44988</c:v>
                </c:pt>
                <c:pt idx="1073">
                  <c:v>44991</c:v>
                </c:pt>
                <c:pt idx="1074">
                  <c:v>44992</c:v>
                </c:pt>
                <c:pt idx="1075">
                  <c:v>44993</c:v>
                </c:pt>
                <c:pt idx="1076">
                  <c:v>44994</c:v>
                </c:pt>
                <c:pt idx="1077">
                  <c:v>44995</c:v>
                </c:pt>
                <c:pt idx="1078">
                  <c:v>44998</c:v>
                </c:pt>
                <c:pt idx="1079">
                  <c:v>44999</c:v>
                </c:pt>
                <c:pt idx="1080">
                  <c:v>45000</c:v>
                </c:pt>
                <c:pt idx="1081">
                  <c:v>45001</c:v>
                </c:pt>
                <c:pt idx="1082">
                  <c:v>45002</c:v>
                </c:pt>
                <c:pt idx="1083">
                  <c:v>45005</c:v>
                </c:pt>
                <c:pt idx="1084">
                  <c:v>45006</c:v>
                </c:pt>
                <c:pt idx="1085">
                  <c:v>45007</c:v>
                </c:pt>
                <c:pt idx="1086">
                  <c:v>45008</c:v>
                </c:pt>
                <c:pt idx="1087">
                  <c:v>45009</c:v>
                </c:pt>
                <c:pt idx="1088">
                  <c:v>45012</c:v>
                </c:pt>
                <c:pt idx="1089">
                  <c:v>45013</c:v>
                </c:pt>
                <c:pt idx="1090">
                  <c:v>45014</c:v>
                </c:pt>
                <c:pt idx="1091">
                  <c:v>45015</c:v>
                </c:pt>
                <c:pt idx="1092">
                  <c:v>45016</c:v>
                </c:pt>
                <c:pt idx="1093">
                  <c:v>45019</c:v>
                </c:pt>
                <c:pt idx="1094">
                  <c:v>45020</c:v>
                </c:pt>
                <c:pt idx="1095">
                  <c:v>45021</c:v>
                </c:pt>
                <c:pt idx="1096">
                  <c:v>45022</c:v>
                </c:pt>
                <c:pt idx="1097">
                  <c:v>45026</c:v>
                </c:pt>
                <c:pt idx="1098">
                  <c:v>45027</c:v>
                </c:pt>
                <c:pt idx="1099">
                  <c:v>45028</c:v>
                </c:pt>
                <c:pt idx="1100">
                  <c:v>45029</c:v>
                </c:pt>
                <c:pt idx="1101">
                  <c:v>45030</c:v>
                </c:pt>
                <c:pt idx="1102">
                  <c:v>45033</c:v>
                </c:pt>
                <c:pt idx="1103">
                  <c:v>45035</c:v>
                </c:pt>
                <c:pt idx="1104">
                  <c:v>45036</c:v>
                </c:pt>
                <c:pt idx="1105">
                  <c:v>45037</c:v>
                </c:pt>
                <c:pt idx="1106">
                  <c:v>45040</c:v>
                </c:pt>
                <c:pt idx="1107">
                  <c:v>45041</c:v>
                </c:pt>
                <c:pt idx="1108">
                  <c:v>45047</c:v>
                </c:pt>
                <c:pt idx="1109">
                  <c:v>45048</c:v>
                </c:pt>
                <c:pt idx="1110">
                  <c:v>45049</c:v>
                </c:pt>
                <c:pt idx="1111">
                  <c:v>45050</c:v>
                </c:pt>
                <c:pt idx="1112">
                  <c:v>45051</c:v>
                </c:pt>
                <c:pt idx="1113">
                  <c:v>45054</c:v>
                </c:pt>
                <c:pt idx="1114">
                  <c:v>45055</c:v>
                </c:pt>
                <c:pt idx="1115">
                  <c:v>45056</c:v>
                </c:pt>
                <c:pt idx="1116">
                  <c:v>45057</c:v>
                </c:pt>
                <c:pt idx="1117">
                  <c:v>45058</c:v>
                </c:pt>
                <c:pt idx="1118">
                  <c:v>45061</c:v>
                </c:pt>
                <c:pt idx="1119">
                  <c:v>45062</c:v>
                </c:pt>
                <c:pt idx="1120">
                  <c:v>45063</c:v>
                </c:pt>
                <c:pt idx="1121">
                  <c:v>45064</c:v>
                </c:pt>
                <c:pt idx="1122">
                  <c:v>45065</c:v>
                </c:pt>
                <c:pt idx="1123">
                  <c:v>45068</c:v>
                </c:pt>
                <c:pt idx="1124">
                  <c:v>45069</c:v>
                </c:pt>
                <c:pt idx="1125">
                  <c:v>45070</c:v>
                </c:pt>
                <c:pt idx="1126">
                  <c:v>45071</c:v>
                </c:pt>
                <c:pt idx="1127">
                  <c:v>45072</c:v>
                </c:pt>
                <c:pt idx="1128">
                  <c:v>45076</c:v>
                </c:pt>
                <c:pt idx="1129">
                  <c:v>45077</c:v>
                </c:pt>
                <c:pt idx="1130">
                  <c:v>45078</c:v>
                </c:pt>
                <c:pt idx="1131">
                  <c:v>45079</c:v>
                </c:pt>
                <c:pt idx="1132">
                  <c:v>45082</c:v>
                </c:pt>
                <c:pt idx="1133">
                  <c:v>45083</c:v>
                </c:pt>
                <c:pt idx="1134">
                  <c:v>45084</c:v>
                </c:pt>
                <c:pt idx="1135">
                  <c:v>45085</c:v>
                </c:pt>
                <c:pt idx="1136">
                  <c:v>45086</c:v>
                </c:pt>
                <c:pt idx="1137">
                  <c:v>45089</c:v>
                </c:pt>
                <c:pt idx="1138">
                  <c:v>45090</c:v>
                </c:pt>
                <c:pt idx="1139">
                  <c:v>45091</c:v>
                </c:pt>
                <c:pt idx="1140">
                  <c:v>45092</c:v>
                </c:pt>
                <c:pt idx="1141">
                  <c:v>45093</c:v>
                </c:pt>
                <c:pt idx="1142">
                  <c:v>45097</c:v>
                </c:pt>
                <c:pt idx="1143">
                  <c:v>45098</c:v>
                </c:pt>
                <c:pt idx="1144">
                  <c:v>45099</c:v>
                </c:pt>
                <c:pt idx="1145">
                  <c:v>45100</c:v>
                </c:pt>
                <c:pt idx="1146">
                  <c:v>45103</c:v>
                </c:pt>
                <c:pt idx="1147">
                  <c:v>45104</c:v>
                </c:pt>
                <c:pt idx="1148">
                  <c:v>45106</c:v>
                </c:pt>
                <c:pt idx="1149">
                  <c:v>45107</c:v>
                </c:pt>
                <c:pt idx="1150">
                  <c:v>45110</c:v>
                </c:pt>
                <c:pt idx="1151">
                  <c:v>45113</c:v>
                </c:pt>
                <c:pt idx="1152">
                  <c:v>45114</c:v>
                </c:pt>
                <c:pt idx="1153">
                  <c:v>45117</c:v>
                </c:pt>
                <c:pt idx="1154">
                  <c:v>45118</c:v>
                </c:pt>
                <c:pt idx="1155">
                  <c:v>45119</c:v>
                </c:pt>
                <c:pt idx="1156">
                  <c:v>45120</c:v>
                </c:pt>
                <c:pt idx="1157">
                  <c:v>45121</c:v>
                </c:pt>
                <c:pt idx="1158">
                  <c:v>45124</c:v>
                </c:pt>
                <c:pt idx="1159">
                  <c:v>45125</c:v>
                </c:pt>
                <c:pt idx="1160">
                  <c:v>45126</c:v>
                </c:pt>
                <c:pt idx="1161">
                  <c:v>45127</c:v>
                </c:pt>
                <c:pt idx="1162">
                  <c:v>45128</c:v>
                </c:pt>
                <c:pt idx="1163">
                  <c:v>45131</c:v>
                </c:pt>
                <c:pt idx="1164">
                  <c:v>45132</c:v>
                </c:pt>
                <c:pt idx="1165">
                  <c:v>45133</c:v>
                </c:pt>
                <c:pt idx="1166">
                  <c:v>45134</c:v>
                </c:pt>
                <c:pt idx="1167">
                  <c:v>45135</c:v>
                </c:pt>
                <c:pt idx="1168">
                  <c:v>45138</c:v>
                </c:pt>
                <c:pt idx="1169">
                  <c:v>45139</c:v>
                </c:pt>
                <c:pt idx="1170">
                  <c:v>45140</c:v>
                </c:pt>
                <c:pt idx="1171">
                  <c:v>45141</c:v>
                </c:pt>
                <c:pt idx="1172">
                  <c:v>45142</c:v>
                </c:pt>
                <c:pt idx="1173">
                  <c:v>45145</c:v>
                </c:pt>
                <c:pt idx="1174">
                  <c:v>45146</c:v>
                </c:pt>
                <c:pt idx="1175">
                  <c:v>45147</c:v>
                </c:pt>
                <c:pt idx="1176">
                  <c:v>45148</c:v>
                </c:pt>
                <c:pt idx="1177">
                  <c:v>45149</c:v>
                </c:pt>
                <c:pt idx="1178">
                  <c:v>45152</c:v>
                </c:pt>
                <c:pt idx="1179">
                  <c:v>45153</c:v>
                </c:pt>
                <c:pt idx="1180">
                  <c:v>45154</c:v>
                </c:pt>
                <c:pt idx="1181">
                  <c:v>45155</c:v>
                </c:pt>
                <c:pt idx="1182">
                  <c:v>45156</c:v>
                </c:pt>
                <c:pt idx="1183">
                  <c:v>45159</c:v>
                </c:pt>
                <c:pt idx="1184">
                  <c:v>45160</c:v>
                </c:pt>
                <c:pt idx="1185">
                  <c:v>45161</c:v>
                </c:pt>
                <c:pt idx="1186">
                  <c:v>45162</c:v>
                </c:pt>
                <c:pt idx="1187">
                  <c:v>45163</c:v>
                </c:pt>
                <c:pt idx="1188">
                  <c:v>45166</c:v>
                </c:pt>
                <c:pt idx="1189">
                  <c:v>45167</c:v>
                </c:pt>
                <c:pt idx="1190">
                  <c:v>45169</c:v>
                </c:pt>
                <c:pt idx="1191">
                  <c:v>45170</c:v>
                </c:pt>
                <c:pt idx="1192">
                  <c:v>45174</c:v>
                </c:pt>
                <c:pt idx="1193">
                  <c:v>45175</c:v>
                </c:pt>
                <c:pt idx="1194">
                  <c:v>45176</c:v>
                </c:pt>
                <c:pt idx="1195">
                  <c:v>45177</c:v>
                </c:pt>
                <c:pt idx="1196">
                  <c:v>45180</c:v>
                </c:pt>
                <c:pt idx="1197">
                  <c:v>45181</c:v>
                </c:pt>
                <c:pt idx="1198">
                  <c:v>45182</c:v>
                </c:pt>
              </c:numCache>
            </c:numRef>
          </c:cat>
          <c:val>
            <c:numRef>
              <c:f>Sheet1!$C$2:$C$1200</c:f>
              <c:numCache>
                <c:formatCode>General</c:formatCode>
                <c:ptCount val="1199"/>
                <c:pt idx="0">
                  <c:v>8.9949998855590803</c:v>
                </c:pt>
                <c:pt idx="1">
                  <c:v>8.9700002670288104</c:v>
                </c:pt>
                <c:pt idx="2">
                  <c:v>8.9449996948242205</c:v>
                </c:pt>
                <c:pt idx="3">
                  <c:v>8.8850002288818395</c:v>
                </c:pt>
                <c:pt idx="4">
                  <c:v>8.8299999237060494</c:v>
                </c:pt>
                <c:pt idx="5">
                  <c:v>8.8199996948242205</c:v>
                </c:pt>
                <c:pt idx="6">
                  <c:v>8.7250003814697301</c:v>
                </c:pt>
                <c:pt idx="7">
                  <c:v>8.7950000762939506</c:v>
                </c:pt>
                <c:pt idx="8">
                  <c:v>8.7899999618530291</c:v>
                </c:pt>
                <c:pt idx="9">
                  <c:v>8.7899999618530291</c:v>
                </c:pt>
                <c:pt idx="10">
                  <c:v>8.7849998474121094</c:v>
                </c:pt>
                <c:pt idx="11">
                  <c:v>8.7849998474121094</c:v>
                </c:pt>
                <c:pt idx="12">
                  <c:v>8.7849998474121094</c:v>
                </c:pt>
                <c:pt idx="13">
                  <c:v>8.3500003814697301</c:v>
                </c:pt>
                <c:pt idx="14">
                  <c:v>8.3500003814697301</c:v>
                </c:pt>
                <c:pt idx="15">
                  <c:v>8.1450004577636701</c:v>
                </c:pt>
                <c:pt idx="16">
                  <c:v>8.1499996185302699</c:v>
                </c:pt>
                <c:pt idx="17">
                  <c:v>8.0249996185302699</c:v>
                </c:pt>
                <c:pt idx="18">
                  <c:v>7.7950000762939498</c:v>
                </c:pt>
                <c:pt idx="19">
                  <c:v>7.6950001716613796</c:v>
                </c:pt>
                <c:pt idx="20">
                  <c:v>7.5050001144409197</c:v>
                </c:pt>
                <c:pt idx="21">
                  <c:v>7.3649997711181596</c:v>
                </c:pt>
                <c:pt idx="22">
                  <c:v>7.3499999046325701</c:v>
                </c:pt>
                <c:pt idx="23">
                  <c:v>7.1999998092651403</c:v>
                </c:pt>
                <c:pt idx="24">
                  <c:v>7.3000001907348597</c:v>
                </c:pt>
                <c:pt idx="25">
                  <c:v>7.3000001907348597</c:v>
                </c:pt>
                <c:pt idx="26">
                  <c:v>7.3000001907348597</c:v>
                </c:pt>
                <c:pt idx="27">
                  <c:v>7.3099999427795401</c:v>
                </c:pt>
                <c:pt idx="28">
                  <c:v>7.3099999427795401</c:v>
                </c:pt>
                <c:pt idx="29">
                  <c:v>7.2950000762939498</c:v>
                </c:pt>
                <c:pt idx="30">
                  <c:v>7.2950000762939498</c:v>
                </c:pt>
                <c:pt idx="31">
                  <c:v>7.2800002098083496</c:v>
                </c:pt>
                <c:pt idx="32">
                  <c:v>7.2800002098083496</c:v>
                </c:pt>
                <c:pt idx="33">
                  <c:v>7.2800002098083496</c:v>
                </c:pt>
                <c:pt idx="34">
                  <c:v>7.2800002098083496</c:v>
                </c:pt>
                <c:pt idx="35">
                  <c:v>7.2800002098083496</c:v>
                </c:pt>
                <c:pt idx="36">
                  <c:v>7.2779998779296902</c:v>
                </c:pt>
                <c:pt idx="37">
                  <c:v>6.25</c:v>
                </c:pt>
                <c:pt idx="38">
                  <c:v>6.2300000190734899</c:v>
                </c:pt>
                <c:pt idx="39">
                  <c:v>6.1550002098083496</c:v>
                </c:pt>
                <c:pt idx="40">
                  <c:v>6.1550002098083496</c:v>
                </c:pt>
                <c:pt idx="41">
                  <c:v>6.1500000953674299</c:v>
                </c:pt>
                <c:pt idx="42">
                  <c:v>6.125</c:v>
                </c:pt>
                <c:pt idx="43">
                  <c:v>6.1199998855590803</c:v>
                </c:pt>
                <c:pt idx="44">
                  <c:v>6.0650000572204599</c:v>
                </c:pt>
                <c:pt idx="45">
                  <c:v>6.0450000762939498</c:v>
                </c:pt>
                <c:pt idx="46">
                  <c:v>6.0349998474121103</c:v>
                </c:pt>
                <c:pt idx="47">
                  <c:v>6</c:v>
                </c:pt>
                <c:pt idx="48">
                  <c:v>5.9850001335143999</c:v>
                </c:pt>
                <c:pt idx="49">
                  <c:v>5.9749999046325701</c:v>
                </c:pt>
                <c:pt idx="50">
                  <c:v>5.9749999046325701</c:v>
                </c:pt>
                <c:pt idx="51">
                  <c:v>5.9549999237060502</c:v>
                </c:pt>
                <c:pt idx="52">
                  <c:v>5.9450001716613796</c:v>
                </c:pt>
                <c:pt idx="53">
                  <c:v>5.9450001716613796</c:v>
                </c:pt>
                <c:pt idx="54">
                  <c:v>5.9450001716613796</c:v>
                </c:pt>
                <c:pt idx="55">
                  <c:v>5.94700002670288</c:v>
                </c:pt>
                <c:pt idx="56">
                  <c:v>4.9499998092651403</c:v>
                </c:pt>
                <c:pt idx="57">
                  <c:v>4.7300000190734899</c:v>
                </c:pt>
                <c:pt idx="58">
                  <c:v>4.6199998855590803</c:v>
                </c:pt>
                <c:pt idx="59">
                  <c:v>4.5999999046325701</c:v>
                </c:pt>
                <c:pt idx="60">
                  <c:v>4.5999999046325701</c:v>
                </c:pt>
                <c:pt idx="61">
                  <c:v>4.5999999046325701</c:v>
                </c:pt>
                <c:pt idx="62">
                  <c:v>4.5949997901916504</c:v>
                </c:pt>
                <c:pt idx="63">
                  <c:v>4.5999999046325701</c:v>
                </c:pt>
                <c:pt idx="64">
                  <c:v>4.5799999237060502</c:v>
                </c:pt>
                <c:pt idx="65">
                  <c:v>4.5799999237060502</c:v>
                </c:pt>
                <c:pt idx="66">
                  <c:v>4.5799999237060502</c:v>
                </c:pt>
                <c:pt idx="67">
                  <c:v>4.5999999046325701</c:v>
                </c:pt>
                <c:pt idx="68">
                  <c:v>4.6500000953674299</c:v>
                </c:pt>
                <c:pt idx="69">
                  <c:v>4.5999999046325701</c:v>
                </c:pt>
                <c:pt idx="70">
                  <c:v>4.625</c:v>
                </c:pt>
                <c:pt idx="71">
                  <c:v>4.7049999237060502</c:v>
                </c:pt>
                <c:pt idx="72">
                  <c:v>4.7300000190734899</c:v>
                </c:pt>
                <c:pt idx="73">
                  <c:v>4.7750000953674299</c:v>
                </c:pt>
                <c:pt idx="74">
                  <c:v>4.7750000953674299</c:v>
                </c:pt>
                <c:pt idx="75">
                  <c:v>4.7750000953674299</c:v>
                </c:pt>
                <c:pt idx="76">
                  <c:v>4.7740001678466797</c:v>
                </c:pt>
                <c:pt idx="77">
                  <c:v>5.4200000762939498</c:v>
                </c:pt>
                <c:pt idx="78">
                  <c:v>5.4200000762939498</c:v>
                </c:pt>
                <c:pt idx="79">
                  <c:v>5.4200000762939498</c:v>
                </c:pt>
                <c:pt idx="80">
                  <c:v>5.3299999237060502</c:v>
                </c:pt>
                <c:pt idx="81">
                  <c:v>5.3299999237060502</c:v>
                </c:pt>
                <c:pt idx="82">
                  <c:v>5.4000000953674299</c:v>
                </c:pt>
                <c:pt idx="83">
                  <c:v>5.46000003814697</c:v>
                </c:pt>
                <c:pt idx="84">
                  <c:v>5.5100002288818404</c:v>
                </c:pt>
                <c:pt idx="85">
                  <c:v>5.5500001907348597</c:v>
                </c:pt>
                <c:pt idx="86">
                  <c:v>5.5</c:v>
                </c:pt>
                <c:pt idx="87">
                  <c:v>5.5749998092651403</c:v>
                </c:pt>
                <c:pt idx="88">
                  <c:v>5.6199998855590803</c:v>
                </c:pt>
                <c:pt idx="89">
                  <c:v>5.6149997711181596</c:v>
                </c:pt>
                <c:pt idx="90">
                  <c:v>5.5599999427795401</c:v>
                </c:pt>
                <c:pt idx="91">
                  <c:v>5.5450000762939498</c:v>
                </c:pt>
                <c:pt idx="92">
                  <c:v>5.5650000572204599</c:v>
                </c:pt>
                <c:pt idx="93">
                  <c:v>5.53999996185303</c:v>
                </c:pt>
                <c:pt idx="94">
                  <c:v>5.5250000953674299</c:v>
                </c:pt>
                <c:pt idx="95">
                  <c:v>5.5149998664856001</c:v>
                </c:pt>
                <c:pt idx="96">
                  <c:v>5.5100002288818404</c:v>
                </c:pt>
                <c:pt idx="97">
                  <c:v>5.5100002288818404</c:v>
                </c:pt>
                <c:pt idx="98">
                  <c:v>5.5089998245239302</c:v>
                </c:pt>
                <c:pt idx="99">
                  <c:v>4.9749999046325701</c:v>
                </c:pt>
                <c:pt idx="100">
                  <c:v>4.7950000762939498</c:v>
                </c:pt>
                <c:pt idx="101">
                  <c:v>4.7199997901916504</c:v>
                </c:pt>
                <c:pt idx="102">
                  <c:v>4.7249999046325701</c:v>
                </c:pt>
                <c:pt idx="103">
                  <c:v>4.7249999046325701</c:v>
                </c:pt>
                <c:pt idx="104">
                  <c:v>4.7249999046325701</c:v>
                </c:pt>
                <c:pt idx="105">
                  <c:v>4.7049999237060502</c:v>
                </c:pt>
                <c:pt idx="106">
                  <c:v>4.7199997901916504</c:v>
                </c:pt>
                <c:pt idx="107">
                  <c:v>4.5999999046325701</c:v>
                </c:pt>
                <c:pt idx="108">
                  <c:v>4.6500000953674299</c:v>
                </c:pt>
                <c:pt idx="109">
                  <c:v>4.53999996185303</c:v>
                </c:pt>
                <c:pt idx="110">
                  <c:v>4.5349998474121103</c:v>
                </c:pt>
                <c:pt idx="111">
                  <c:v>4.4749999046325701</c:v>
                </c:pt>
                <c:pt idx="112">
                  <c:v>4.4749999046325701</c:v>
                </c:pt>
                <c:pt idx="113">
                  <c:v>4.4749999046325701</c:v>
                </c:pt>
                <c:pt idx="114">
                  <c:v>4.4749999046325701</c:v>
                </c:pt>
                <c:pt idx="115">
                  <c:v>4.4949998855590803</c:v>
                </c:pt>
                <c:pt idx="116">
                  <c:v>4.5050001144409197</c:v>
                </c:pt>
                <c:pt idx="117">
                  <c:v>4.5050001144409197</c:v>
                </c:pt>
                <c:pt idx="118">
                  <c:v>4.5050001144409197</c:v>
                </c:pt>
                <c:pt idx="119">
                  <c:v>4.5029997825622603</c:v>
                </c:pt>
                <c:pt idx="120">
                  <c:v>4.5029997825622603</c:v>
                </c:pt>
                <c:pt idx="121">
                  <c:v>4.5500001907348597</c:v>
                </c:pt>
                <c:pt idx="122">
                  <c:v>4.6149997711181596</c:v>
                </c:pt>
                <c:pt idx="123">
                  <c:v>4.5949997901916504</c:v>
                </c:pt>
                <c:pt idx="124">
                  <c:v>4.7649998664856001</c:v>
                </c:pt>
                <c:pt idx="125">
                  <c:v>4.75</c:v>
                </c:pt>
                <c:pt idx="126">
                  <c:v>4.8000001907348597</c:v>
                </c:pt>
                <c:pt idx="127">
                  <c:v>4.7049999237060502</c:v>
                </c:pt>
                <c:pt idx="128">
                  <c:v>4.75</c:v>
                </c:pt>
                <c:pt idx="129">
                  <c:v>4.5999999046325701</c:v>
                </c:pt>
                <c:pt idx="130">
                  <c:v>4.5999999046325701</c:v>
                </c:pt>
                <c:pt idx="131">
                  <c:v>4.5799999237060502</c:v>
                </c:pt>
                <c:pt idx="132">
                  <c:v>4.5799999237060502</c:v>
                </c:pt>
                <c:pt idx="133">
                  <c:v>4.5100002288818404</c:v>
                </c:pt>
                <c:pt idx="134">
                  <c:v>4.5100002288818404</c:v>
                </c:pt>
                <c:pt idx="135">
                  <c:v>4.5199999809265101</c:v>
                </c:pt>
                <c:pt idx="136">
                  <c:v>4.5149998664856001</c:v>
                </c:pt>
                <c:pt idx="137">
                  <c:v>4.5250000953674299</c:v>
                </c:pt>
                <c:pt idx="138">
                  <c:v>4.5450000762939498</c:v>
                </c:pt>
                <c:pt idx="139">
                  <c:v>4.5500001907348597</c:v>
                </c:pt>
                <c:pt idx="140">
                  <c:v>4.5489997863769496</c:v>
                </c:pt>
                <c:pt idx="141">
                  <c:v>4.5489997863769496</c:v>
                </c:pt>
                <c:pt idx="142">
                  <c:v>4.6900000572204599</c:v>
                </c:pt>
                <c:pt idx="143">
                  <c:v>4.7150001525878897</c:v>
                </c:pt>
                <c:pt idx="144">
                  <c:v>4.5349998474121103</c:v>
                </c:pt>
                <c:pt idx="145">
                  <c:v>4.5250000953674299</c:v>
                </c:pt>
                <c:pt idx="146">
                  <c:v>4.4499998092651403</c:v>
                </c:pt>
                <c:pt idx="147">
                  <c:v>4.4450001716613796</c:v>
                </c:pt>
                <c:pt idx="148">
                  <c:v>4.3800001144409197</c:v>
                </c:pt>
                <c:pt idx="149">
                  <c:v>4.3249998092651403</c:v>
                </c:pt>
                <c:pt idx="150">
                  <c:v>4.2800002098083496</c:v>
                </c:pt>
                <c:pt idx="151">
                  <c:v>4.2750000953674299</c:v>
                </c:pt>
                <c:pt idx="152">
                  <c:v>4.28999996185303</c:v>
                </c:pt>
                <c:pt idx="153">
                  <c:v>4.2750000953674299</c:v>
                </c:pt>
                <c:pt idx="154">
                  <c:v>4.3049998283386204</c:v>
                </c:pt>
                <c:pt idx="155">
                  <c:v>4.3049998283386204</c:v>
                </c:pt>
                <c:pt idx="156">
                  <c:v>4.3150000572204599</c:v>
                </c:pt>
                <c:pt idx="157">
                  <c:v>4.3150000572204599</c:v>
                </c:pt>
                <c:pt idx="158">
                  <c:v>4.3150000572204599</c:v>
                </c:pt>
                <c:pt idx="159">
                  <c:v>4.3150000572204599</c:v>
                </c:pt>
                <c:pt idx="160">
                  <c:v>4.3150000572204599</c:v>
                </c:pt>
                <c:pt idx="161">
                  <c:v>4.3200001716613796</c:v>
                </c:pt>
                <c:pt idx="162">
                  <c:v>4.3200001716613796</c:v>
                </c:pt>
                <c:pt idx="163">
                  <c:v>4.3189997673034703</c:v>
                </c:pt>
                <c:pt idx="164">
                  <c:v>4.3189997673034703</c:v>
                </c:pt>
                <c:pt idx="165">
                  <c:v>4.6999998092651403</c:v>
                </c:pt>
                <c:pt idx="166">
                  <c:v>4.6950001716613796</c:v>
                </c:pt>
                <c:pt idx="167">
                  <c:v>4.5900001525878897</c:v>
                </c:pt>
                <c:pt idx="168">
                  <c:v>4.5700001716613796</c:v>
                </c:pt>
                <c:pt idx="169">
                  <c:v>4.5700001716613796</c:v>
                </c:pt>
                <c:pt idx="170">
                  <c:v>4.5599999427795401</c:v>
                </c:pt>
                <c:pt idx="171">
                  <c:v>4.5749998092651403</c:v>
                </c:pt>
                <c:pt idx="172">
                  <c:v>4.6500000953674299</c:v>
                </c:pt>
                <c:pt idx="173">
                  <c:v>4.6700000762939498</c:v>
                </c:pt>
                <c:pt idx="174">
                  <c:v>4.6700000762939498</c:v>
                </c:pt>
                <c:pt idx="175">
                  <c:v>4.5599999427795401</c:v>
                </c:pt>
                <c:pt idx="176">
                  <c:v>4.4499998092651403</c:v>
                </c:pt>
                <c:pt idx="177">
                  <c:v>4.4749999046325701</c:v>
                </c:pt>
                <c:pt idx="178">
                  <c:v>4.4749999046325701</c:v>
                </c:pt>
                <c:pt idx="179">
                  <c:v>4.5050001144409197</c:v>
                </c:pt>
                <c:pt idx="180">
                  <c:v>4.5250000953674299</c:v>
                </c:pt>
                <c:pt idx="181">
                  <c:v>4.5700001716613796</c:v>
                </c:pt>
                <c:pt idx="182">
                  <c:v>4.5700001716613796</c:v>
                </c:pt>
                <c:pt idx="183">
                  <c:v>4.58500003814697</c:v>
                </c:pt>
                <c:pt idx="184">
                  <c:v>4.5830001831054696</c:v>
                </c:pt>
                <c:pt idx="185">
                  <c:v>4.5830001831054696</c:v>
                </c:pt>
                <c:pt idx="186">
                  <c:v>5.8949999809265101</c:v>
                </c:pt>
                <c:pt idx="187">
                  <c:v>5.8249998092651403</c:v>
                </c:pt>
                <c:pt idx="188">
                  <c:v>5.9949998855590803</c:v>
                </c:pt>
                <c:pt idx="189">
                  <c:v>5.75</c:v>
                </c:pt>
                <c:pt idx="190">
                  <c:v>5.6900000572204599</c:v>
                </c:pt>
                <c:pt idx="191">
                  <c:v>5.5999999046325701</c:v>
                </c:pt>
                <c:pt idx="192">
                  <c:v>5.7049999237060502</c:v>
                </c:pt>
                <c:pt idx="193">
                  <c:v>5.75</c:v>
                </c:pt>
                <c:pt idx="194">
                  <c:v>5.6900000572204599</c:v>
                </c:pt>
                <c:pt idx="195">
                  <c:v>5.7600002288818404</c:v>
                </c:pt>
                <c:pt idx="196">
                  <c:v>5.7049999237060502</c:v>
                </c:pt>
                <c:pt idx="197">
                  <c:v>5.75</c:v>
                </c:pt>
                <c:pt idx="198">
                  <c:v>5.7249999046325701</c:v>
                </c:pt>
                <c:pt idx="199">
                  <c:v>5.75</c:v>
                </c:pt>
                <c:pt idx="200">
                  <c:v>5.8000001907348597</c:v>
                </c:pt>
                <c:pt idx="201">
                  <c:v>5.7950000762939498</c:v>
                </c:pt>
                <c:pt idx="202">
                  <c:v>5.8200001716613796</c:v>
                </c:pt>
                <c:pt idx="203">
                  <c:v>5.8200001716613796</c:v>
                </c:pt>
                <c:pt idx="204">
                  <c:v>5.8249998092651403</c:v>
                </c:pt>
                <c:pt idx="205">
                  <c:v>5.8249998092651403</c:v>
                </c:pt>
                <c:pt idx="206">
                  <c:v>5.8260002136230504</c:v>
                </c:pt>
                <c:pt idx="207">
                  <c:v>5.8260002136230504</c:v>
                </c:pt>
                <c:pt idx="208">
                  <c:v>6.9250001907348597</c:v>
                </c:pt>
                <c:pt idx="209">
                  <c:v>6.8550000190734899</c:v>
                </c:pt>
                <c:pt idx="210">
                  <c:v>6.7300000190734899</c:v>
                </c:pt>
                <c:pt idx="211">
                  <c:v>6.6149997711181596</c:v>
                </c:pt>
                <c:pt idx="212">
                  <c:v>6.5700001716613796</c:v>
                </c:pt>
                <c:pt idx="213">
                  <c:v>6.4400000572204599</c:v>
                </c:pt>
                <c:pt idx="214">
                  <c:v>6.3249998092651403</c:v>
                </c:pt>
                <c:pt idx="215">
                  <c:v>6.3000001907348597</c:v>
                </c:pt>
                <c:pt idx="216">
                  <c:v>6.1550002098083496</c:v>
                </c:pt>
                <c:pt idx="217">
                  <c:v>6.2399997711181596</c:v>
                </c:pt>
                <c:pt idx="218">
                  <c:v>6.3249998092651403</c:v>
                </c:pt>
                <c:pt idx="219">
                  <c:v>6.3000001907348597</c:v>
                </c:pt>
                <c:pt idx="220">
                  <c:v>6.2150001525878897</c:v>
                </c:pt>
                <c:pt idx="221">
                  <c:v>6.1550002098083496</c:v>
                </c:pt>
                <c:pt idx="222">
                  <c:v>6.0949997901916504</c:v>
                </c:pt>
                <c:pt idx="223">
                  <c:v>6.1350002288818404</c:v>
                </c:pt>
                <c:pt idx="224">
                  <c:v>6.0799999237060502</c:v>
                </c:pt>
                <c:pt idx="225">
                  <c:v>6.0199999809265101</c:v>
                </c:pt>
                <c:pt idx="226">
                  <c:v>6.0799999237060502</c:v>
                </c:pt>
                <c:pt idx="227">
                  <c:v>6.0799999237060502</c:v>
                </c:pt>
                <c:pt idx="228">
                  <c:v>6.0799999237060502</c:v>
                </c:pt>
                <c:pt idx="229">
                  <c:v>6.0799999237060502</c:v>
                </c:pt>
                <c:pt idx="230">
                  <c:v>6.0799999237060502</c:v>
                </c:pt>
                <c:pt idx="231">
                  <c:v>5.9499998092651403</c:v>
                </c:pt>
                <c:pt idx="232">
                  <c:v>5.8850002288818404</c:v>
                </c:pt>
                <c:pt idx="233">
                  <c:v>5.9250001907348597</c:v>
                </c:pt>
                <c:pt idx="234">
                  <c:v>5.8499999046325701</c:v>
                </c:pt>
                <c:pt idx="235">
                  <c:v>5.7800002098083496</c:v>
                </c:pt>
                <c:pt idx="236">
                  <c:v>5.7249999046325701</c:v>
                </c:pt>
                <c:pt idx="237">
                  <c:v>5.7249999046325701</c:v>
                </c:pt>
                <c:pt idx="238">
                  <c:v>5.6300001144409197</c:v>
                </c:pt>
                <c:pt idx="239">
                  <c:v>5.5999999046325701</c:v>
                </c:pt>
                <c:pt idx="240">
                  <c:v>5.6350002288818404</c:v>
                </c:pt>
                <c:pt idx="241">
                  <c:v>5.6350002288818404</c:v>
                </c:pt>
                <c:pt idx="242">
                  <c:v>5.6350002288818404</c:v>
                </c:pt>
                <c:pt idx="243">
                  <c:v>5.6149997711181596</c:v>
                </c:pt>
                <c:pt idx="244">
                  <c:v>5.6100001335143999</c:v>
                </c:pt>
                <c:pt idx="245">
                  <c:v>5.6300001144409197</c:v>
                </c:pt>
                <c:pt idx="246">
                  <c:v>5.6300001144409197</c:v>
                </c:pt>
                <c:pt idx="247">
                  <c:v>5.6399998664856001</c:v>
                </c:pt>
                <c:pt idx="248">
                  <c:v>5.6449999809265101</c:v>
                </c:pt>
                <c:pt idx="249">
                  <c:v>5.6449999809265101</c:v>
                </c:pt>
                <c:pt idx="250">
                  <c:v>5.6449999809265101</c:v>
                </c:pt>
                <c:pt idx="251">
                  <c:v>5.5500001907348597</c:v>
                </c:pt>
                <c:pt idx="252">
                  <c:v>5.5250000953674299</c:v>
                </c:pt>
                <c:pt idx="253">
                  <c:v>5.4499998092651403</c:v>
                </c:pt>
                <c:pt idx="254">
                  <c:v>5.3000001907348597</c:v>
                </c:pt>
                <c:pt idx="255">
                  <c:v>5.2550001144409197</c:v>
                </c:pt>
                <c:pt idx="256">
                  <c:v>5.2550001144409197</c:v>
                </c:pt>
                <c:pt idx="257">
                  <c:v>5.25</c:v>
                </c:pt>
                <c:pt idx="258">
                  <c:v>5.2249999046325701</c:v>
                </c:pt>
                <c:pt idx="259">
                  <c:v>5.25</c:v>
                </c:pt>
                <c:pt idx="260">
                  <c:v>5.3000001907348597</c:v>
                </c:pt>
                <c:pt idx="261">
                  <c:v>5.3000001907348597</c:v>
                </c:pt>
                <c:pt idx="262">
                  <c:v>5.38</c:v>
                </c:pt>
                <c:pt idx="263">
                  <c:v>5.38</c:v>
                </c:pt>
                <c:pt idx="264">
                  <c:v>5.3949999999999996</c:v>
                </c:pt>
                <c:pt idx="265">
                  <c:v>5.4050000000000002</c:v>
                </c:pt>
                <c:pt idx="266">
                  <c:v>5.44</c:v>
                </c:pt>
                <c:pt idx="267">
                  <c:v>5.4550000000000001</c:v>
                </c:pt>
                <c:pt idx="268">
                  <c:v>5.5049999999999999</c:v>
                </c:pt>
                <c:pt idx="269">
                  <c:v>5.45</c:v>
                </c:pt>
                <c:pt idx="270">
                  <c:v>5.53</c:v>
                </c:pt>
                <c:pt idx="271">
                  <c:v>5.61</c:v>
                </c:pt>
                <c:pt idx="272">
                  <c:v>5.01</c:v>
                </c:pt>
                <c:pt idx="273">
                  <c:v>4.97</c:v>
                </c:pt>
                <c:pt idx="274">
                  <c:v>4.9000000000000004</c:v>
                </c:pt>
                <c:pt idx="275">
                  <c:v>4.875</c:v>
                </c:pt>
                <c:pt idx="276">
                  <c:v>4.6050000000000004</c:v>
                </c:pt>
                <c:pt idx="277">
                  <c:v>4.3049999999999997</c:v>
                </c:pt>
                <c:pt idx="278">
                  <c:v>4.1749999999999998</c:v>
                </c:pt>
                <c:pt idx="279">
                  <c:v>#N/A</c:v>
                </c:pt>
                <c:pt idx="280">
                  <c:v>3.9950000000000001</c:v>
                </c:pt>
                <c:pt idx="281">
                  <c:v>4.0350000000000001</c:v>
                </c:pt>
                <c:pt idx="282">
                  <c:v>4.0199999999999996</c:v>
                </c:pt>
                <c:pt idx="283">
                  <c:v>3.8</c:v>
                </c:pt>
                <c:pt idx="284">
                  <c:v>3.65</c:v>
                </c:pt>
                <c:pt idx="285">
                  <c:v>3.53</c:v>
                </c:pt>
                <c:pt idx="286">
                  <c:v>3.2850000000000001</c:v>
                </c:pt>
                <c:pt idx="287">
                  <c:v>2.97</c:v>
                </c:pt>
                <c:pt idx="288">
                  <c:v>2.9350000000000001</c:v>
                </c:pt>
                <c:pt idx="289">
                  <c:v>2.835</c:v>
                </c:pt>
                <c:pt idx="290">
                  <c:v>2.78</c:v>
                </c:pt>
                <c:pt idx="291">
                  <c:v>2.74</c:v>
                </c:pt>
                <c:pt idx="292">
                  <c:v>2.73</c:v>
                </c:pt>
                <c:pt idx="293">
                  <c:v>2.71</c:v>
                </c:pt>
                <c:pt idx="294">
                  <c:v>2.6749999999999998</c:v>
                </c:pt>
                <c:pt idx="295">
                  <c:v>2.7</c:v>
                </c:pt>
                <c:pt idx="296">
                  <c:v>2.73</c:v>
                </c:pt>
                <c:pt idx="297">
                  <c:v>2.8050000000000002</c:v>
                </c:pt>
                <c:pt idx="298">
                  <c:v>2.8149999999999999</c:v>
                </c:pt>
                <c:pt idx="299">
                  <c:v>2.835</c:v>
                </c:pt>
                <c:pt idx="300">
                  <c:v>2.8250000000000002</c:v>
                </c:pt>
                <c:pt idx="301">
                  <c:v>2.875</c:v>
                </c:pt>
                <c:pt idx="302">
                  <c:v>2.95</c:v>
                </c:pt>
                <c:pt idx="303">
                  <c:v>3.03</c:v>
                </c:pt>
                <c:pt idx="304">
                  <c:v>3.105</c:v>
                </c:pt>
                <c:pt idx="305">
                  <c:v>3.1150000000000002</c:v>
                </c:pt>
                <c:pt idx="306">
                  <c:v>3.12</c:v>
                </c:pt>
                <c:pt idx="307">
                  <c:v>3.1349999999999998</c:v>
                </c:pt>
                <c:pt idx="308">
                  <c:v>3.17</c:v>
                </c:pt>
                <c:pt idx="309">
                  <c:v>3.3149999999999999</c:v>
                </c:pt>
                <c:pt idx="310">
                  <c:v>3.37</c:v>
                </c:pt>
                <c:pt idx="311">
                  <c:v>3.3</c:v>
                </c:pt>
                <c:pt idx="312">
                  <c:v>3.33</c:v>
                </c:pt>
                <c:pt idx="313">
                  <c:v>3.415</c:v>
                </c:pt>
                <c:pt idx="314">
                  <c:v>3.5449999999999999</c:v>
                </c:pt>
                <c:pt idx="315">
                  <c:v>3.61</c:v>
                </c:pt>
                <c:pt idx="316">
                  <c:v>3.6549999999999998</c:v>
                </c:pt>
                <c:pt idx="317">
                  <c:v>3.7549999999999999</c:v>
                </c:pt>
                <c:pt idx="318">
                  <c:v>3.7250000000000001</c:v>
                </c:pt>
                <c:pt idx="319">
                  <c:v>3.7050000000000001</c:v>
                </c:pt>
                <c:pt idx="320">
                  <c:v>3.5649999999999999</c:v>
                </c:pt>
                <c:pt idx="321">
                  <c:v>3.2949999999999999</c:v>
                </c:pt>
                <c:pt idx="322">
                  <c:v>2.96</c:v>
                </c:pt>
                <c:pt idx="323">
                  <c:v>2.87</c:v>
                </c:pt>
                <c:pt idx="324">
                  <c:v>2.7250000000000001</c:v>
                </c:pt>
                <c:pt idx="325">
                  <c:v>2.35</c:v>
                </c:pt>
                <c:pt idx="326">
                  <c:v>2.335</c:v>
                </c:pt>
                <c:pt idx="327">
                  <c:v>2.2949999999999999</c:v>
                </c:pt>
                <c:pt idx="328">
                  <c:v>2.2999999999999998</c:v>
                </c:pt>
                <c:pt idx="329">
                  <c:v>2.3050000000000002</c:v>
                </c:pt>
                <c:pt idx="330">
                  <c:v>2.3050000000000002</c:v>
                </c:pt>
                <c:pt idx="331">
                  <c:v>2.4550000000000001</c:v>
                </c:pt>
                <c:pt idx="332">
                  <c:v>2.44</c:v>
                </c:pt>
                <c:pt idx="333">
                  <c:v>#N/A</c:v>
                </c:pt>
                <c:pt idx="334">
                  <c:v>2.5350000000000001</c:v>
                </c:pt>
                <c:pt idx="335">
                  <c:v>2.4249999999999998</c:v>
                </c:pt>
                <c:pt idx="336">
                  <c:v>2.31</c:v>
                </c:pt>
                <c:pt idx="337">
                  <c:v>2.2599999999999998</c:v>
                </c:pt>
                <c:pt idx="338">
                  <c:v>2.1150000000000002</c:v>
                </c:pt>
                <c:pt idx="339">
                  <c:v>2.06</c:v>
                </c:pt>
                <c:pt idx="340">
                  <c:v>1.9950000000000001</c:v>
                </c:pt>
                <c:pt idx="341">
                  <c:v>1.8149999999999999</c:v>
                </c:pt>
                <c:pt idx="342">
                  <c:v>1.8049999999999999</c:v>
                </c:pt>
                <c:pt idx="343">
                  <c:v>1.76</c:v>
                </c:pt>
                <c:pt idx="344">
                  <c:v>1.74</c:v>
                </c:pt>
                <c:pt idx="345">
                  <c:v>1.69</c:v>
                </c:pt>
                <c:pt idx="346">
                  <c:v>1.72</c:v>
                </c:pt>
                <c:pt idx="347">
                  <c:v>1.675</c:v>
                </c:pt>
                <c:pt idx="348">
                  <c:v>#N/A</c:v>
                </c:pt>
                <c:pt idx="349">
                  <c:v>1.73</c:v>
                </c:pt>
                <c:pt idx="350">
                  <c:v>1.73</c:v>
                </c:pt>
                <c:pt idx="351">
                  <c:v>1.86</c:v>
                </c:pt>
                <c:pt idx="352">
                  <c:v>#N/A</c:v>
                </c:pt>
                <c:pt idx="353">
                  <c:v>1.905</c:v>
                </c:pt>
                <c:pt idx="354">
                  <c:v>2.1749999999999998</c:v>
                </c:pt>
                <c:pt idx="355">
                  <c:v>2.2549999999999999</c:v>
                </c:pt>
                <c:pt idx="356">
                  <c:v>2.375</c:v>
                </c:pt>
                <c:pt idx="357">
                  <c:v>2.36</c:v>
                </c:pt>
                <c:pt idx="358">
                  <c:v>2.38</c:v>
                </c:pt>
                <c:pt idx="359">
                  <c:v>2.375</c:v>
                </c:pt>
                <c:pt idx="360">
                  <c:v>2.3199999999999998</c:v>
                </c:pt>
                <c:pt idx="361">
                  <c:v>2.29</c:v>
                </c:pt>
                <c:pt idx="362">
                  <c:v>2.17</c:v>
                </c:pt>
                <c:pt idx="363">
                  <c:v>2.0649999999999999</c:v>
                </c:pt>
                <c:pt idx="364">
                  <c:v>#N/A</c:v>
                </c:pt>
                <c:pt idx="365">
                  <c:v>1.7949999999999999</c:v>
                </c:pt>
                <c:pt idx="366">
                  <c:v>1.78</c:v>
                </c:pt>
                <c:pt idx="367">
                  <c:v>1.7549999999999999</c:v>
                </c:pt>
                <c:pt idx="368">
                  <c:v>1.8</c:v>
                </c:pt>
                <c:pt idx="369">
                  <c:v>1.93</c:v>
                </c:pt>
                <c:pt idx="370">
                  <c:v>1.93</c:v>
                </c:pt>
                <c:pt idx="371">
                  <c:v>2.04</c:v>
                </c:pt>
                <c:pt idx="372">
                  <c:v>1.9850000000000001</c:v>
                </c:pt>
                <c:pt idx="373">
                  <c:v>2.0249999999999999</c:v>
                </c:pt>
                <c:pt idx="374">
                  <c:v>2.06</c:v>
                </c:pt>
                <c:pt idx="375">
                  <c:v>1.9850000000000001</c:v>
                </c:pt>
                <c:pt idx="376">
                  <c:v>2.0049999999999999</c:v>
                </c:pt>
                <c:pt idx="377">
                  <c:v>2.06</c:v>
                </c:pt>
                <c:pt idx="378">
                  <c:v>2.08</c:v>
                </c:pt>
                <c:pt idx="379">
                  <c:v>2.0550000000000002</c:v>
                </c:pt>
                <c:pt idx="380">
                  <c:v>2.13</c:v>
                </c:pt>
                <c:pt idx="381">
                  <c:v>2.125</c:v>
                </c:pt>
                <c:pt idx="382">
                  <c:v>2.12</c:v>
                </c:pt>
                <c:pt idx="383">
                  <c:v>2.105</c:v>
                </c:pt>
                <c:pt idx="384">
                  <c:v>2.08</c:v>
                </c:pt>
                <c:pt idx="385">
                  <c:v>2.0699999999999998</c:v>
                </c:pt>
                <c:pt idx="386">
                  <c:v>2.0350000000000001</c:v>
                </c:pt>
                <c:pt idx="387">
                  <c:v>2.0950000000000002</c:v>
                </c:pt>
                <c:pt idx="388">
                  <c:v>2.0750000000000002</c:v>
                </c:pt>
                <c:pt idx="389">
                  <c:v>2.0499999999999998</c:v>
                </c:pt>
                <c:pt idx="390">
                  <c:v>2.0699999999999998</c:v>
                </c:pt>
                <c:pt idx="391">
                  <c:v>2.1</c:v>
                </c:pt>
                <c:pt idx="392">
                  <c:v>2.1</c:v>
                </c:pt>
                <c:pt idx="393">
                  <c:v>2.1150000000000002</c:v>
                </c:pt>
                <c:pt idx="394">
                  <c:v>2.105</c:v>
                </c:pt>
                <c:pt idx="395">
                  <c:v>2.0649999999999999</c:v>
                </c:pt>
                <c:pt idx="396">
                  <c:v>2.085</c:v>
                </c:pt>
                <c:pt idx="397">
                  <c:v>2.1349999999999998</c:v>
                </c:pt>
                <c:pt idx="398">
                  <c:v>#N/A</c:v>
                </c:pt>
                <c:pt idx="399">
                  <c:v>2.2599999999999998</c:v>
                </c:pt>
                <c:pt idx="400">
                  <c:v>2.2200000000000002</c:v>
                </c:pt>
                <c:pt idx="401">
                  <c:v>2.2000000000000002</c:v>
                </c:pt>
                <c:pt idx="402">
                  <c:v>2.33</c:v>
                </c:pt>
                <c:pt idx="403">
                  <c:v>2.35</c:v>
                </c:pt>
                <c:pt idx="404">
                  <c:v>2.2999999999999998</c:v>
                </c:pt>
                <c:pt idx="405">
                  <c:v>2.2999999999999998</c:v>
                </c:pt>
                <c:pt idx="406">
                  <c:v>2.2949999999999999</c:v>
                </c:pt>
                <c:pt idx="407">
                  <c:v>2.375</c:v>
                </c:pt>
                <c:pt idx="408">
                  <c:v>2.395</c:v>
                </c:pt>
                <c:pt idx="409">
                  <c:v>2.4500000000000002</c:v>
                </c:pt>
                <c:pt idx="410">
                  <c:v>2.5350000000000001</c:v>
                </c:pt>
                <c:pt idx="411">
                  <c:v>2.54</c:v>
                </c:pt>
                <c:pt idx="412">
                  <c:v>2.605</c:v>
                </c:pt>
                <c:pt idx="413">
                  <c:v>#N/A</c:v>
                </c:pt>
                <c:pt idx="414">
                  <c:v>2.6349999999999998</c:v>
                </c:pt>
                <c:pt idx="415">
                  <c:v>2.6749999999999998</c:v>
                </c:pt>
                <c:pt idx="416">
                  <c:v>2.9249999999999998</c:v>
                </c:pt>
                <c:pt idx="417">
                  <c:v>3.0049999999999999</c:v>
                </c:pt>
                <c:pt idx="418">
                  <c:v>3.29</c:v>
                </c:pt>
                <c:pt idx="419">
                  <c:v>#N/A</c:v>
                </c:pt>
                <c:pt idx="420">
                  <c:v>3.31</c:v>
                </c:pt>
                <c:pt idx="421">
                  <c:v>3.5449999999999999</c:v>
                </c:pt>
                <c:pt idx="422">
                  <c:v>3.81</c:v>
                </c:pt>
                <c:pt idx="423">
                  <c:v>4.0149999999999997</c:v>
                </c:pt>
                <c:pt idx="424">
                  <c:v>4.125</c:v>
                </c:pt>
                <c:pt idx="425">
                  <c:v>4.1100000000000003</c:v>
                </c:pt>
                <c:pt idx="426">
                  <c:v>4.1100000000000003</c:v>
                </c:pt>
                <c:pt idx="427">
                  <c:v>4.165</c:v>
                </c:pt>
                <c:pt idx="428">
                  <c:v>4</c:v>
                </c:pt>
                <c:pt idx="429">
                  <c:v>3.7450000000000001</c:v>
                </c:pt>
                <c:pt idx="430">
                  <c:v>3.7650000000000001</c:v>
                </c:pt>
                <c:pt idx="431">
                  <c:v>3.8050000000000002</c:v>
                </c:pt>
                <c:pt idx="432">
                  <c:v>3.8250000000000002</c:v>
                </c:pt>
                <c:pt idx="433">
                  <c:v>3.8</c:v>
                </c:pt>
                <c:pt idx="434">
                  <c:v>4.1900000000000004</c:v>
                </c:pt>
                <c:pt idx="435">
                  <c:v>4.2949999999999999</c:v>
                </c:pt>
                <c:pt idx="436">
                  <c:v>4.3849999999999998</c:v>
                </c:pt>
                <c:pt idx="437">
                  <c:v>4.3949999999999996</c:v>
                </c:pt>
                <c:pt idx="438">
                  <c:v>4.45</c:v>
                </c:pt>
                <c:pt idx="439">
                  <c:v>4.5199999999999996</c:v>
                </c:pt>
                <c:pt idx="440">
                  <c:v>4.51</c:v>
                </c:pt>
                <c:pt idx="441">
                  <c:v>4.51</c:v>
                </c:pt>
                <c:pt idx="442">
                  <c:v>4.51</c:v>
                </c:pt>
                <c:pt idx="443">
                  <c:v>4.49</c:v>
                </c:pt>
                <c:pt idx="444">
                  <c:v>4.4950000000000001</c:v>
                </c:pt>
                <c:pt idx="445">
                  <c:v>4.4950000000000001</c:v>
                </c:pt>
                <c:pt idx="446">
                  <c:v>4.6749999999999998</c:v>
                </c:pt>
                <c:pt idx="447">
                  <c:v>4.71</c:v>
                </c:pt>
                <c:pt idx="448">
                  <c:v>4.68</c:v>
                </c:pt>
                <c:pt idx="449">
                  <c:v>4.6449999999999996</c:v>
                </c:pt>
                <c:pt idx="450">
                  <c:v>4.66</c:v>
                </c:pt>
                <c:pt idx="451">
                  <c:v>4.6950000000000003</c:v>
                </c:pt>
                <c:pt idx="452">
                  <c:v>4.7350000000000003</c:v>
                </c:pt>
                <c:pt idx="453">
                  <c:v>4.84</c:v>
                </c:pt>
                <c:pt idx="454">
                  <c:v>4.84</c:v>
                </c:pt>
                <c:pt idx="455">
                  <c:v>4.9050000000000002</c:v>
                </c:pt>
                <c:pt idx="456">
                  <c:v>4.9749999999999996</c:v>
                </c:pt>
                <c:pt idx="457">
                  <c:v>5.08</c:v>
                </c:pt>
                <c:pt idx="458">
                  <c:v>5.1150000000000002</c:v>
                </c:pt>
                <c:pt idx="459">
                  <c:v>5.0999999999999996</c:v>
                </c:pt>
                <c:pt idx="460">
                  <c:v>5.16</c:v>
                </c:pt>
                <c:pt idx="461">
                  <c:v>5.165</c:v>
                </c:pt>
                <c:pt idx="462">
                  <c:v>5.2549999999999999</c:v>
                </c:pt>
                <c:pt idx="463">
                  <c:v>5.3650000000000002</c:v>
                </c:pt>
                <c:pt idx="464">
                  <c:v>5.3449999999999998</c:v>
                </c:pt>
                <c:pt idx="465">
                  <c:v>5.4450000000000003</c:v>
                </c:pt>
                <c:pt idx="466">
                  <c:v>5.51</c:v>
                </c:pt>
                <c:pt idx="467">
                  <c:v>5.76</c:v>
                </c:pt>
                <c:pt idx="468">
                  <c:v>6.05</c:v>
                </c:pt>
                <c:pt idx="469">
                  <c:v>6.47</c:v>
                </c:pt>
                <c:pt idx="470">
                  <c:v>6.4649999999999999</c:v>
                </c:pt>
                <c:pt idx="471">
                  <c:v>6.61</c:v>
                </c:pt>
                <c:pt idx="472">
                  <c:v>6.7850000000000001</c:v>
                </c:pt>
                <c:pt idx="473">
                  <c:v>7.01</c:v>
                </c:pt>
                <c:pt idx="474">
                  <c:v>7.33</c:v>
                </c:pt>
                <c:pt idx="475">
                  <c:v>7.42</c:v>
                </c:pt>
                <c:pt idx="476">
                  <c:v>7.31</c:v>
                </c:pt>
                <c:pt idx="477">
                  <c:v>7.48</c:v>
                </c:pt>
                <c:pt idx="478">
                  <c:v>7.45</c:v>
                </c:pt>
                <c:pt idx="479">
                  <c:v>6.83</c:v>
                </c:pt>
                <c:pt idx="480">
                  <c:v>6.6749999999999998</c:v>
                </c:pt>
                <c:pt idx="481">
                  <c:v>6.52</c:v>
                </c:pt>
                <c:pt idx="482">
                  <c:v>6.5549999999999997</c:v>
                </c:pt>
                <c:pt idx="483">
                  <c:v>6.7850000000000001</c:v>
                </c:pt>
                <c:pt idx="484">
                  <c:v>6.83</c:v>
                </c:pt>
                <c:pt idx="485">
                  <c:v>6.8150000000000004</c:v>
                </c:pt>
                <c:pt idx="486">
                  <c:v>6.81</c:v>
                </c:pt>
                <c:pt idx="487">
                  <c:v>6.8049999999999997</c:v>
                </c:pt>
                <c:pt idx="488">
                  <c:v>6.7549999999999999</c:v>
                </c:pt>
                <c:pt idx="489">
                  <c:v>6.5949999999999998</c:v>
                </c:pt>
                <c:pt idx="490">
                  <c:v>6.81</c:v>
                </c:pt>
                <c:pt idx="491">
                  <c:v>6.79</c:v>
                </c:pt>
                <c:pt idx="492">
                  <c:v>6.66</c:v>
                </c:pt>
                <c:pt idx="493">
                  <c:v>6.53</c:v>
                </c:pt>
                <c:pt idx="494">
                  <c:v>6.64</c:v>
                </c:pt>
                <c:pt idx="495">
                  <c:v>6.7850000000000001</c:v>
                </c:pt>
                <c:pt idx="496">
                  <c:v>6.9850000000000003</c:v>
                </c:pt>
                <c:pt idx="497">
                  <c:v>7.05</c:v>
                </c:pt>
                <c:pt idx="498">
                  <c:v>7.43</c:v>
                </c:pt>
                <c:pt idx="499">
                  <c:v>7.61</c:v>
                </c:pt>
                <c:pt idx="500">
                  <c:v>7.94</c:v>
                </c:pt>
                <c:pt idx="501">
                  <c:v>8.1050000000000004</c:v>
                </c:pt>
                <c:pt idx="502">
                  <c:v>8.2899999999999991</c:v>
                </c:pt>
                <c:pt idx="503">
                  <c:v>8.0649999999999995</c:v>
                </c:pt>
                <c:pt idx="504">
                  <c:v>8.16</c:v>
                </c:pt>
                <c:pt idx="505">
                  <c:v>8.5350000000000001</c:v>
                </c:pt>
                <c:pt idx="506">
                  <c:v>9.1950000000000003</c:v>
                </c:pt>
                <c:pt idx="507">
                  <c:v>9.89</c:v>
                </c:pt>
                <c:pt idx="508">
                  <c:v>10.94</c:v>
                </c:pt>
                <c:pt idx="509">
                  <c:v>11.84</c:v>
                </c:pt>
                <c:pt idx="510">
                  <c:v>12.875</c:v>
                </c:pt>
                <c:pt idx="511">
                  <c:v>12.93</c:v>
                </c:pt>
                <c:pt idx="512">
                  <c:v>13.02</c:v>
                </c:pt>
                <c:pt idx="513">
                  <c:v>12.81</c:v>
                </c:pt>
                <c:pt idx="514">
                  <c:v>12.965</c:v>
                </c:pt>
                <c:pt idx="515">
                  <c:v>13.074999999999999</c:v>
                </c:pt>
                <c:pt idx="516">
                  <c:v>13.37</c:v>
                </c:pt>
                <c:pt idx="517">
                  <c:v>13.675000000000001</c:v>
                </c:pt>
                <c:pt idx="518">
                  <c:v>#N/A</c:v>
                </c:pt>
                <c:pt idx="519">
                  <c:v>13.83</c:v>
                </c:pt>
                <c:pt idx="520">
                  <c:v>14.08</c:v>
                </c:pt>
                <c:pt idx="521">
                  <c:v>14.87</c:v>
                </c:pt>
                <c:pt idx="522">
                  <c:v>15.68</c:v>
                </c:pt>
                <c:pt idx="523">
                  <c:v>#N/A</c:v>
                </c:pt>
                <c:pt idx="524">
                  <c:v>16.399999999999999</c:v>
                </c:pt>
                <c:pt idx="525">
                  <c:v>18.760000000000002</c:v>
                </c:pt>
                <c:pt idx="526">
                  <c:v>21.785</c:v>
                </c:pt>
                <c:pt idx="527">
                  <c:v>23.75</c:v>
                </c:pt>
                <c:pt idx="528">
                  <c:v>26.324999999999999</c:v>
                </c:pt>
                <c:pt idx="529">
                  <c:v>30.7</c:v>
                </c:pt>
                <c:pt idx="530">
                  <c:v>35.435000000000002</c:v>
                </c:pt>
                <c:pt idx="531">
                  <c:v>39.72</c:v>
                </c:pt>
                <c:pt idx="532">
                  <c:v>39.700000000000003</c:v>
                </c:pt>
                <c:pt idx="533">
                  <c:v>39.215000000000003</c:v>
                </c:pt>
                <c:pt idx="534">
                  <c:v>16.164999999999999</c:v>
                </c:pt>
                <c:pt idx="535">
                  <c:v>15.315</c:v>
                </c:pt>
                <c:pt idx="536">
                  <c:v>14.04</c:v>
                </c:pt>
                <c:pt idx="537">
                  <c:v>13</c:v>
                </c:pt>
                <c:pt idx="538">
                  <c:v>12.535</c:v>
                </c:pt>
                <c:pt idx="539">
                  <c:v>11.44</c:v>
                </c:pt>
                <c:pt idx="540">
                  <c:v>10.404999999999999</c:v>
                </c:pt>
                <c:pt idx="541">
                  <c:v>10.01</c:v>
                </c:pt>
                <c:pt idx="542">
                  <c:v>9.73</c:v>
                </c:pt>
                <c:pt idx="543">
                  <c:v>9.42</c:v>
                </c:pt>
                <c:pt idx="544">
                  <c:v>8.69</c:v>
                </c:pt>
                <c:pt idx="545">
                  <c:v>8.4849999999999994</c:v>
                </c:pt>
                <c:pt idx="546">
                  <c:v>8.3949999999999996</c:v>
                </c:pt>
                <c:pt idx="547">
                  <c:v>8.3699999999999992</c:v>
                </c:pt>
                <c:pt idx="548">
                  <c:v>7.54</c:v>
                </c:pt>
                <c:pt idx="549">
                  <c:v>7.42</c:v>
                </c:pt>
                <c:pt idx="550">
                  <c:v>7.7050000000000001</c:v>
                </c:pt>
                <c:pt idx="551">
                  <c:v>7.37</c:v>
                </c:pt>
                <c:pt idx="552">
                  <c:v>6.9249999999999998</c:v>
                </c:pt>
                <c:pt idx="553">
                  <c:v>#N/A</c:v>
                </c:pt>
                <c:pt idx="554">
                  <c:v>6.75</c:v>
                </c:pt>
                <c:pt idx="555">
                  <c:v>6.7249999999999996</c:v>
                </c:pt>
                <c:pt idx="556">
                  <c:v>6.7350000000000003</c:v>
                </c:pt>
                <c:pt idx="557">
                  <c:v>6.665</c:v>
                </c:pt>
                <c:pt idx="558">
                  <c:v>6.68</c:v>
                </c:pt>
                <c:pt idx="559">
                  <c:v>6.78</c:v>
                </c:pt>
                <c:pt idx="560">
                  <c:v>6.5250000000000004</c:v>
                </c:pt>
                <c:pt idx="561">
                  <c:v>6.4349999999999996</c:v>
                </c:pt>
                <c:pt idx="562">
                  <c:v>6.2050000000000001</c:v>
                </c:pt>
                <c:pt idx="563">
                  <c:v>6.05</c:v>
                </c:pt>
                <c:pt idx="564">
                  <c:v>5.69</c:v>
                </c:pt>
                <c:pt idx="565">
                  <c:v>5.4450000000000003</c:v>
                </c:pt>
                <c:pt idx="566">
                  <c:v>5.4349999999999996</c:v>
                </c:pt>
                <c:pt idx="567">
                  <c:v>5.4850000000000003</c:v>
                </c:pt>
                <c:pt idx="568">
                  <c:v>5.76</c:v>
                </c:pt>
                <c:pt idx="569">
                  <c:v>6.0350000000000001</c:v>
                </c:pt>
                <c:pt idx="570">
                  <c:v>5.9850000000000003</c:v>
                </c:pt>
                <c:pt idx="571">
                  <c:v>6.335</c:v>
                </c:pt>
                <c:pt idx="572">
                  <c:v>6.55</c:v>
                </c:pt>
                <c:pt idx="573">
                  <c:v>6.625</c:v>
                </c:pt>
                <c:pt idx="574">
                  <c:v>6.7249999999999996</c:v>
                </c:pt>
                <c:pt idx="575">
                  <c:v>6.7450000000000001</c:v>
                </c:pt>
                <c:pt idx="576">
                  <c:v>6.8650000000000002</c:v>
                </c:pt>
                <c:pt idx="577">
                  <c:v>6.8949999999999996</c:v>
                </c:pt>
                <c:pt idx="578">
                  <c:v>6.8550000000000004</c:v>
                </c:pt>
                <c:pt idx="579">
                  <c:v>6.6550000000000002</c:v>
                </c:pt>
                <c:pt idx="580">
                  <c:v>6.6050000000000004</c:v>
                </c:pt>
                <c:pt idx="581">
                  <c:v>6.85</c:v>
                </c:pt>
                <c:pt idx="582">
                  <c:v>7.0549999999999997</c:v>
                </c:pt>
                <c:pt idx="583">
                  <c:v>6.93</c:v>
                </c:pt>
                <c:pt idx="584">
                  <c:v>6.9050000000000002</c:v>
                </c:pt>
                <c:pt idx="585">
                  <c:v>6.81</c:v>
                </c:pt>
                <c:pt idx="586">
                  <c:v>6.96</c:v>
                </c:pt>
                <c:pt idx="587">
                  <c:v>7.1849999999999996</c:v>
                </c:pt>
                <c:pt idx="588">
                  <c:v>#N/A</c:v>
                </c:pt>
                <c:pt idx="589">
                  <c:v>7.2</c:v>
                </c:pt>
                <c:pt idx="590">
                  <c:v>7.2</c:v>
                </c:pt>
                <c:pt idx="591">
                  <c:v>7.2750000000000004</c:v>
                </c:pt>
                <c:pt idx="592">
                  <c:v>7.4</c:v>
                </c:pt>
                <c:pt idx="593">
                  <c:v>7.415</c:v>
                </c:pt>
                <c:pt idx="594">
                  <c:v>7.4450000000000003</c:v>
                </c:pt>
                <c:pt idx="595">
                  <c:v>7.51</c:v>
                </c:pt>
                <c:pt idx="596">
                  <c:v>7.53</c:v>
                </c:pt>
                <c:pt idx="597">
                  <c:v>7.6449999999999996</c:v>
                </c:pt>
                <c:pt idx="598">
                  <c:v>7.97</c:v>
                </c:pt>
                <c:pt idx="599">
                  <c:v>8.18</c:v>
                </c:pt>
                <c:pt idx="600">
                  <c:v>8.6150000000000002</c:v>
                </c:pt>
                <c:pt idx="601">
                  <c:v>8.51</c:v>
                </c:pt>
                <c:pt idx="602">
                  <c:v>8.5050000000000008</c:v>
                </c:pt>
                <c:pt idx="603">
                  <c:v>8.6750000000000007</c:v>
                </c:pt>
                <c:pt idx="604">
                  <c:v>8.4</c:v>
                </c:pt>
                <c:pt idx="605">
                  <c:v>8.3249999999999993</c:v>
                </c:pt>
                <c:pt idx="606">
                  <c:v>8.68</c:v>
                </c:pt>
                <c:pt idx="607">
                  <c:v>8.7650000000000006</c:v>
                </c:pt>
                <c:pt idx="608">
                  <c:v>9.0050000000000008</c:v>
                </c:pt>
                <c:pt idx="609">
                  <c:v>9.1950000000000003</c:v>
                </c:pt>
                <c:pt idx="610">
                  <c:v>9.3800000000000008</c:v>
                </c:pt>
                <c:pt idx="611">
                  <c:v>9.4700000000000006</c:v>
                </c:pt>
                <c:pt idx="612">
                  <c:v>9.4550000000000001</c:v>
                </c:pt>
                <c:pt idx="613">
                  <c:v>9.5399999999999991</c:v>
                </c:pt>
                <c:pt idx="614">
                  <c:v>9.6349999999999998</c:v>
                </c:pt>
                <c:pt idx="615">
                  <c:v>10.01</c:v>
                </c:pt>
                <c:pt idx="616">
                  <c:v>10.1</c:v>
                </c:pt>
                <c:pt idx="617">
                  <c:v>#N/A</c:v>
                </c:pt>
                <c:pt idx="618">
                  <c:v>10.33</c:v>
                </c:pt>
                <c:pt idx="619">
                  <c:v>10.355</c:v>
                </c:pt>
                <c:pt idx="620">
                  <c:v>10.36</c:v>
                </c:pt>
                <c:pt idx="621">
                  <c:v>9.9499999999999993</c:v>
                </c:pt>
                <c:pt idx="622">
                  <c:v>9.6449999999999996</c:v>
                </c:pt>
                <c:pt idx="623">
                  <c:v>9.98</c:v>
                </c:pt>
                <c:pt idx="624">
                  <c:v>10.34</c:v>
                </c:pt>
                <c:pt idx="625">
                  <c:v>10.31</c:v>
                </c:pt>
                <c:pt idx="626">
                  <c:v>#N/A</c:v>
                </c:pt>
                <c:pt idx="627">
                  <c:v>10.46</c:v>
                </c:pt>
                <c:pt idx="628">
                  <c:v>10.28</c:v>
                </c:pt>
                <c:pt idx="629">
                  <c:v>10.285</c:v>
                </c:pt>
                <c:pt idx="630">
                  <c:v>10.42</c:v>
                </c:pt>
                <c:pt idx="631">
                  <c:v>11.09</c:v>
                </c:pt>
                <c:pt idx="632">
                  <c:v>11.05</c:v>
                </c:pt>
                <c:pt idx="633">
                  <c:v>11.02</c:v>
                </c:pt>
                <c:pt idx="634">
                  <c:v>11.14</c:v>
                </c:pt>
                <c:pt idx="635">
                  <c:v>11.285</c:v>
                </c:pt>
                <c:pt idx="636">
                  <c:v>11.895</c:v>
                </c:pt>
                <c:pt idx="637">
                  <c:v>12.21</c:v>
                </c:pt>
                <c:pt idx="638">
                  <c:v>12.244999999999999</c:v>
                </c:pt>
                <c:pt idx="639">
                  <c:v>12.22</c:v>
                </c:pt>
                <c:pt idx="640">
                  <c:v>12.42</c:v>
                </c:pt>
                <c:pt idx="641">
                  <c:v>12.074999999999999</c:v>
                </c:pt>
                <c:pt idx="642">
                  <c:v>11.945</c:v>
                </c:pt>
                <c:pt idx="643">
                  <c:v>11.895</c:v>
                </c:pt>
                <c:pt idx="644">
                  <c:v>11.92</c:v>
                </c:pt>
                <c:pt idx="645">
                  <c:v>12.095000000000001</c:v>
                </c:pt>
                <c:pt idx="646">
                  <c:v>12.57</c:v>
                </c:pt>
                <c:pt idx="647">
                  <c:v>12.765000000000001</c:v>
                </c:pt>
                <c:pt idx="648">
                  <c:v>12.9</c:v>
                </c:pt>
                <c:pt idx="649">
                  <c:v>13.05</c:v>
                </c:pt>
                <c:pt idx="650">
                  <c:v>12.984999999999999</c:v>
                </c:pt>
                <c:pt idx="651">
                  <c:v>13.185</c:v>
                </c:pt>
                <c:pt idx="652">
                  <c:v>13.404999999999999</c:v>
                </c:pt>
                <c:pt idx="653">
                  <c:v>14.26</c:v>
                </c:pt>
                <c:pt idx="654">
                  <c:v>13.925000000000001</c:v>
                </c:pt>
                <c:pt idx="655">
                  <c:v>14.31</c:v>
                </c:pt>
                <c:pt idx="656">
                  <c:v>13.4</c:v>
                </c:pt>
                <c:pt idx="657">
                  <c:v>12.945</c:v>
                </c:pt>
                <c:pt idx="658">
                  <c:v>12.815</c:v>
                </c:pt>
                <c:pt idx="659">
                  <c:v>13.855</c:v>
                </c:pt>
                <c:pt idx="660">
                  <c:v>13.545</c:v>
                </c:pt>
                <c:pt idx="661">
                  <c:v>13.44</c:v>
                </c:pt>
                <c:pt idx="662">
                  <c:v>13.345000000000001</c:v>
                </c:pt>
                <c:pt idx="663">
                  <c:v>13.39</c:v>
                </c:pt>
                <c:pt idx="664">
                  <c:v>14.28</c:v>
                </c:pt>
                <c:pt idx="665">
                  <c:v>#N/A</c:v>
                </c:pt>
                <c:pt idx="666">
                  <c:v>14.395</c:v>
                </c:pt>
                <c:pt idx="667">
                  <c:v>14.61</c:v>
                </c:pt>
                <c:pt idx="668">
                  <c:v>14.625</c:v>
                </c:pt>
                <c:pt idx="669">
                  <c:v>14.54</c:v>
                </c:pt>
                <c:pt idx="670">
                  <c:v>14.715</c:v>
                </c:pt>
                <c:pt idx="671">
                  <c:v>14.79</c:v>
                </c:pt>
                <c:pt idx="672">
                  <c:v>15.47</c:v>
                </c:pt>
                <c:pt idx="673">
                  <c:v>15.79</c:v>
                </c:pt>
                <c:pt idx="674">
                  <c:v>15.835000000000001</c:v>
                </c:pt>
                <c:pt idx="675">
                  <c:v>16.170000000000002</c:v>
                </c:pt>
                <c:pt idx="676">
                  <c:v>15.994999999999999</c:v>
                </c:pt>
                <c:pt idx="677">
                  <c:v>16.05</c:v>
                </c:pt>
                <c:pt idx="678">
                  <c:v>16.215</c:v>
                </c:pt>
                <c:pt idx="679">
                  <c:v>#N/A</c:v>
                </c:pt>
                <c:pt idx="680">
                  <c:v>17.18</c:v>
                </c:pt>
                <c:pt idx="681">
                  <c:v>17.25</c:v>
                </c:pt>
                <c:pt idx="682">
                  <c:v>16.934999999999999</c:v>
                </c:pt>
                <c:pt idx="683">
                  <c:v>16.815000000000001</c:v>
                </c:pt>
                <c:pt idx="684">
                  <c:v>16.844999999999999</c:v>
                </c:pt>
                <c:pt idx="685">
                  <c:v>17.364999999999998</c:v>
                </c:pt>
                <c:pt idx="686">
                  <c:v>17.295000000000002</c:v>
                </c:pt>
                <c:pt idx="687">
                  <c:v>17.14</c:v>
                </c:pt>
                <c:pt idx="688">
                  <c:v>15.765000000000001</c:v>
                </c:pt>
                <c:pt idx="689">
                  <c:v>15.09</c:v>
                </c:pt>
                <c:pt idx="690">
                  <c:v>15.725</c:v>
                </c:pt>
                <c:pt idx="691">
                  <c:v>16.77</c:v>
                </c:pt>
                <c:pt idx="692">
                  <c:v>17.135000000000002</c:v>
                </c:pt>
                <c:pt idx="693">
                  <c:v>17.059999999999999</c:v>
                </c:pt>
                <c:pt idx="694">
                  <c:v>17.760000000000002</c:v>
                </c:pt>
                <c:pt idx="695">
                  <c:v>18.254999999999999</c:v>
                </c:pt>
                <c:pt idx="696">
                  <c:v>18.885000000000002</c:v>
                </c:pt>
                <c:pt idx="697">
                  <c:v>19.02</c:v>
                </c:pt>
                <c:pt idx="698">
                  <c:v>19.25</c:v>
                </c:pt>
                <c:pt idx="699">
                  <c:v>19.565000000000001</c:v>
                </c:pt>
                <c:pt idx="700">
                  <c:v>19.98</c:v>
                </c:pt>
                <c:pt idx="701">
                  <c:v>19.844999999999999</c:v>
                </c:pt>
                <c:pt idx="702">
                  <c:v>19.774999999999999</c:v>
                </c:pt>
                <c:pt idx="703">
                  <c:v>20.03</c:v>
                </c:pt>
                <c:pt idx="704">
                  <c:v>20.41</c:v>
                </c:pt>
                <c:pt idx="705">
                  <c:v>22.1</c:v>
                </c:pt>
                <c:pt idx="706">
                  <c:v>24.184999999999999</c:v>
                </c:pt>
                <c:pt idx="707">
                  <c:v>26.805</c:v>
                </c:pt>
                <c:pt idx="708">
                  <c:v>25.44</c:v>
                </c:pt>
                <c:pt idx="709">
                  <c:v>24.785</c:v>
                </c:pt>
                <c:pt idx="710">
                  <c:v>27.26</c:v>
                </c:pt>
                <c:pt idx="711">
                  <c:v>27.56</c:v>
                </c:pt>
                <c:pt idx="712">
                  <c:v>27.35</c:v>
                </c:pt>
                <c:pt idx="713">
                  <c:v>26.305</c:v>
                </c:pt>
                <c:pt idx="714">
                  <c:v>27.17</c:v>
                </c:pt>
                <c:pt idx="715">
                  <c:v>29.795000000000002</c:v>
                </c:pt>
                <c:pt idx="716">
                  <c:v>31.675000000000001</c:v>
                </c:pt>
                <c:pt idx="717">
                  <c:v>32.195</c:v>
                </c:pt>
                <c:pt idx="718">
                  <c:v>34.685000000000002</c:v>
                </c:pt>
                <c:pt idx="719">
                  <c:v>34.14</c:v>
                </c:pt>
                <c:pt idx="720">
                  <c:v>36.424999999999997</c:v>
                </c:pt>
                <c:pt idx="721">
                  <c:v>42.094999999999999</c:v>
                </c:pt>
                <c:pt idx="722">
                  <c:v>37.854999999999997</c:v>
                </c:pt>
                <c:pt idx="723">
                  <c:v>37.215000000000003</c:v>
                </c:pt>
                <c:pt idx="724">
                  <c:v>33.33</c:v>
                </c:pt>
                <c:pt idx="725">
                  <c:v>33.314999999999998</c:v>
                </c:pt>
                <c:pt idx="726">
                  <c:v>34.17</c:v>
                </c:pt>
                <c:pt idx="727">
                  <c:v>36.270000000000003</c:v>
                </c:pt>
                <c:pt idx="728">
                  <c:v>37.814999999999998</c:v>
                </c:pt>
                <c:pt idx="729">
                  <c:v>34.94</c:v>
                </c:pt>
                <c:pt idx="730">
                  <c:v>35.484999999999999</c:v>
                </c:pt>
                <c:pt idx="731">
                  <c:v>35.49</c:v>
                </c:pt>
                <c:pt idx="732">
                  <c:v>35.49</c:v>
                </c:pt>
                <c:pt idx="733">
                  <c:v>33.85</c:v>
                </c:pt>
                <c:pt idx="734">
                  <c:v>33.450000000000003</c:v>
                </c:pt>
                <c:pt idx="735">
                  <c:v>33.795000000000002</c:v>
                </c:pt>
                <c:pt idx="736">
                  <c:v>33.950000000000003</c:v>
                </c:pt>
                <c:pt idx="737">
                  <c:v>32.524999999999999</c:v>
                </c:pt>
                <c:pt idx="738">
                  <c:v>30.08</c:v>
                </c:pt>
                <c:pt idx="739">
                  <c:v>29.434999999999999</c:v>
                </c:pt>
                <c:pt idx="740">
                  <c:v>27.614999999999998</c:v>
                </c:pt>
                <c:pt idx="741">
                  <c:v>26.245000000000001</c:v>
                </c:pt>
                <c:pt idx="742">
                  <c:v>#N/A</c:v>
                </c:pt>
                <c:pt idx="743">
                  <c:v>27.78</c:v>
                </c:pt>
                <c:pt idx="744">
                  <c:v>30</c:v>
                </c:pt>
                <c:pt idx="745">
                  <c:v>30.734999999999999</c:v>
                </c:pt>
                <c:pt idx="746">
                  <c:v>29.8</c:v>
                </c:pt>
                <c:pt idx="747">
                  <c:v>27.34</c:v>
                </c:pt>
                <c:pt idx="748">
                  <c:v>28.46</c:v>
                </c:pt>
                <c:pt idx="749">
                  <c:v>29.675000000000001</c:v>
                </c:pt>
                <c:pt idx="750">
                  <c:v>32.25</c:v>
                </c:pt>
                <c:pt idx="751">
                  <c:v>36.744999999999997</c:v>
                </c:pt>
                <c:pt idx="752">
                  <c:v>37.725000000000001</c:v>
                </c:pt>
                <c:pt idx="753">
                  <c:v>36.634999999999998</c:v>
                </c:pt>
                <c:pt idx="754">
                  <c:v>35.655000000000001</c:v>
                </c:pt>
                <c:pt idx="755">
                  <c:v>35.255000000000003</c:v>
                </c:pt>
                <c:pt idx="756">
                  <c:v>37.19</c:v>
                </c:pt>
                <c:pt idx="757">
                  <c:v>35.369999999999997</c:v>
                </c:pt>
                <c:pt idx="758">
                  <c:v>35.200000000000003</c:v>
                </c:pt>
                <c:pt idx="759">
                  <c:v>36.744999999999997</c:v>
                </c:pt>
                <c:pt idx="760">
                  <c:v>35.984999999999999</c:v>
                </c:pt>
                <c:pt idx="761">
                  <c:v>36.185000000000002</c:v>
                </c:pt>
                <c:pt idx="762">
                  <c:v>34.564999999999998</c:v>
                </c:pt>
                <c:pt idx="763">
                  <c:v>34.85</c:v>
                </c:pt>
                <c:pt idx="764">
                  <c:v>34.03</c:v>
                </c:pt>
                <c:pt idx="765">
                  <c:v>34.244999999999997</c:v>
                </c:pt>
                <c:pt idx="766">
                  <c:v>34.954999999999998</c:v>
                </c:pt>
                <c:pt idx="767">
                  <c:v>34.555</c:v>
                </c:pt>
                <c:pt idx="768">
                  <c:v>37.615000000000002</c:v>
                </c:pt>
                <c:pt idx="769">
                  <c:v>38.564999999999998</c:v>
                </c:pt>
                <c:pt idx="770">
                  <c:v>39.505000000000003</c:v>
                </c:pt>
                <c:pt idx="771">
                  <c:v>40.44</c:v>
                </c:pt>
                <c:pt idx="772">
                  <c:v>40.549999999999997</c:v>
                </c:pt>
                <c:pt idx="773">
                  <c:v>42.484999999999999</c:v>
                </c:pt>
                <c:pt idx="774">
                  <c:v>44.005000000000003</c:v>
                </c:pt>
                <c:pt idx="775">
                  <c:v>44.98</c:v>
                </c:pt>
                <c:pt idx="776">
                  <c:v>42.72</c:v>
                </c:pt>
                <c:pt idx="777">
                  <c:v>32.774999999999999</c:v>
                </c:pt>
                <c:pt idx="778">
                  <c:v>33.255000000000003</c:v>
                </c:pt>
                <c:pt idx="779">
                  <c:v>33.1</c:v>
                </c:pt>
                <c:pt idx="780">
                  <c:v>31.17</c:v>
                </c:pt>
                <c:pt idx="781">
                  <c:v>29.33</c:v>
                </c:pt>
                <c:pt idx="782">
                  <c:v>25.184999999999999</c:v>
                </c:pt>
                <c:pt idx="783">
                  <c:v>25.664999999999999</c:v>
                </c:pt>
                <c:pt idx="784">
                  <c:v>29.87</c:v>
                </c:pt>
                <c:pt idx="785">
                  <c:v>31.475000000000001</c:v>
                </c:pt>
                <c:pt idx="786">
                  <c:v>32.549999999999997</c:v>
                </c:pt>
                <c:pt idx="787">
                  <c:v>30.215</c:v>
                </c:pt>
                <c:pt idx="788">
                  <c:v>27.73</c:v>
                </c:pt>
                <c:pt idx="789">
                  <c:v>25.984999999999999</c:v>
                </c:pt>
                <c:pt idx="790">
                  <c:v>24.98</c:v>
                </c:pt>
                <c:pt idx="791">
                  <c:v>27.605</c:v>
                </c:pt>
                <c:pt idx="792">
                  <c:v>22.93</c:v>
                </c:pt>
                <c:pt idx="793">
                  <c:v>21.094999999999999</c:v>
                </c:pt>
                <c:pt idx="794">
                  <c:v>19.89</c:v>
                </c:pt>
                <c:pt idx="795">
                  <c:v>20.02</c:v>
                </c:pt>
                <c:pt idx="796">
                  <c:v>22.09</c:v>
                </c:pt>
                <c:pt idx="797">
                  <c:v>26.515000000000001</c:v>
                </c:pt>
                <c:pt idx="798">
                  <c:v>27.885000000000002</c:v>
                </c:pt>
                <c:pt idx="799">
                  <c:v>28.22</c:v>
                </c:pt>
                <c:pt idx="800">
                  <c:v>30.565000000000001</c:v>
                </c:pt>
                <c:pt idx="801">
                  <c:v>31.015000000000001</c:v>
                </c:pt>
                <c:pt idx="802">
                  <c:v>#N/A</c:v>
                </c:pt>
                <c:pt idx="803">
                  <c:v>#N/A</c:v>
                </c:pt>
                <c:pt idx="804">
                  <c:v>31.45</c:v>
                </c:pt>
                <c:pt idx="805">
                  <c:v>29.51</c:v>
                </c:pt>
                <c:pt idx="806">
                  <c:v>27.19</c:v>
                </c:pt>
                <c:pt idx="807">
                  <c:v>26.555</c:v>
                </c:pt>
                <c:pt idx="808">
                  <c:v>26.925000000000001</c:v>
                </c:pt>
                <c:pt idx="809">
                  <c:v>25.35</c:v>
                </c:pt>
                <c:pt idx="810">
                  <c:v>25.024999999999999</c:v>
                </c:pt>
                <c:pt idx="811">
                  <c:v>25.66</c:v>
                </c:pt>
                <c:pt idx="812">
                  <c:v>26.434999999999999</c:v>
                </c:pt>
                <c:pt idx="813">
                  <c:v>24.03</c:v>
                </c:pt>
                <c:pt idx="814">
                  <c:v>23.43</c:v>
                </c:pt>
                <c:pt idx="815">
                  <c:v>25.274999999999999</c:v>
                </c:pt>
                <c:pt idx="816">
                  <c:v>24.535</c:v>
                </c:pt>
                <c:pt idx="817">
                  <c:v>26.414999999999999</c:v>
                </c:pt>
                <c:pt idx="818">
                  <c:v>33.31</c:v>
                </c:pt>
                <c:pt idx="819">
                  <c:v>36.274999999999999</c:v>
                </c:pt>
                <c:pt idx="820">
                  <c:v>32.524999999999999</c:v>
                </c:pt>
                <c:pt idx="821">
                  <c:v>33.35</c:v>
                </c:pt>
                <c:pt idx="822">
                  <c:v>38.895000000000003</c:v>
                </c:pt>
                <c:pt idx="823">
                  <c:v>46.744999999999997</c:v>
                </c:pt>
                <c:pt idx="824">
                  <c:v>48.63</c:v>
                </c:pt>
                <c:pt idx="825">
                  <c:v>50.664999999999999</c:v>
                </c:pt>
                <c:pt idx="826">
                  <c:v>54.44</c:v>
                </c:pt>
                <c:pt idx="827">
                  <c:v>53.965000000000003</c:v>
                </c:pt>
                <c:pt idx="828">
                  <c:v>42.18</c:v>
                </c:pt>
                <c:pt idx="829">
                  <c:v>38.47</c:v>
                </c:pt>
                <c:pt idx="830">
                  <c:v>33.159999999999997</c:v>
                </c:pt>
                <c:pt idx="831">
                  <c:v>30.625</c:v>
                </c:pt>
                <c:pt idx="832">
                  <c:v>32.44</c:v>
                </c:pt>
                <c:pt idx="833">
                  <c:v>33.664999999999999</c:v>
                </c:pt>
                <c:pt idx="834">
                  <c:v>35.06</c:v>
                </c:pt>
                <c:pt idx="835">
                  <c:v>34.799999999999997</c:v>
                </c:pt>
                <c:pt idx="836">
                  <c:v>34.340000000000003</c:v>
                </c:pt>
                <c:pt idx="837">
                  <c:v>34.984999999999999</c:v>
                </c:pt>
                <c:pt idx="838">
                  <c:v>37.1</c:v>
                </c:pt>
                <c:pt idx="839">
                  <c:v>38.104999999999997</c:v>
                </c:pt>
                <c:pt idx="840">
                  <c:v>32.825000000000003</c:v>
                </c:pt>
                <c:pt idx="841">
                  <c:v>34.445</c:v>
                </c:pt>
                <c:pt idx="842">
                  <c:v>35</c:v>
                </c:pt>
                <c:pt idx="843">
                  <c:v>37.034999999999997</c:v>
                </c:pt>
                <c:pt idx="844">
                  <c:v>37.090000000000003</c:v>
                </c:pt>
                <c:pt idx="845">
                  <c:v>34.875</c:v>
                </c:pt>
                <c:pt idx="846">
                  <c:v>34.265000000000001</c:v>
                </c:pt>
                <c:pt idx="847">
                  <c:v>32.81</c:v>
                </c:pt>
                <c:pt idx="848">
                  <c:v>32.344999999999999</c:v>
                </c:pt>
                <c:pt idx="849">
                  <c:v>30.614999999999998</c:v>
                </c:pt>
                <c:pt idx="850">
                  <c:v>30.89</c:v>
                </c:pt>
                <c:pt idx="851">
                  <c:v>30.164999999999999</c:v>
                </c:pt>
                <c:pt idx="852">
                  <c:v>30.234999999999999</c:v>
                </c:pt>
                <c:pt idx="853">
                  <c:v>30.135000000000002</c:v>
                </c:pt>
                <c:pt idx="854">
                  <c:v>28.015000000000001</c:v>
                </c:pt>
                <c:pt idx="855">
                  <c:v>25.93</c:v>
                </c:pt>
                <c:pt idx="856">
                  <c:v>26.375</c:v>
                </c:pt>
                <c:pt idx="857">
                  <c:v>26.285</c:v>
                </c:pt>
                <c:pt idx="858">
                  <c:v>27.785</c:v>
                </c:pt>
                <c:pt idx="859">
                  <c:v>25.64</c:v>
                </c:pt>
                <c:pt idx="860">
                  <c:v>25.01</c:v>
                </c:pt>
                <c:pt idx="861">
                  <c:v>23.66</c:v>
                </c:pt>
                <c:pt idx="862">
                  <c:v>24.265000000000001</c:v>
                </c:pt>
                <c:pt idx="863">
                  <c:v>22.785</c:v>
                </c:pt>
                <c:pt idx="864">
                  <c:v>#N/A</c:v>
                </c:pt>
                <c:pt idx="865">
                  <c:v>#N/A</c:v>
                </c:pt>
                <c:pt idx="866">
                  <c:v>23.07</c:v>
                </c:pt>
                <c:pt idx="867">
                  <c:v>23.524999999999999</c:v>
                </c:pt>
                <c:pt idx="868">
                  <c:v>23.85</c:v>
                </c:pt>
                <c:pt idx="869">
                  <c:v>22.54</c:v>
                </c:pt>
                <c:pt idx="870">
                  <c:v>20.475000000000001</c:v>
                </c:pt>
                <c:pt idx="871">
                  <c:v>19.989999999999998</c:v>
                </c:pt>
                <c:pt idx="872">
                  <c:v>20.079999999999998</c:v>
                </c:pt>
                <c:pt idx="873">
                  <c:v>22.5</c:v>
                </c:pt>
                <c:pt idx="874">
                  <c:v>#N/A</c:v>
                </c:pt>
                <c:pt idx="875">
                  <c:v>20.399999999999999</c:v>
                </c:pt>
                <c:pt idx="876">
                  <c:v>21.55</c:v>
                </c:pt>
                <c:pt idx="877">
                  <c:v>21.065000000000001</c:v>
                </c:pt>
                <c:pt idx="878">
                  <c:v>20.9</c:v>
                </c:pt>
                <c:pt idx="879">
                  <c:v>21.184999999999999</c:v>
                </c:pt>
                <c:pt idx="880">
                  <c:v>21.725000000000001</c:v>
                </c:pt>
                <c:pt idx="881">
                  <c:v>21.855</c:v>
                </c:pt>
                <c:pt idx="882">
                  <c:v>21.87</c:v>
                </c:pt>
                <c:pt idx="883">
                  <c:v>22.274999999999999</c:v>
                </c:pt>
                <c:pt idx="884">
                  <c:v>23.03</c:v>
                </c:pt>
                <c:pt idx="885">
                  <c:v>23.175000000000001</c:v>
                </c:pt>
                <c:pt idx="886">
                  <c:v>22.88</c:v>
                </c:pt>
                <c:pt idx="887">
                  <c:v>23.04</c:v>
                </c:pt>
                <c:pt idx="888">
                  <c:v>23.16</c:v>
                </c:pt>
                <c:pt idx="889">
                  <c:v>23.31</c:v>
                </c:pt>
                <c:pt idx="890">
                  <c:v>23.295000000000002</c:v>
                </c:pt>
                <c:pt idx="891">
                  <c:v>23.715</c:v>
                </c:pt>
                <c:pt idx="892">
                  <c:v>25.15</c:v>
                </c:pt>
                <c:pt idx="893">
                  <c:v>24.295000000000002</c:v>
                </c:pt>
                <c:pt idx="894">
                  <c:v>24.184999999999999</c:v>
                </c:pt>
                <c:pt idx="895">
                  <c:v>26.385000000000002</c:v>
                </c:pt>
                <c:pt idx="896">
                  <c:v>29.265000000000001</c:v>
                </c:pt>
                <c:pt idx="897">
                  <c:v>31.54</c:v>
                </c:pt>
                <c:pt idx="898">
                  <c:v>34.784999999999997</c:v>
                </c:pt>
                <c:pt idx="899">
                  <c:v>35.244999999999997</c:v>
                </c:pt>
                <c:pt idx="900">
                  <c:v>36.125</c:v>
                </c:pt>
                <c:pt idx="901">
                  <c:v>37.08</c:v>
                </c:pt>
                <c:pt idx="902">
                  <c:v>37.284999999999997</c:v>
                </c:pt>
                <c:pt idx="903">
                  <c:v>37.17</c:v>
                </c:pt>
                <c:pt idx="904">
                  <c:v>37.4</c:v>
                </c:pt>
                <c:pt idx="905">
                  <c:v>39.225000000000001</c:v>
                </c:pt>
                <c:pt idx="906">
                  <c:v>40.055</c:v>
                </c:pt>
                <c:pt idx="907">
                  <c:v>41.72</c:v>
                </c:pt>
                <c:pt idx="908">
                  <c:v>41.19</c:v>
                </c:pt>
                <c:pt idx="909">
                  <c:v>40.715000000000003</c:v>
                </c:pt>
                <c:pt idx="910">
                  <c:v>42.97</c:v>
                </c:pt>
                <c:pt idx="911">
                  <c:v>#N/A</c:v>
                </c:pt>
                <c:pt idx="912">
                  <c:v>40.075000000000003</c:v>
                </c:pt>
                <c:pt idx="913">
                  <c:v>40.729999999999997</c:v>
                </c:pt>
                <c:pt idx="914">
                  <c:v>40.655000000000001</c:v>
                </c:pt>
                <c:pt idx="915">
                  <c:v>41.784999999999997</c:v>
                </c:pt>
                <c:pt idx="916">
                  <c:v>40.6</c:v>
                </c:pt>
                <c:pt idx="917">
                  <c:v>39.799999999999997</c:v>
                </c:pt>
                <c:pt idx="918">
                  <c:v>39.005000000000003</c:v>
                </c:pt>
                <c:pt idx="919">
                  <c:v>38.465000000000003</c:v>
                </c:pt>
                <c:pt idx="920">
                  <c:v>37.9</c:v>
                </c:pt>
                <c:pt idx="921">
                  <c:v>38.4</c:v>
                </c:pt>
                <c:pt idx="922">
                  <c:v>42.615000000000002</c:v>
                </c:pt>
                <c:pt idx="923">
                  <c:v>46.1</c:v>
                </c:pt>
                <c:pt idx="924">
                  <c:v>45.77</c:v>
                </c:pt>
                <c:pt idx="925">
                  <c:v>44.814999999999998</c:v>
                </c:pt>
                <c:pt idx="926">
                  <c:v>42.075000000000003</c:v>
                </c:pt>
                <c:pt idx="927">
                  <c:v>44.6</c:v>
                </c:pt>
                <c:pt idx="928">
                  <c:v>45.39</c:v>
                </c:pt>
                <c:pt idx="929">
                  <c:v>47.174999999999997</c:v>
                </c:pt>
                <c:pt idx="930">
                  <c:v>46.755000000000003</c:v>
                </c:pt>
                <c:pt idx="931">
                  <c:v>46.02</c:v>
                </c:pt>
                <c:pt idx="932">
                  <c:v>#N/A</c:v>
                </c:pt>
                <c:pt idx="933">
                  <c:v>46.015000000000001</c:v>
                </c:pt>
                <c:pt idx="934">
                  <c:v>47.475000000000001</c:v>
                </c:pt>
                <c:pt idx="935">
                  <c:v>48.145000000000003</c:v>
                </c:pt>
                <c:pt idx="936">
                  <c:v>46.5</c:v>
                </c:pt>
                <c:pt idx="937">
                  <c:v>50.36</c:v>
                </c:pt>
                <c:pt idx="938">
                  <c:v>51.35</c:v>
                </c:pt>
                <c:pt idx="939">
                  <c:v>52.174999999999997</c:v>
                </c:pt>
                <c:pt idx="940">
                  <c:v>55.8</c:v>
                </c:pt>
                <c:pt idx="941">
                  <c:v>57.784999999999997</c:v>
                </c:pt>
                <c:pt idx="942">
                  <c:v>62.045000000000002</c:v>
                </c:pt>
                <c:pt idx="943">
                  <c:v>62.085000000000001</c:v>
                </c:pt>
                <c:pt idx="944">
                  <c:v>63.424999999999997</c:v>
                </c:pt>
                <c:pt idx="945">
                  <c:v>68.88</c:v>
                </c:pt>
                <c:pt idx="946">
                  <c:v>71.855000000000004</c:v>
                </c:pt>
                <c:pt idx="947">
                  <c:v>67.855000000000004</c:v>
                </c:pt>
                <c:pt idx="948">
                  <c:v>53.314999999999998</c:v>
                </c:pt>
                <c:pt idx="949">
                  <c:v>56.414999999999999</c:v>
                </c:pt>
                <c:pt idx="950">
                  <c:v>62.314999999999998</c:v>
                </c:pt>
                <c:pt idx="951">
                  <c:v>55.47</c:v>
                </c:pt>
                <c:pt idx="952">
                  <c:v>48.664999999999999</c:v>
                </c:pt>
                <c:pt idx="953">
                  <c:v>47.93</c:v>
                </c:pt>
                <c:pt idx="954">
                  <c:v>45.814999999999998</c:v>
                </c:pt>
                <c:pt idx="955">
                  <c:v>40.185000000000002</c:v>
                </c:pt>
                <c:pt idx="956">
                  <c:v>40.79</c:v>
                </c:pt>
                <c:pt idx="957">
                  <c:v>43.66</c:v>
                </c:pt>
                <c:pt idx="958">
                  <c:v>39.6</c:v>
                </c:pt>
                <c:pt idx="959">
                  <c:v>38.884999999999998</c:v>
                </c:pt>
                <c:pt idx="960">
                  <c:v>37.67</c:v>
                </c:pt>
                <c:pt idx="961">
                  <c:v>38.914999999999999</c:v>
                </c:pt>
                <c:pt idx="962">
                  <c:v>38.414999999999999</c:v>
                </c:pt>
                <c:pt idx="963">
                  <c:v>37.92</c:v>
                </c:pt>
                <c:pt idx="964">
                  <c:v>38.055</c:v>
                </c:pt>
                <c:pt idx="965">
                  <c:v>34.575000000000003</c:v>
                </c:pt>
                <c:pt idx="966">
                  <c:v>39.854999999999997</c:v>
                </c:pt>
                <c:pt idx="967">
                  <c:v>39.67</c:v>
                </c:pt>
                <c:pt idx="968">
                  <c:v>38.375</c:v>
                </c:pt>
                <c:pt idx="969">
                  <c:v>36.634999999999998</c:v>
                </c:pt>
                <c:pt idx="970">
                  <c:v>35.715000000000003</c:v>
                </c:pt>
                <c:pt idx="971">
                  <c:v>34.4</c:v>
                </c:pt>
                <c:pt idx="972">
                  <c:v>33.814999999999998</c:v>
                </c:pt>
                <c:pt idx="973">
                  <c:v>33.630000000000003</c:v>
                </c:pt>
                <c:pt idx="974">
                  <c:v>30.285</c:v>
                </c:pt>
                <c:pt idx="975">
                  <c:v>29.29</c:v>
                </c:pt>
                <c:pt idx="976">
                  <c:v>26.945</c:v>
                </c:pt>
                <c:pt idx="977">
                  <c:v>26.855</c:v>
                </c:pt>
                <c:pt idx="978">
                  <c:v>30.06</c:v>
                </c:pt>
                <c:pt idx="979">
                  <c:v>29.875</c:v>
                </c:pt>
                <c:pt idx="980">
                  <c:v>29.86</c:v>
                </c:pt>
                <c:pt idx="981">
                  <c:v>29.614999999999998</c:v>
                </c:pt>
                <c:pt idx="982">
                  <c:v>28.725000000000001</c:v>
                </c:pt>
                <c:pt idx="983">
                  <c:v>28.785</c:v>
                </c:pt>
                <c:pt idx="984">
                  <c:v>#N/A</c:v>
                </c:pt>
                <c:pt idx="985">
                  <c:v>27.42</c:v>
                </c:pt>
                <c:pt idx="986">
                  <c:v>27</c:v>
                </c:pt>
                <c:pt idx="987">
                  <c:v>25.93</c:v>
                </c:pt>
                <c:pt idx="988">
                  <c:v>25</c:v>
                </c:pt>
                <c:pt idx="989">
                  <c:v>25</c:v>
                </c:pt>
                <c:pt idx="990">
                  <c:v>27.215</c:v>
                </c:pt>
                <c:pt idx="991">
                  <c:v>27.355</c:v>
                </c:pt>
                <c:pt idx="992">
                  <c:v>27.145</c:v>
                </c:pt>
                <c:pt idx="993">
                  <c:v>26.355</c:v>
                </c:pt>
                <c:pt idx="994">
                  <c:v>25.664999999999999</c:v>
                </c:pt>
                <c:pt idx="995">
                  <c:v>23.84</c:v>
                </c:pt>
                <c:pt idx="996">
                  <c:v>23.425000000000001</c:v>
                </c:pt>
                <c:pt idx="997">
                  <c:v>23.114999999999998</c:v>
                </c:pt>
                <c:pt idx="998">
                  <c:v>23.024999999999999</c:v>
                </c:pt>
                <c:pt idx="999">
                  <c:v>23.085000000000001</c:v>
                </c:pt>
                <c:pt idx="1000">
                  <c:v>22.754999999999999</c:v>
                </c:pt>
                <c:pt idx="1001">
                  <c:v>25.07</c:v>
                </c:pt>
                <c:pt idx="1002">
                  <c:v>24.715</c:v>
                </c:pt>
                <c:pt idx="1003">
                  <c:v>25</c:v>
                </c:pt>
                <c:pt idx="1004">
                  <c:v>25.914999999999999</c:v>
                </c:pt>
                <c:pt idx="1005">
                  <c:v>26.065000000000001</c:v>
                </c:pt>
                <c:pt idx="1006">
                  <c:v>26.07</c:v>
                </c:pt>
                <c:pt idx="1007">
                  <c:v>25.355</c:v>
                </c:pt>
                <c:pt idx="1008">
                  <c:v>25.285</c:v>
                </c:pt>
                <c:pt idx="1009">
                  <c:v>25.664999999999999</c:v>
                </c:pt>
                <c:pt idx="1010">
                  <c:v>27</c:v>
                </c:pt>
                <c:pt idx="1011">
                  <c:v>30.7</c:v>
                </c:pt>
                <c:pt idx="1012">
                  <c:v>29.92</c:v>
                </c:pt>
                <c:pt idx="1013">
                  <c:v>29.914999999999999</c:v>
                </c:pt>
                <c:pt idx="1014">
                  <c:v>29.54</c:v>
                </c:pt>
                <c:pt idx="1015">
                  <c:v>30.71</c:v>
                </c:pt>
                <c:pt idx="1016">
                  <c:v>33.914999999999999</c:v>
                </c:pt>
                <c:pt idx="1017">
                  <c:v>33.844999999999999</c:v>
                </c:pt>
                <c:pt idx="1018">
                  <c:v>34.67</c:v>
                </c:pt>
                <c:pt idx="1019">
                  <c:v>34.115000000000002</c:v>
                </c:pt>
                <c:pt idx="1020">
                  <c:v>34.164999999999999</c:v>
                </c:pt>
                <c:pt idx="1021">
                  <c:v>33.585000000000001</c:v>
                </c:pt>
                <c:pt idx="1022">
                  <c:v>34.03</c:v>
                </c:pt>
                <c:pt idx="1023">
                  <c:v>30.14</c:v>
                </c:pt>
                <c:pt idx="1024">
                  <c:v>27.75</c:v>
                </c:pt>
                <c:pt idx="1025">
                  <c:v>30.715</c:v>
                </c:pt>
                <c:pt idx="1026">
                  <c:v>29.934999999999999</c:v>
                </c:pt>
                <c:pt idx="1027">
                  <c:v>29.63</c:v>
                </c:pt>
                <c:pt idx="1028">
                  <c:v>28.515000000000001</c:v>
                </c:pt>
                <c:pt idx="1029">
                  <c:v>26.835000000000001</c:v>
                </c:pt>
                <c:pt idx="1030">
                  <c:v>26.3</c:v>
                </c:pt>
                <c:pt idx="1031">
                  <c:v>26.13</c:v>
                </c:pt>
                <c:pt idx="1032">
                  <c:v>25.42</c:v>
                </c:pt>
                <c:pt idx="1033">
                  <c:v>24.215</c:v>
                </c:pt>
                <c:pt idx="1034">
                  <c:v>21.96</c:v>
                </c:pt>
                <c:pt idx="1035">
                  <c:v>22.87</c:v>
                </c:pt>
                <c:pt idx="1036">
                  <c:v>22.88</c:v>
                </c:pt>
                <c:pt idx="1037">
                  <c:v>24.54</c:v>
                </c:pt>
                <c:pt idx="1038">
                  <c:v>22.55</c:v>
                </c:pt>
                <c:pt idx="1039">
                  <c:v>20.79</c:v>
                </c:pt>
                <c:pt idx="1040">
                  <c:v>21.63</c:v>
                </c:pt>
                <c:pt idx="1041">
                  <c:v>18.739999999999998</c:v>
                </c:pt>
                <c:pt idx="1042">
                  <c:v>18.895</c:v>
                </c:pt>
                <c:pt idx="1043">
                  <c:v>18.835000000000001</c:v>
                </c:pt>
                <c:pt idx="1044">
                  <c:v>18.625</c:v>
                </c:pt>
                <c:pt idx="1045">
                  <c:v>#N/A</c:v>
                </c:pt>
                <c:pt idx="1046">
                  <c:v>#N/A</c:v>
                </c:pt>
                <c:pt idx="1047">
                  <c:v>18.52</c:v>
                </c:pt>
                <c:pt idx="1048">
                  <c:v>18.184999999999999</c:v>
                </c:pt>
                <c:pt idx="1049">
                  <c:v>17.86</c:v>
                </c:pt>
                <c:pt idx="1050">
                  <c:v>18.190000000000001</c:v>
                </c:pt>
                <c:pt idx="1051">
                  <c:v>18.05</c:v>
                </c:pt>
                <c:pt idx="1052">
                  <c:v>18.37</c:v>
                </c:pt>
                <c:pt idx="1053">
                  <c:v>18.7</c:v>
                </c:pt>
                <c:pt idx="1054">
                  <c:v>18.03</c:v>
                </c:pt>
                <c:pt idx="1055">
                  <c:v>18.614999999999998</c:v>
                </c:pt>
                <c:pt idx="1056">
                  <c:v>17.965</c:v>
                </c:pt>
                <c:pt idx="1057">
                  <c:v>17.355</c:v>
                </c:pt>
                <c:pt idx="1058">
                  <c:v>16.835000000000001</c:v>
                </c:pt>
                <c:pt idx="1059">
                  <c:v>15.79</c:v>
                </c:pt>
                <c:pt idx="1060">
                  <c:v>15.734999999999999</c:v>
                </c:pt>
                <c:pt idx="1061">
                  <c:v>15.49</c:v>
                </c:pt>
                <c:pt idx="1062">
                  <c:v>15.615</c:v>
                </c:pt>
                <c:pt idx="1063">
                  <c:v>15.605</c:v>
                </c:pt>
                <c:pt idx="1064">
                  <c:v>15.015000000000001</c:v>
                </c:pt>
                <c:pt idx="1065">
                  <c:v>13.875</c:v>
                </c:pt>
                <c:pt idx="1066">
                  <c:v>14.11</c:v>
                </c:pt>
                <c:pt idx="1067">
                  <c:v>14.2</c:v>
                </c:pt>
                <c:pt idx="1068">
                  <c:v>14.295</c:v>
                </c:pt>
                <c:pt idx="1069">
                  <c:v>14.055</c:v>
                </c:pt>
                <c:pt idx="1070">
                  <c:v>14.13</c:v>
                </c:pt>
                <c:pt idx="1071">
                  <c:v>14.275</c:v>
                </c:pt>
                <c:pt idx="1072">
                  <c:v>14.23</c:v>
                </c:pt>
                <c:pt idx="1073">
                  <c:v>13.96</c:v>
                </c:pt>
                <c:pt idx="1074">
                  <c:v>13.765000000000001</c:v>
                </c:pt>
                <c:pt idx="1075">
                  <c:v>13.64</c:v>
                </c:pt>
                <c:pt idx="1076">
                  <c:v>12.98</c:v>
                </c:pt>
                <c:pt idx="1077">
                  <c:v>12.6</c:v>
                </c:pt>
                <c:pt idx="1078">
                  <c:v>13.965</c:v>
                </c:pt>
                <c:pt idx="1079">
                  <c:v>14.164999999999999</c:v>
                </c:pt>
                <c:pt idx="1080">
                  <c:v>13.914999999999999</c:v>
                </c:pt>
                <c:pt idx="1081">
                  <c:v>13.535</c:v>
                </c:pt>
                <c:pt idx="1082">
                  <c:v>13.404999999999999</c:v>
                </c:pt>
                <c:pt idx="1083">
                  <c:v>13.295</c:v>
                </c:pt>
                <c:pt idx="1084">
                  <c:v>13.074999999999999</c:v>
                </c:pt>
                <c:pt idx="1085">
                  <c:v>13.275</c:v>
                </c:pt>
                <c:pt idx="1086">
                  <c:v>13.2</c:v>
                </c:pt>
                <c:pt idx="1087">
                  <c:v>13.65</c:v>
                </c:pt>
                <c:pt idx="1088">
                  <c:v>12.46</c:v>
                </c:pt>
                <c:pt idx="1089">
                  <c:v>12.275</c:v>
                </c:pt>
                <c:pt idx="1090">
                  <c:v>12.635</c:v>
                </c:pt>
                <c:pt idx="1091">
                  <c:v>12.42</c:v>
                </c:pt>
                <c:pt idx="1092">
                  <c:v>12.21</c:v>
                </c:pt>
                <c:pt idx="1093">
                  <c:v>12.835000000000001</c:v>
                </c:pt>
                <c:pt idx="1094">
                  <c:v>13.19</c:v>
                </c:pt>
                <c:pt idx="1095">
                  <c:v>12.78</c:v>
                </c:pt>
                <c:pt idx="1096">
                  <c:v>12.2</c:v>
                </c:pt>
                <c:pt idx="1097">
                  <c:v>12.095000000000001</c:v>
                </c:pt>
                <c:pt idx="1098">
                  <c:v>12.11</c:v>
                </c:pt>
                <c:pt idx="1099">
                  <c:v>12.074999999999999</c:v>
                </c:pt>
                <c:pt idx="1100">
                  <c:v>11.88</c:v>
                </c:pt>
                <c:pt idx="1101">
                  <c:v>11.975</c:v>
                </c:pt>
                <c:pt idx="1102">
                  <c:v>11.994999999999999</c:v>
                </c:pt>
                <c:pt idx="1103">
                  <c:v>11.97</c:v>
                </c:pt>
                <c:pt idx="1104">
                  <c:v>12.01</c:v>
                </c:pt>
                <c:pt idx="1105">
                  <c:v>11.9</c:v>
                </c:pt>
                <c:pt idx="1106">
                  <c:v>11.9</c:v>
                </c:pt>
                <c:pt idx="1107">
                  <c:v>11.66</c:v>
                </c:pt>
                <c:pt idx="1108">
                  <c:v>#N/A</c:v>
                </c:pt>
                <c:pt idx="1109">
                  <c:v>11.085000000000001</c:v>
                </c:pt>
                <c:pt idx="1110">
                  <c:v>11.055</c:v>
                </c:pt>
                <c:pt idx="1111">
                  <c:v>10.975</c:v>
                </c:pt>
                <c:pt idx="1112">
                  <c:v>10.76</c:v>
                </c:pt>
                <c:pt idx="1113">
                  <c:v>10.505000000000001</c:v>
                </c:pt>
                <c:pt idx="1114">
                  <c:v>10.324999999999999</c:v>
                </c:pt>
                <c:pt idx="1115">
                  <c:v>10.38</c:v>
                </c:pt>
                <c:pt idx="1116">
                  <c:v>10.24</c:v>
                </c:pt>
                <c:pt idx="1117">
                  <c:v>10.164999999999999</c:v>
                </c:pt>
                <c:pt idx="1118">
                  <c:v>10.045</c:v>
                </c:pt>
                <c:pt idx="1119">
                  <c:v>9.82</c:v>
                </c:pt>
                <c:pt idx="1120">
                  <c:v>9.7149999999999999</c:v>
                </c:pt>
                <c:pt idx="1121">
                  <c:v>9.6549999999999994</c:v>
                </c:pt>
                <c:pt idx="1122">
                  <c:v>9.5649999999999995</c:v>
                </c:pt>
                <c:pt idx="1123">
                  <c:v>9.57</c:v>
                </c:pt>
                <c:pt idx="1124">
                  <c:v>9.4250000000000007</c:v>
                </c:pt>
                <c:pt idx="1125">
                  <c:v>9.4250000000000007</c:v>
                </c:pt>
                <c:pt idx="1126">
                  <c:v>9.3699999999999992</c:v>
                </c:pt>
                <c:pt idx="1127">
                  <c:v>9.26</c:v>
                </c:pt>
                <c:pt idx="1128">
                  <c:v>8.77</c:v>
                </c:pt>
                <c:pt idx="1129">
                  <c:v>8.7349999999999994</c:v>
                </c:pt>
                <c:pt idx="1130">
                  <c:v>8.7249999999999996</c:v>
                </c:pt>
                <c:pt idx="1131">
                  <c:v>#N/A</c:v>
                </c:pt>
                <c:pt idx="1132">
                  <c:v>8.7249999999999996</c:v>
                </c:pt>
                <c:pt idx="1133">
                  <c:v>8.9250000000000007</c:v>
                </c:pt>
                <c:pt idx="1134">
                  <c:v>8.7149999999999999</c:v>
                </c:pt>
                <c:pt idx="1135">
                  <c:v>8.6649999999999991</c:v>
                </c:pt>
                <c:pt idx="1136">
                  <c:v>8.875</c:v>
                </c:pt>
                <c:pt idx="1137">
                  <c:v>8.9849999999999994</c:v>
                </c:pt>
                <c:pt idx="1138">
                  <c:v>9.16</c:v>
                </c:pt>
                <c:pt idx="1139">
                  <c:v>9.5950000000000006</c:v>
                </c:pt>
                <c:pt idx="1140">
                  <c:v>10.605</c:v>
                </c:pt>
                <c:pt idx="1141">
                  <c:v>11.595000000000001</c:v>
                </c:pt>
                <c:pt idx="1142">
                  <c:v>11.03</c:v>
                </c:pt>
                <c:pt idx="1143">
                  <c:v>11.53</c:v>
                </c:pt>
                <c:pt idx="1144">
                  <c:v>11.275</c:v>
                </c:pt>
                <c:pt idx="1145">
                  <c:v>11.244999999999999</c:v>
                </c:pt>
                <c:pt idx="1146">
                  <c:v>10.78</c:v>
                </c:pt>
                <c:pt idx="1147">
                  <c:v>10.92</c:v>
                </c:pt>
                <c:pt idx="1148">
                  <c:v>#N/A</c:v>
                </c:pt>
                <c:pt idx="1149">
                  <c:v>11.285</c:v>
                </c:pt>
                <c:pt idx="1150">
                  <c:v>11.71</c:v>
                </c:pt>
                <c:pt idx="1151">
                  <c:v>12.15</c:v>
                </c:pt>
                <c:pt idx="1152">
                  <c:v>11.965</c:v>
                </c:pt>
                <c:pt idx="1153">
                  <c:v>11.734999999999999</c:v>
                </c:pt>
                <c:pt idx="1154">
                  <c:v>10.515000000000001</c:v>
                </c:pt>
                <c:pt idx="1155">
                  <c:v>10.425000000000001</c:v>
                </c:pt>
                <c:pt idx="1156">
                  <c:v>10.225</c:v>
                </c:pt>
                <c:pt idx="1157">
                  <c:v>10.3</c:v>
                </c:pt>
                <c:pt idx="1158">
                  <c:v>10.02</c:v>
                </c:pt>
                <c:pt idx="1159">
                  <c:v>10.06</c:v>
                </c:pt>
                <c:pt idx="1160">
                  <c:v>10.385</c:v>
                </c:pt>
                <c:pt idx="1161">
                  <c:v>10.16</c:v>
                </c:pt>
                <c:pt idx="1162">
                  <c:v>10.29</c:v>
                </c:pt>
                <c:pt idx="1163">
                  <c:v>10.215</c:v>
                </c:pt>
                <c:pt idx="1164">
                  <c:v>10.54</c:v>
                </c:pt>
                <c:pt idx="1165">
                  <c:v>11.15</c:v>
                </c:pt>
                <c:pt idx="1166">
                  <c:v>10.62</c:v>
                </c:pt>
                <c:pt idx="1167">
                  <c:v>11.125</c:v>
                </c:pt>
                <c:pt idx="1168">
                  <c:v>10.52</c:v>
                </c:pt>
                <c:pt idx="1169">
                  <c:v>10.414999999999999</c:v>
                </c:pt>
                <c:pt idx="1170">
                  <c:v>10.484999999999999</c:v>
                </c:pt>
                <c:pt idx="1171">
                  <c:v>10.515000000000001</c:v>
                </c:pt>
                <c:pt idx="1172">
                  <c:v>10.6</c:v>
                </c:pt>
                <c:pt idx="1173">
                  <c:v>10.645</c:v>
                </c:pt>
                <c:pt idx="1174">
                  <c:v>10.73</c:v>
                </c:pt>
                <c:pt idx="1175">
                  <c:v>#N/A</c:v>
                </c:pt>
                <c:pt idx="1176">
                  <c:v>11.7</c:v>
                </c:pt>
                <c:pt idx="1177">
                  <c:v>11.7</c:v>
                </c:pt>
                <c:pt idx="1178">
                  <c:v>11.494999999999999</c:v>
                </c:pt>
                <c:pt idx="1179">
                  <c:v>11.475</c:v>
                </c:pt>
                <c:pt idx="1180">
                  <c:v>12.42</c:v>
                </c:pt>
                <c:pt idx="1181">
                  <c:v>12.66</c:v>
                </c:pt>
                <c:pt idx="1182">
                  <c:v>12.7</c:v>
                </c:pt>
                <c:pt idx="1183">
                  <c:v>12.8</c:v>
                </c:pt>
                <c:pt idx="1184">
                  <c:v>13.035</c:v>
                </c:pt>
                <c:pt idx="1185">
                  <c:v>13.295</c:v>
                </c:pt>
                <c:pt idx="1186">
                  <c:v>12.63</c:v>
                </c:pt>
                <c:pt idx="1187">
                  <c:v>11.895</c:v>
                </c:pt>
                <c:pt idx="1188">
                  <c:v>11.765000000000001</c:v>
                </c:pt>
                <c:pt idx="1189">
                  <c:v>11.914999999999999</c:v>
                </c:pt>
                <c:pt idx="1190">
                  <c:v>11.84</c:v>
                </c:pt>
                <c:pt idx="1191">
                  <c:v>#N/A</c:v>
                </c:pt>
                <c:pt idx="1192">
                  <c:v>#N/A</c:v>
                </c:pt>
                <c:pt idx="1193">
                  <c:v>#N/A</c:v>
                </c:pt>
                <c:pt idx="1194">
                  <c:v>#N/A</c:v>
                </c:pt>
                <c:pt idx="1195">
                  <c:v>#N/A</c:v>
                </c:pt>
                <c:pt idx="1196">
                  <c:v>#N/A</c:v>
                </c:pt>
                <c:pt idx="1197">
                  <c:v>#N/A</c:v>
                </c:pt>
                <c:pt idx="1198">
                  <c:v>#N/A</c:v>
                </c:pt>
              </c:numCache>
            </c:numRef>
          </c:val>
          <c:smooth val="1"/>
          <c:extLst>
            <c:ext xmlns:c16="http://schemas.microsoft.com/office/drawing/2014/chart" uri="{C3380CC4-5D6E-409C-BE32-E72D297353CC}">
              <c16:uniqueId val="{00000001-CB0F-4EF7-A8F1-22306E322E7C}"/>
            </c:ext>
          </c:extLst>
        </c:ser>
        <c:ser>
          <c:idx val="2"/>
          <c:order val="2"/>
          <c:tx>
            <c:strRef>
              <c:f>Sheet1!$D$1</c:f>
              <c:strCache>
                <c:ptCount val="1"/>
                <c:pt idx="0">
                  <c:v>TTF</c:v>
                </c:pt>
              </c:strCache>
            </c:strRef>
          </c:tx>
          <c:spPr>
            <a:ln w="28575" cap="rnd">
              <a:solidFill>
                <a:srgbClr val="7E8186"/>
              </a:solidFill>
              <a:round/>
            </a:ln>
            <a:effectLst/>
          </c:spPr>
          <c:marker>
            <c:symbol val="none"/>
          </c:marker>
          <c:cat>
            <c:numRef>
              <c:f>Sheet1!$A$2:$A$1200</c:f>
              <c:numCache>
                <c:formatCode>m/d/yyyy</c:formatCode>
                <c:ptCount val="1199"/>
                <c:pt idx="0">
                  <c:v>43466</c:v>
                </c:pt>
                <c:pt idx="1">
                  <c:v>43467</c:v>
                </c:pt>
                <c:pt idx="2">
                  <c:v>43468</c:v>
                </c:pt>
                <c:pt idx="3">
                  <c:v>43469</c:v>
                </c:pt>
                <c:pt idx="4">
                  <c:v>43472</c:v>
                </c:pt>
                <c:pt idx="5">
                  <c:v>43473</c:v>
                </c:pt>
                <c:pt idx="6">
                  <c:v>43474</c:v>
                </c:pt>
                <c:pt idx="7">
                  <c:v>43475</c:v>
                </c:pt>
                <c:pt idx="8">
                  <c:v>43476</c:v>
                </c:pt>
                <c:pt idx="9">
                  <c:v>43479</c:v>
                </c:pt>
                <c:pt idx="10">
                  <c:v>43480</c:v>
                </c:pt>
                <c:pt idx="11">
                  <c:v>43481</c:v>
                </c:pt>
                <c:pt idx="12">
                  <c:v>43482</c:v>
                </c:pt>
                <c:pt idx="13">
                  <c:v>43483</c:v>
                </c:pt>
                <c:pt idx="14">
                  <c:v>43486</c:v>
                </c:pt>
                <c:pt idx="15">
                  <c:v>43487</c:v>
                </c:pt>
                <c:pt idx="16">
                  <c:v>43488</c:v>
                </c:pt>
                <c:pt idx="17">
                  <c:v>43489</c:v>
                </c:pt>
                <c:pt idx="18">
                  <c:v>43490</c:v>
                </c:pt>
                <c:pt idx="19">
                  <c:v>43493</c:v>
                </c:pt>
                <c:pt idx="20">
                  <c:v>43494</c:v>
                </c:pt>
                <c:pt idx="21">
                  <c:v>43495</c:v>
                </c:pt>
                <c:pt idx="22">
                  <c:v>43496</c:v>
                </c:pt>
                <c:pt idx="23">
                  <c:v>43497</c:v>
                </c:pt>
                <c:pt idx="24">
                  <c:v>43500</c:v>
                </c:pt>
                <c:pt idx="25">
                  <c:v>43501</c:v>
                </c:pt>
                <c:pt idx="26">
                  <c:v>43502</c:v>
                </c:pt>
                <c:pt idx="27">
                  <c:v>43503</c:v>
                </c:pt>
                <c:pt idx="28">
                  <c:v>43504</c:v>
                </c:pt>
                <c:pt idx="29">
                  <c:v>43507</c:v>
                </c:pt>
                <c:pt idx="30">
                  <c:v>43508</c:v>
                </c:pt>
                <c:pt idx="31">
                  <c:v>43509</c:v>
                </c:pt>
                <c:pt idx="32">
                  <c:v>43510</c:v>
                </c:pt>
                <c:pt idx="33">
                  <c:v>43511</c:v>
                </c:pt>
                <c:pt idx="34">
                  <c:v>43514</c:v>
                </c:pt>
                <c:pt idx="35">
                  <c:v>43515</c:v>
                </c:pt>
                <c:pt idx="36">
                  <c:v>43516</c:v>
                </c:pt>
                <c:pt idx="37">
                  <c:v>43517</c:v>
                </c:pt>
                <c:pt idx="38">
                  <c:v>43518</c:v>
                </c:pt>
                <c:pt idx="39">
                  <c:v>43521</c:v>
                </c:pt>
                <c:pt idx="40">
                  <c:v>43522</c:v>
                </c:pt>
                <c:pt idx="41">
                  <c:v>43523</c:v>
                </c:pt>
                <c:pt idx="42">
                  <c:v>43524</c:v>
                </c:pt>
                <c:pt idx="43">
                  <c:v>43525</c:v>
                </c:pt>
                <c:pt idx="44">
                  <c:v>43528</c:v>
                </c:pt>
                <c:pt idx="45">
                  <c:v>43529</c:v>
                </c:pt>
                <c:pt idx="46">
                  <c:v>43530</c:v>
                </c:pt>
                <c:pt idx="47">
                  <c:v>43531</c:v>
                </c:pt>
                <c:pt idx="48">
                  <c:v>43532</c:v>
                </c:pt>
                <c:pt idx="49">
                  <c:v>43535</c:v>
                </c:pt>
                <c:pt idx="50">
                  <c:v>43536</c:v>
                </c:pt>
                <c:pt idx="51">
                  <c:v>43537</c:v>
                </c:pt>
                <c:pt idx="52">
                  <c:v>43538</c:v>
                </c:pt>
                <c:pt idx="53">
                  <c:v>43539</c:v>
                </c:pt>
                <c:pt idx="54">
                  <c:v>43542</c:v>
                </c:pt>
                <c:pt idx="55">
                  <c:v>43543</c:v>
                </c:pt>
                <c:pt idx="56">
                  <c:v>43544</c:v>
                </c:pt>
                <c:pt idx="57">
                  <c:v>43545</c:v>
                </c:pt>
                <c:pt idx="58">
                  <c:v>43546</c:v>
                </c:pt>
                <c:pt idx="59">
                  <c:v>43549</c:v>
                </c:pt>
                <c:pt idx="60">
                  <c:v>43550</c:v>
                </c:pt>
                <c:pt idx="61">
                  <c:v>43551</c:v>
                </c:pt>
                <c:pt idx="62">
                  <c:v>43552</c:v>
                </c:pt>
                <c:pt idx="63">
                  <c:v>43553</c:v>
                </c:pt>
                <c:pt idx="64">
                  <c:v>43556</c:v>
                </c:pt>
                <c:pt idx="65">
                  <c:v>43557</c:v>
                </c:pt>
                <c:pt idx="66">
                  <c:v>43558</c:v>
                </c:pt>
                <c:pt idx="67">
                  <c:v>43559</c:v>
                </c:pt>
                <c:pt idx="68">
                  <c:v>43560</c:v>
                </c:pt>
                <c:pt idx="69">
                  <c:v>43563</c:v>
                </c:pt>
                <c:pt idx="70">
                  <c:v>43564</c:v>
                </c:pt>
                <c:pt idx="71">
                  <c:v>43565</c:v>
                </c:pt>
                <c:pt idx="72">
                  <c:v>43566</c:v>
                </c:pt>
                <c:pt idx="73">
                  <c:v>43567</c:v>
                </c:pt>
                <c:pt idx="74">
                  <c:v>43570</c:v>
                </c:pt>
                <c:pt idx="75">
                  <c:v>43571</c:v>
                </c:pt>
                <c:pt idx="76">
                  <c:v>43572</c:v>
                </c:pt>
                <c:pt idx="77">
                  <c:v>43573</c:v>
                </c:pt>
                <c:pt idx="78">
                  <c:v>43574</c:v>
                </c:pt>
                <c:pt idx="79">
                  <c:v>43577</c:v>
                </c:pt>
                <c:pt idx="80">
                  <c:v>43578</c:v>
                </c:pt>
                <c:pt idx="81">
                  <c:v>43579</c:v>
                </c:pt>
                <c:pt idx="82">
                  <c:v>43580</c:v>
                </c:pt>
                <c:pt idx="83">
                  <c:v>43581</c:v>
                </c:pt>
                <c:pt idx="84">
                  <c:v>43584</c:v>
                </c:pt>
                <c:pt idx="85">
                  <c:v>43585</c:v>
                </c:pt>
                <c:pt idx="86">
                  <c:v>43586</c:v>
                </c:pt>
                <c:pt idx="87">
                  <c:v>43587</c:v>
                </c:pt>
                <c:pt idx="88">
                  <c:v>43588</c:v>
                </c:pt>
                <c:pt idx="89">
                  <c:v>43591</c:v>
                </c:pt>
                <c:pt idx="90">
                  <c:v>43592</c:v>
                </c:pt>
                <c:pt idx="91">
                  <c:v>43593</c:v>
                </c:pt>
                <c:pt idx="92">
                  <c:v>43594</c:v>
                </c:pt>
                <c:pt idx="93">
                  <c:v>43595</c:v>
                </c:pt>
                <c:pt idx="94">
                  <c:v>43598</c:v>
                </c:pt>
                <c:pt idx="95">
                  <c:v>43599</c:v>
                </c:pt>
                <c:pt idx="96">
                  <c:v>43600</c:v>
                </c:pt>
                <c:pt idx="97">
                  <c:v>43601</c:v>
                </c:pt>
                <c:pt idx="98">
                  <c:v>43602</c:v>
                </c:pt>
                <c:pt idx="99">
                  <c:v>43605</c:v>
                </c:pt>
                <c:pt idx="100">
                  <c:v>43606</c:v>
                </c:pt>
                <c:pt idx="101">
                  <c:v>43607</c:v>
                </c:pt>
                <c:pt idx="102">
                  <c:v>43608</c:v>
                </c:pt>
                <c:pt idx="103">
                  <c:v>43609</c:v>
                </c:pt>
                <c:pt idx="104">
                  <c:v>43612</c:v>
                </c:pt>
                <c:pt idx="105">
                  <c:v>43613</c:v>
                </c:pt>
                <c:pt idx="106">
                  <c:v>43614</c:v>
                </c:pt>
                <c:pt idx="107">
                  <c:v>43615</c:v>
                </c:pt>
                <c:pt idx="108">
                  <c:v>43616</c:v>
                </c:pt>
                <c:pt idx="109">
                  <c:v>43619</c:v>
                </c:pt>
                <c:pt idx="110">
                  <c:v>43620</c:v>
                </c:pt>
                <c:pt idx="111">
                  <c:v>43621</c:v>
                </c:pt>
                <c:pt idx="112">
                  <c:v>43622</c:v>
                </c:pt>
                <c:pt idx="113">
                  <c:v>43623</c:v>
                </c:pt>
                <c:pt idx="114">
                  <c:v>43626</c:v>
                </c:pt>
                <c:pt idx="115">
                  <c:v>43627</c:v>
                </c:pt>
                <c:pt idx="116">
                  <c:v>43628</c:v>
                </c:pt>
                <c:pt idx="117">
                  <c:v>43629</c:v>
                </c:pt>
                <c:pt idx="118">
                  <c:v>43630</c:v>
                </c:pt>
                <c:pt idx="119">
                  <c:v>43633</c:v>
                </c:pt>
                <c:pt idx="120">
                  <c:v>43634</c:v>
                </c:pt>
                <c:pt idx="121">
                  <c:v>43635</c:v>
                </c:pt>
                <c:pt idx="122">
                  <c:v>43636</c:v>
                </c:pt>
                <c:pt idx="123">
                  <c:v>43637</c:v>
                </c:pt>
                <c:pt idx="124">
                  <c:v>43640</c:v>
                </c:pt>
                <c:pt idx="125">
                  <c:v>43641</c:v>
                </c:pt>
                <c:pt idx="126">
                  <c:v>43642</c:v>
                </c:pt>
                <c:pt idx="127">
                  <c:v>43643</c:v>
                </c:pt>
                <c:pt idx="128">
                  <c:v>43644</c:v>
                </c:pt>
                <c:pt idx="129">
                  <c:v>43647</c:v>
                </c:pt>
                <c:pt idx="130">
                  <c:v>43648</c:v>
                </c:pt>
                <c:pt idx="131">
                  <c:v>43649</c:v>
                </c:pt>
                <c:pt idx="132">
                  <c:v>43650</c:v>
                </c:pt>
                <c:pt idx="133">
                  <c:v>43651</c:v>
                </c:pt>
                <c:pt idx="134">
                  <c:v>43654</c:v>
                </c:pt>
                <c:pt idx="135">
                  <c:v>43655</c:v>
                </c:pt>
                <c:pt idx="136">
                  <c:v>43656</c:v>
                </c:pt>
                <c:pt idx="137">
                  <c:v>43657</c:v>
                </c:pt>
                <c:pt idx="138">
                  <c:v>43658</c:v>
                </c:pt>
                <c:pt idx="139">
                  <c:v>43661</c:v>
                </c:pt>
                <c:pt idx="140">
                  <c:v>43662</c:v>
                </c:pt>
                <c:pt idx="141">
                  <c:v>43663</c:v>
                </c:pt>
                <c:pt idx="142">
                  <c:v>43664</c:v>
                </c:pt>
                <c:pt idx="143">
                  <c:v>43665</c:v>
                </c:pt>
                <c:pt idx="144">
                  <c:v>43668</c:v>
                </c:pt>
                <c:pt idx="145">
                  <c:v>43669</c:v>
                </c:pt>
                <c:pt idx="146">
                  <c:v>43670</c:v>
                </c:pt>
                <c:pt idx="147">
                  <c:v>43671</c:v>
                </c:pt>
                <c:pt idx="148">
                  <c:v>43672</c:v>
                </c:pt>
                <c:pt idx="149">
                  <c:v>43675</c:v>
                </c:pt>
                <c:pt idx="150">
                  <c:v>43676</c:v>
                </c:pt>
                <c:pt idx="151">
                  <c:v>43677</c:v>
                </c:pt>
                <c:pt idx="152">
                  <c:v>43678</c:v>
                </c:pt>
                <c:pt idx="153">
                  <c:v>43679</c:v>
                </c:pt>
                <c:pt idx="154">
                  <c:v>43682</c:v>
                </c:pt>
                <c:pt idx="155">
                  <c:v>43683</c:v>
                </c:pt>
                <c:pt idx="156">
                  <c:v>43684</c:v>
                </c:pt>
                <c:pt idx="157">
                  <c:v>43685</c:v>
                </c:pt>
                <c:pt idx="158">
                  <c:v>43686</c:v>
                </c:pt>
                <c:pt idx="159">
                  <c:v>43689</c:v>
                </c:pt>
                <c:pt idx="160">
                  <c:v>43690</c:v>
                </c:pt>
                <c:pt idx="161">
                  <c:v>43691</c:v>
                </c:pt>
                <c:pt idx="162">
                  <c:v>43692</c:v>
                </c:pt>
                <c:pt idx="163">
                  <c:v>43693</c:v>
                </c:pt>
                <c:pt idx="164">
                  <c:v>43696</c:v>
                </c:pt>
                <c:pt idx="165">
                  <c:v>43697</c:v>
                </c:pt>
                <c:pt idx="166">
                  <c:v>43698</c:v>
                </c:pt>
                <c:pt idx="167">
                  <c:v>43699</c:v>
                </c:pt>
                <c:pt idx="168">
                  <c:v>43700</c:v>
                </c:pt>
                <c:pt idx="169">
                  <c:v>43703</c:v>
                </c:pt>
                <c:pt idx="170">
                  <c:v>43704</c:v>
                </c:pt>
                <c:pt idx="171">
                  <c:v>43705</c:v>
                </c:pt>
                <c:pt idx="172">
                  <c:v>43706</c:v>
                </c:pt>
                <c:pt idx="173">
                  <c:v>43707</c:v>
                </c:pt>
                <c:pt idx="174">
                  <c:v>43710</c:v>
                </c:pt>
                <c:pt idx="175">
                  <c:v>43711</c:v>
                </c:pt>
                <c:pt idx="176">
                  <c:v>43712</c:v>
                </c:pt>
                <c:pt idx="177">
                  <c:v>43713</c:v>
                </c:pt>
                <c:pt idx="178">
                  <c:v>43714</c:v>
                </c:pt>
                <c:pt idx="179">
                  <c:v>43717</c:v>
                </c:pt>
                <c:pt idx="180">
                  <c:v>43718</c:v>
                </c:pt>
                <c:pt idx="181">
                  <c:v>43719</c:v>
                </c:pt>
                <c:pt idx="182">
                  <c:v>43720</c:v>
                </c:pt>
                <c:pt idx="183">
                  <c:v>43721</c:v>
                </c:pt>
                <c:pt idx="184">
                  <c:v>43724</c:v>
                </c:pt>
                <c:pt idx="185">
                  <c:v>43725</c:v>
                </c:pt>
                <c:pt idx="186">
                  <c:v>43726</c:v>
                </c:pt>
                <c:pt idx="187">
                  <c:v>43727</c:v>
                </c:pt>
                <c:pt idx="188">
                  <c:v>43728</c:v>
                </c:pt>
                <c:pt idx="189">
                  <c:v>43731</c:v>
                </c:pt>
                <c:pt idx="190">
                  <c:v>43732</c:v>
                </c:pt>
                <c:pt idx="191">
                  <c:v>43733</c:v>
                </c:pt>
                <c:pt idx="192">
                  <c:v>43734</c:v>
                </c:pt>
                <c:pt idx="193">
                  <c:v>43735</c:v>
                </c:pt>
                <c:pt idx="194">
                  <c:v>43738</c:v>
                </c:pt>
                <c:pt idx="195">
                  <c:v>43739</c:v>
                </c:pt>
                <c:pt idx="196">
                  <c:v>43740</c:v>
                </c:pt>
                <c:pt idx="197">
                  <c:v>43741</c:v>
                </c:pt>
                <c:pt idx="198">
                  <c:v>43742</c:v>
                </c:pt>
                <c:pt idx="199">
                  <c:v>43745</c:v>
                </c:pt>
                <c:pt idx="200">
                  <c:v>43746</c:v>
                </c:pt>
                <c:pt idx="201">
                  <c:v>43747</c:v>
                </c:pt>
                <c:pt idx="202">
                  <c:v>43748</c:v>
                </c:pt>
                <c:pt idx="203">
                  <c:v>43749</c:v>
                </c:pt>
                <c:pt idx="204">
                  <c:v>43752</c:v>
                </c:pt>
                <c:pt idx="205">
                  <c:v>43753</c:v>
                </c:pt>
                <c:pt idx="206">
                  <c:v>43754</c:v>
                </c:pt>
                <c:pt idx="207">
                  <c:v>43755</c:v>
                </c:pt>
                <c:pt idx="208">
                  <c:v>43756</c:v>
                </c:pt>
                <c:pt idx="209">
                  <c:v>43759</c:v>
                </c:pt>
                <c:pt idx="210">
                  <c:v>43760</c:v>
                </c:pt>
                <c:pt idx="211">
                  <c:v>43761</c:v>
                </c:pt>
                <c:pt idx="212">
                  <c:v>43762</c:v>
                </c:pt>
                <c:pt idx="213">
                  <c:v>43763</c:v>
                </c:pt>
                <c:pt idx="214">
                  <c:v>43766</c:v>
                </c:pt>
                <c:pt idx="215">
                  <c:v>43767</c:v>
                </c:pt>
                <c:pt idx="216">
                  <c:v>43768</c:v>
                </c:pt>
                <c:pt idx="217">
                  <c:v>43769</c:v>
                </c:pt>
                <c:pt idx="218">
                  <c:v>43770</c:v>
                </c:pt>
                <c:pt idx="219">
                  <c:v>43773</c:v>
                </c:pt>
                <c:pt idx="220">
                  <c:v>43774</c:v>
                </c:pt>
                <c:pt idx="221">
                  <c:v>43775</c:v>
                </c:pt>
                <c:pt idx="222">
                  <c:v>43776</c:v>
                </c:pt>
                <c:pt idx="223">
                  <c:v>43777</c:v>
                </c:pt>
                <c:pt idx="224">
                  <c:v>43780</c:v>
                </c:pt>
                <c:pt idx="225">
                  <c:v>43781</c:v>
                </c:pt>
                <c:pt idx="226">
                  <c:v>43782</c:v>
                </c:pt>
                <c:pt idx="227">
                  <c:v>43783</c:v>
                </c:pt>
                <c:pt idx="228">
                  <c:v>43784</c:v>
                </c:pt>
                <c:pt idx="229">
                  <c:v>43787</c:v>
                </c:pt>
                <c:pt idx="230">
                  <c:v>43788</c:v>
                </c:pt>
                <c:pt idx="231">
                  <c:v>43789</c:v>
                </c:pt>
                <c:pt idx="232">
                  <c:v>43790</c:v>
                </c:pt>
                <c:pt idx="233">
                  <c:v>43791</c:v>
                </c:pt>
                <c:pt idx="234">
                  <c:v>43794</c:v>
                </c:pt>
                <c:pt idx="235">
                  <c:v>43795</c:v>
                </c:pt>
                <c:pt idx="236">
                  <c:v>43796</c:v>
                </c:pt>
                <c:pt idx="237">
                  <c:v>43797</c:v>
                </c:pt>
                <c:pt idx="238">
                  <c:v>43798</c:v>
                </c:pt>
                <c:pt idx="239">
                  <c:v>43801</c:v>
                </c:pt>
                <c:pt idx="240">
                  <c:v>43802</c:v>
                </c:pt>
                <c:pt idx="241">
                  <c:v>43803</c:v>
                </c:pt>
                <c:pt idx="242">
                  <c:v>43804</c:v>
                </c:pt>
                <c:pt idx="243">
                  <c:v>43805</c:v>
                </c:pt>
                <c:pt idx="244">
                  <c:v>43808</c:v>
                </c:pt>
                <c:pt idx="245">
                  <c:v>43809</c:v>
                </c:pt>
                <c:pt idx="246">
                  <c:v>43810</c:v>
                </c:pt>
                <c:pt idx="247">
                  <c:v>43811</c:v>
                </c:pt>
                <c:pt idx="248">
                  <c:v>43812</c:v>
                </c:pt>
                <c:pt idx="249">
                  <c:v>43815</c:v>
                </c:pt>
                <c:pt idx="250">
                  <c:v>43816</c:v>
                </c:pt>
                <c:pt idx="251">
                  <c:v>43817</c:v>
                </c:pt>
                <c:pt idx="252">
                  <c:v>43818</c:v>
                </c:pt>
                <c:pt idx="253">
                  <c:v>43819</c:v>
                </c:pt>
                <c:pt idx="254">
                  <c:v>43822</c:v>
                </c:pt>
                <c:pt idx="255">
                  <c:v>43823</c:v>
                </c:pt>
                <c:pt idx="256">
                  <c:v>43824</c:v>
                </c:pt>
                <c:pt idx="257">
                  <c:v>43825</c:v>
                </c:pt>
                <c:pt idx="258">
                  <c:v>43826</c:v>
                </c:pt>
                <c:pt idx="259">
                  <c:v>43829</c:v>
                </c:pt>
                <c:pt idx="260">
                  <c:v>43830</c:v>
                </c:pt>
                <c:pt idx="261">
                  <c:v>43831</c:v>
                </c:pt>
                <c:pt idx="262">
                  <c:v>43832</c:v>
                </c:pt>
                <c:pt idx="263">
                  <c:v>43833</c:v>
                </c:pt>
                <c:pt idx="264">
                  <c:v>43836</c:v>
                </c:pt>
                <c:pt idx="265">
                  <c:v>43837</c:v>
                </c:pt>
                <c:pt idx="266">
                  <c:v>43838</c:v>
                </c:pt>
                <c:pt idx="267">
                  <c:v>43839</c:v>
                </c:pt>
                <c:pt idx="268">
                  <c:v>43840</c:v>
                </c:pt>
                <c:pt idx="269">
                  <c:v>43843</c:v>
                </c:pt>
                <c:pt idx="270">
                  <c:v>43844</c:v>
                </c:pt>
                <c:pt idx="271">
                  <c:v>43845</c:v>
                </c:pt>
                <c:pt idx="272">
                  <c:v>43846</c:v>
                </c:pt>
                <c:pt idx="273">
                  <c:v>43847</c:v>
                </c:pt>
                <c:pt idx="274">
                  <c:v>43850</c:v>
                </c:pt>
                <c:pt idx="275">
                  <c:v>43851</c:v>
                </c:pt>
                <c:pt idx="276">
                  <c:v>43852</c:v>
                </c:pt>
                <c:pt idx="277">
                  <c:v>43853</c:v>
                </c:pt>
                <c:pt idx="278">
                  <c:v>43854</c:v>
                </c:pt>
                <c:pt idx="279">
                  <c:v>43857</c:v>
                </c:pt>
                <c:pt idx="280">
                  <c:v>43858</c:v>
                </c:pt>
                <c:pt idx="281">
                  <c:v>43859</c:v>
                </c:pt>
                <c:pt idx="282">
                  <c:v>43860</c:v>
                </c:pt>
                <c:pt idx="283">
                  <c:v>43861</c:v>
                </c:pt>
                <c:pt idx="284">
                  <c:v>43864</c:v>
                </c:pt>
                <c:pt idx="285">
                  <c:v>43865</c:v>
                </c:pt>
                <c:pt idx="286">
                  <c:v>43866</c:v>
                </c:pt>
                <c:pt idx="287">
                  <c:v>43867</c:v>
                </c:pt>
                <c:pt idx="288">
                  <c:v>43868</c:v>
                </c:pt>
                <c:pt idx="289">
                  <c:v>43871</c:v>
                </c:pt>
                <c:pt idx="290">
                  <c:v>43872</c:v>
                </c:pt>
                <c:pt idx="291">
                  <c:v>43873</c:v>
                </c:pt>
                <c:pt idx="292">
                  <c:v>43874</c:v>
                </c:pt>
                <c:pt idx="293">
                  <c:v>43875</c:v>
                </c:pt>
                <c:pt idx="294">
                  <c:v>43878</c:v>
                </c:pt>
                <c:pt idx="295">
                  <c:v>43879</c:v>
                </c:pt>
                <c:pt idx="296">
                  <c:v>43880</c:v>
                </c:pt>
                <c:pt idx="297">
                  <c:v>43881</c:v>
                </c:pt>
                <c:pt idx="298">
                  <c:v>43882</c:v>
                </c:pt>
                <c:pt idx="299">
                  <c:v>43885</c:v>
                </c:pt>
                <c:pt idx="300">
                  <c:v>43886</c:v>
                </c:pt>
                <c:pt idx="301">
                  <c:v>43887</c:v>
                </c:pt>
                <c:pt idx="302">
                  <c:v>43888</c:v>
                </c:pt>
                <c:pt idx="303">
                  <c:v>43889</c:v>
                </c:pt>
                <c:pt idx="304">
                  <c:v>43892</c:v>
                </c:pt>
                <c:pt idx="305">
                  <c:v>43893</c:v>
                </c:pt>
                <c:pt idx="306">
                  <c:v>43894</c:v>
                </c:pt>
                <c:pt idx="307">
                  <c:v>43895</c:v>
                </c:pt>
                <c:pt idx="308">
                  <c:v>43896</c:v>
                </c:pt>
                <c:pt idx="309">
                  <c:v>43899</c:v>
                </c:pt>
                <c:pt idx="310">
                  <c:v>43900</c:v>
                </c:pt>
                <c:pt idx="311">
                  <c:v>43901</c:v>
                </c:pt>
                <c:pt idx="312">
                  <c:v>43902</c:v>
                </c:pt>
                <c:pt idx="313">
                  <c:v>43903</c:v>
                </c:pt>
                <c:pt idx="314">
                  <c:v>43906</c:v>
                </c:pt>
                <c:pt idx="315">
                  <c:v>43907</c:v>
                </c:pt>
                <c:pt idx="316">
                  <c:v>43908</c:v>
                </c:pt>
                <c:pt idx="317">
                  <c:v>43909</c:v>
                </c:pt>
                <c:pt idx="318">
                  <c:v>43910</c:v>
                </c:pt>
                <c:pt idx="319">
                  <c:v>43913</c:v>
                </c:pt>
                <c:pt idx="320">
                  <c:v>43914</c:v>
                </c:pt>
                <c:pt idx="321">
                  <c:v>43915</c:v>
                </c:pt>
                <c:pt idx="322">
                  <c:v>43916</c:v>
                </c:pt>
                <c:pt idx="323">
                  <c:v>43917</c:v>
                </c:pt>
                <c:pt idx="324">
                  <c:v>43920</c:v>
                </c:pt>
                <c:pt idx="325">
                  <c:v>43921</c:v>
                </c:pt>
                <c:pt idx="326">
                  <c:v>43922</c:v>
                </c:pt>
                <c:pt idx="327">
                  <c:v>43923</c:v>
                </c:pt>
                <c:pt idx="328">
                  <c:v>43924</c:v>
                </c:pt>
                <c:pt idx="329">
                  <c:v>43927</c:v>
                </c:pt>
                <c:pt idx="330">
                  <c:v>43928</c:v>
                </c:pt>
                <c:pt idx="331">
                  <c:v>43929</c:v>
                </c:pt>
                <c:pt idx="332">
                  <c:v>43930</c:v>
                </c:pt>
                <c:pt idx="333">
                  <c:v>43931</c:v>
                </c:pt>
                <c:pt idx="334">
                  <c:v>43934</c:v>
                </c:pt>
                <c:pt idx="335">
                  <c:v>43935</c:v>
                </c:pt>
                <c:pt idx="336">
                  <c:v>43936</c:v>
                </c:pt>
                <c:pt idx="337">
                  <c:v>43937</c:v>
                </c:pt>
                <c:pt idx="338">
                  <c:v>43938</c:v>
                </c:pt>
                <c:pt idx="339">
                  <c:v>43941</c:v>
                </c:pt>
                <c:pt idx="340">
                  <c:v>43942</c:v>
                </c:pt>
                <c:pt idx="341">
                  <c:v>43943</c:v>
                </c:pt>
                <c:pt idx="342">
                  <c:v>43944</c:v>
                </c:pt>
                <c:pt idx="343">
                  <c:v>43945</c:v>
                </c:pt>
                <c:pt idx="344">
                  <c:v>43948</c:v>
                </c:pt>
                <c:pt idx="345">
                  <c:v>43949</c:v>
                </c:pt>
                <c:pt idx="346">
                  <c:v>43950</c:v>
                </c:pt>
                <c:pt idx="347">
                  <c:v>43951</c:v>
                </c:pt>
                <c:pt idx="348">
                  <c:v>43952</c:v>
                </c:pt>
                <c:pt idx="349">
                  <c:v>43955</c:v>
                </c:pt>
                <c:pt idx="350">
                  <c:v>43956</c:v>
                </c:pt>
                <c:pt idx="351">
                  <c:v>43957</c:v>
                </c:pt>
                <c:pt idx="352">
                  <c:v>43958</c:v>
                </c:pt>
                <c:pt idx="353">
                  <c:v>43959</c:v>
                </c:pt>
                <c:pt idx="354">
                  <c:v>43962</c:v>
                </c:pt>
                <c:pt idx="355">
                  <c:v>43963</c:v>
                </c:pt>
                <c:pt idx="356">
                  <c:v>43964</c:v>
                </c:pt>
                <c:pt idx="357">
                  <c:v>43965</c:v>
                </c:pt>
                <c:pt idx="358">
                  <c:v>43966</c:v>
                </c:pt>
                <c:pt idx="359">
                  <c:v>43969</c:v>
                </c:pt>
                <c:pt idx="360">
                  <c:v>43970</c:v>
                </c:pt>
                <c:pt idx="361">
                  <c:v>43971</c:v>
                </c:pt>
                <c:pt idx="362">
                  <c:v>43972</c:v>
                </c:pt>
                <c:pt idx="363">
                  <c:v>43973</c:v>
                </c:pt>
                <c:pt idx="364">
                  <c:v>43976</c:v>
                </c:pt>
                <c:pt idx="365">
                  <c:v>43977</c:v>
                </c:pt>
                <c:pt idx="366">
                  <c:v>43978</c:v>
                </c:pt>
                <c:pt idx="367">
                  <c:v>43979</c:v>
                </c:pt>
                <c:pt idx="368">
                  <c:v>43980</c:v>
                </c:pt>
                <c:pt idx="369">
                  <c:v>43983</c:v>
                </c:pt>
                <c:pt idx="370">
                  <c:v>43984</c:v>
                </c:pt>
                <c:pt idx="371">
                  <c:v>43985</c:v>
                </c:pt>
                <c:pt idx="372">
                  <c:v>43986</c:v>
                </c:pt>
                <c:pt idx="373">
                  <c:v>43987</c:v>
                </c:pt>
                <c:pt idx="374">
                  <c:v>43990</c:v>
                </c:pt>
                <c:pt idx="375">
                  <c:v>43991</c:v>
                </c:pt>
                <c:pt idx="376">
                  <c:v>43992</c:v>
                </c:pt>
                <c:pt idx="377">
                  <c:v>43993</c:v>
                </c:pt>
                <c:pt idx="378">
                  <c:v>43994</c:v>
                </c:pt>
                <c:pt idx="379">
                  <c:v>43997</c:v>
                </c:pt>
                <c:pt idx="380">
                  <c:v>43998</c:v>
                </c:pt>
                <c:pt idx="381">
                  <c:v>43999</c:v>
                </c:pt>
                <c:pt idx="382">
                  <c:v>44000</c:v>
                </c:pt>
                <c:pt idx="383">
                  <c:v>44001</c:v>
                </c:pt>
                <c:pt idx="384">
                  <c:v>44004</c:v>
                </c:pt>
                <c:pt idx="385">
                  <c:v>44005</c:v>
                </c:pt>
                <c:pt idx="386">
                  <c:v>44006</c:v>
                </c:pt>
                <c:pt idx="387">
                  <c:v>44007</c:v>
                </c:pt>
                <c:pt idx="388">
                  <c:v>44008</c:v>
                </c:pt>
                <c:pt idx="389">
                  <c:v>44011</c:v>
                </c:pt>
                <c:pt idx="390">
                  <c:v>44012</c:v>
                </c:pt>
                <c:pt idx="391">
                  <c:v>44013</c:v>
                </c:pt>
                <c:pt idx="392">
                  <c:v>44014</c:v>
                </c:pt>
                <c:pt idx="393">
                  <c:v>44015</c:v>
                </c:pt>
                <c:pt idx="394">
                  <c:v>44018</c:v>
                </c:pt>
                <c:pt idx="395">
                  <c:v>44019</c:v>
                </c:pt>
                <c:pt idx="396">
                  <c:v>44020</c:v>
                </c:pt>
                <c:pt idx="397">
                  <c:v>44021</c:v>
                </c:pt>
                <c:pt idx="398">
                  <c:v>44022</c:v>
                </c:pt>
                <c:pt idx="399">
                  <c:v>44025</c:v>
                </c:pt>
                <c:pt idx="400">
                  <c:v>44026</c:v>
                </c:pt>
                <c:pt idx="401">
                  <c:v>44027</c:v>
                </c:pt>
                <c:pt idx="402">
                  <c:v>44028</c:v>
                </c:pt>
                <c:pt idx="403">
                  <c:v>44029</c:v>
                </c:pt>
                <c:pt idx="404">
                  <c:v>44032</c:v>
                </c:pt>
                <c:pt idx="405">
                  <c:v>44033</c:v>
                </c:pt>
                <c:pt idx="406">
                  <c:v>44034</c:v>
                </c:pt>
                <c:pt idx="407">
                  <c:v>44035</c:v>
                </c:pt>
                <c:pt idx="408">
                  <c:v>44036</c:v>
                </c:pt>
                <c:pt idx="409">
                  <c:v>44039</c:v>
                </c:pt>
                <c:pt idx="410">
                  <c:v>44040</c:v>
                </c:pt>
                <c:pt idx="411">
                  <c:v>44041</c:v>
                </c:pt>
                <c:pt idx="412">
                  <c:v>44042</c:v>
                </c:pt>
                <c:pt idx="413">
                  <c:v>44043</c:v>
                </c:pt>
                <c:pt idx="414">
                  <c:v>44046</c:v>
                </c:pt>
                <c:pt idx="415">
                  <c:v>44047</c:v>
                </c:pt>
                <c:pt idx="416">
                  <c:v>44048</c:v>
                </c:pt>
                <c:pt idx="417">
                  <c:v>44049</c:v>
                </c:pt>
                <c:pt idx="418">
                  <c:v>44050</c:v>
                </c:pt>
                <c:pt idx="419">
                  <c:v>44053</c:v>
                </c:pt>
                <c:pt idx="420">
                  <c:v>44054</c:v>
                </c:pt>
                <c:pt idx="421">
                  <c:v>44055</c:v>
                </c:pt>
                <c:pt idx="422">
                  <c:v>44056</c:v>
                </c:pt>
                <c:pt idx="423">
                  <c:v>44057</c:v>
                </c:pt>
                <c:pt idx="424">
                  <c:v>44060</c:v>
                </c:pt>
                <c:pt idx="425">
                  <c:v>44061</c:v>
                </c:pt>
                <c:pt idx="426">
                  <c:v>44062</c:v>
                </c:pt>
                <c:pt idx="427">
                  <c:v>44063</c:v>
                </c:pt>
                <c:pt idx="428">
                  <c:v>44064</c:v>
                </c:pt>
                <c:pt idx="429">
                  <c:v>44067</c:v>
                </c:pt>
                <c:pt idx="430">
                  <c:v>44068</c:v>
                </c:pt>
                <c:pt idx="431">
                  <c:v>44069</c:v>
                </c:pt>
                <c:pt idx="432">
                  <c:v>44070</c:v>
                </c:pt>
                <c:pt idx="433">
                  <c:v>44071</c:v>
                </c:pt>
                <c:pt idx="434">
                  <c:v>44074</c:v>
                </c:pt>
                <c:pt idx="435">
                  <c:v>44075</c:v>
                </c:pt>
                <c:pt idx="436">
                  <c:v>44076</c:v>
                </c:pt>
                <c:pt idx="437">
                  <c:v>44077</c:v>
                </c:pt>
                <c:pt idx="438">
                  <c:v>44078</c:v>
                </c:pt>
                <c:pt idx="439">
                  <c:v>44081</c:v>
                </c:pt>
                <c:pt idx="440">
                  <c:v>44082</c:v>
                </c:pt>
                <c:pt idx="441">
                  <c:v>44083</c:v>
                </c:pt>
                <c:pt idx="442">
                  <c:v>44084</c:v>
                </c:pt>
                <c:pt idx="443">
                  <c:v>44085</c:v>
                </c:pt>
                <c:pt idx="444">
                  <c:v>44088</c:v>
                </c:pt>
                <c:pt idx="445">
                  <c:v>44089</c:v>
                </c:pt>
                <c:pt idx="446">
                  <c:v>44090</c:v>
                </c:pt>
                <c:pt idx="447">
                  <c:v>44091</c:v>
                </c:pt>
                <c:pt idx="448">
                  <c:v>44092</c:v>
                </c:pt>
                <c:pt idx="449">
                  <c:v>44095</c:v>
                </c:pt>
                <c:pt idx="450">
                  <c:v>44096</c:v>
                </c:pt>
                <c:pt idx="451">
                  <c:v>44097</c:v>
                </c:pt>
                <c:pt idx="452">
                  <c:v>44098</c:v>
                </c:pt>
                <c:pt idx="453">
                  <c:v>44099</c:v>
                </c:pt>
                <c:pt idx="454">
                  <c:v>44102</c:v>
                </c:pt>
                <c:pt idx="455">
                  <c:v>44103</c:v>
                </c:pt>
                <c:pt idx="456">
                  <c:v>44104</c:v>
                </c:pt>
                <c:pt idx="457">
                  <c:v>44105</c:v>
                </c:pt>
                <c:pt idx="458">
                  <c:v>44106</c:v>
                </c:pt>
                <c:pt idx="459">
                  <c:v>44109</c:v>
                </c:pt>
                <c:pt idx="460">
                  <c:v>44110</c:v>
                </c:pt>
                <c:pt idx="461">
                  <c:v>44111</c:v>
                </c:pt>
                <c:pt idx="462">
                  <c:v>44112</c:v>
                </c:pt>
                <c:pt idx="463">
                  <c:v>44113</c:v>
                </c:pt>
                <c:pt idx="464">
                  <c:v>44116</c:v>
                </c:pt>
                <c:pt idx="465">
                  <c:v>44117</c:v>
                </c:pt>
                <c:pt idx="466">
                  <c:v>44118</c:v>
                </c:pt>
                <c:pt idx="467">
                  <c:v>44119</c:v>
                </c:pt>
                <c:pt idx="468">
                  <c:v>44120</c:v>
                </c:pt>
                <c:pt idx="469">
                  <c:v>44123</c:v>
                </c:pt>
                <c:pt idx="470">
                  <c:v>44124</c:v>
                </c:pt>
                <c:pt idx="471">
                  <c:v>44125</c:v>
                </c:pt>
                <c:pt idx="472">
                  <c:v>44126</c:v>
                </c:pt>
                <c:pt idx="473">
                  <c:v>44127</c:v>
                </c:pt>
                <c:pt idx="474">
                  <c:v>44130</c:v>
                </c:pt>
                <c:pt idx="475">
                  <c:v>44131</c:v>
                </c:pt>
                <c:pt idx="476">
                  <c:v>44132</c:v>
                </c:pt>
                <c:pt idx="477">
                  <c:v>44133</c:v>
                </c:pt>
                <c:pt idx="478">
                  <c:v>44134</c:v>
                </c:pt>
                <c:pt idx="479">
                  <c:v>44137</c:v>
                </c:pt>
                <c:pt idx="480">
                  <c:v>44138</c:v>
                </c:pt>
                <c:pt idx="481">
                  <c:v>44139</c:v>
                </c:pt>
                <c:pt idx="482">
                  <c:v>44140</c:v>
                </c:pt>
                <c:pt idx="483">
                  <c:v>44141</c:v>
                </c:pt>
                <c:pt idx="484">
                  <c:v>44144</c:v>
                </c:pt>
                <c:pt idx="485">
                  <c:v>44145</c:v>
                </c:pt>
                <c:pt idx="486">
                  <c:v>44146</c:v>
                </c:pt>
                <c:pt idx="487">
                  <c:v>44147</c:v>
                </c:pt>
                <c:pt idx="488">
                  <c:v>44148</c:v>
                </c:pt>
                <c:pt idx="489">
                  <c:v>44151</c:v>
                </c:pt>
                <c:pt idx="490">
                  <c:v>44152</c:v>
                </c:pt>
                <c:pt idx="491">
                  <c:v>44153</c:v>
                </c:pt>
                <c:pt idx="492">
                  <c:v>44154</c:v>
                </c:pt>
                <c:pt idx="493">
                  <c:v>44155</c:v>
                </c:pt>
                <c:pt idx="494">
                  <c:v>44158</c:v>
                </c:pt>
                <c:pt idx="495">
                  <c:v>44159</c:v>
                </c:pt>
                <c:pt idx="496">
                  <c:v>44160</c:v>
                </c:pt>
                <c:pt idx="497">
                  <c:v>44161</c:v>
                </c:pt>
                <c:pt idx="498">
                  <c:v>44162</c:v>
                </c:pt>
                <c:pt idx="499">
                  <c:v>44165</c:v>
                </c:pt>
                <c:pt idx="500">
                  <c:v>44166</c:v>
                </c:pt>
                <c:pt idx="501">
                  <c:v>44167</c:v>
                </c:pt>
                <c:pt idx="502">
                  <c:v>44168</c:v>
                </c:pt>
                <c:pt idx="503">
                  <c:v>44169</c:v>
                </c:pt>
                <c:pt idx="504">
                  <c:v>44172</c:v>
                </c:pt>
                <c:pt idx="505">
                  <c:v>44173</c:v>
                </c:pt>
                <c:pt idx="506">
                  <c:v>44174</c:v>
                </c:pt>
                <c:pt idx="507">
                  <c:v>44175</c:v>
                </c:pt>
                <c:pt idx="508">
                  <c:v>44176</c:v>
                </c:pt>
                <c:pt idx="509">
                  <c:v>44179</c:v>
                </c:pt>
                <c:pt idx="510">
                  <c:v>44180</c:v>
                </c:pt>
                <c:pt idx="511">
                  <c:v>44181</c:v>
                </c:pt>
                <c:pt idx="512">
                  <c:v>44182</c:v>
                </c:pt>
                <c:pt idx="513">
                  <c:v>44183</c:v>
                </c:pt>
                <c:pt idx="514">
                  <c:v>44186</c:v>
                </c:pt>
                <c:pt idx="515">
                  <c:v>44187</c:v>
                </c:pt>
                <c:pt idx="516">
                  <c:v>44188</c:v>
                </c:pt>
                <c:pt idx="517">
                  <c:v>44189</c:v>
                </c:pt>
                <c:pt idx="518">
                  <c:v>44190</c:v>
                </c:pt>
                <c:pt idx="519">
                  <c:v>44193</c:v>
                </c:pt>
                <c:pt idx="520">
                  <c:v>44194</c:v>
                </c:pt>
                <c:pt idx="521">
                  <c:v>44195</c:v>
                </c:pt>
                <c:pt idx="522">
                  <c:v>44196</c:v>
                </c:pt>
                <c:pt idx="523">
                  <c:v>44197</c:v>
                </c:pt>
                <c:pt idx="524">
                  <c:v>44200</c:v>
                </c:pt>
                <c:pt idx="525">
                  <c:v>44201</c:v>
                </c:pt>
                <c:pt idx="526">
                  <c:v>44202</c:v>
                </c:pt>
                <c:pt idx="527">
                  <c:v>44203</c:v>
                </c:pt>
                <c:pt idx="528">
                  <c:v>44204</c:v>
                </c:pt>
                <c:pt idx="529">
                  <c:v>44207</c:v>
                </c:pt>
                <c:pt idx="530">
                  <c:v>44208</c:v>
                </c:pt>
                <c:pt idx="531">
                  <c:v>44209</c:v>
                </c:pt>
                <c:pt idx="532">
                  <c:v>44210</c:v>
                </c:pt>
                <c:pt idx="533">
                  <c:v>44211</c:v>
                </c:pt>
                <c:pt idx="534">
                  <c:v>44214</c:v>
                </c:pt>
                <c:pt idx="535">
                  <c:v>44215</c:v>
                </c:pt>
                <c:pt idx="536">
                  <c:v>44216</c:v>
                </c:pt>
                <c:pt idx="537">
                  <c:v>44217</c:v>
                </c:pt>
                <c:pt idx="538">
                  <c:v>44218</c:v>
                </c:pt>
                <c:pt idx="539">
                  <c:v>44221</c:v>
                </c:pt>
                <c:pt idx="540">
                  <c:v>44222</c:v>
                </c:pt>
                <c:pt idx="541">
                  <c:v>44223</c:v>
                </c:pt>
                <c:pt idx="542">
                  <c:v>44224</c:v>
                </c:pt>
                <c:pt idx="543">
                  <c:v>44225</c:v>
                </c:pt>
                <c:pt idx="544">
                  <c:v>44228</c:v>
                </c:pt>
                <c:pt idx="545">
                  <c:v>44229</c:v>
                </c:pt>
                <c:pt idx="546">
                  <c:v>44230</c:v>
                </c:pt>
                <c:pt idx="547">
                  <c:v>44231</c:v>
                </c:pt>
                <c:pt idx="548">
                  <c:v>44232</c:v>
                </c:pt>
                <c:pt idx="549">
                  <c:v>44235</c:v>
                </c:pt>
                <c:pt idx="550">
                  <c:v>44236</c:v>
                </c:pt>
                <c:pt idx="551">
                  <c:v>44237</c:v>
                </c:pt>
                <c:pt idx="552">
                  <c:v>44238</c:v>
                </c:pt>
                <c:pt idx="553">
                  <c:v>44239</c:v>
                </c:pt>
                <c:pt idx="554">
                  <c:v>44242</c:v>
                </c:pt>
                <c:pt idx="555">
                  <c:v>44243</c:v>
                </c:pt>
                <c:pt idx="556">
                  <c:v>44244</c:v>
                </c:pt>
                <c:pt idx="557">
                  <c:v>44245</c:v>
                </c:pt>
                <c:pt idx="558">
                  <c:v>44246</c:v>
                </c:pt>
                <c:pt idx="559">
                  <c:v>44249</c:v>
                </c:pt>
                <c:pt idx="560">
                  <c:v>44250</c:v>
                </c:pt>
                <c:pt idx="561">
                  <c:v>44251</c:v>
                </c:pt>
                <c:pt idx="562">
                  <c:v>44252</c:v>
                </c:pt>
                <c:pt idx="563">
                  <c:v>44253</c:v>
                </c:pt>
                <c:pt idx="564">
                  <c:v>44256</c:v>
                </c:pt>
                <c:pt idx="565">
                  <c:v>44257</c:v>
                </c:pt>
                <c:pt idx="566">
                  <c:v>44258</c:v>
                </c:pt>
                <c:pt idx="567">
                  <c:v>44259</c:v>
                </c:pt>
                <c:pt idx="568">
                  <c:v>44260</c:v>
                </c:pt>
                <c:pt idx="569">
                  <c:v>44263</c:v>
                </c:pt>
                <c:pt idx="570">
                  <c:v>44264</c:v>
                </c:pt>
                <c:pt idx="571">
                  <c:v>44265</c:v>
                </c:pt>
                <c:pt idx="572">
                  <c:v>44266</c:v>
                </c:pt>
                <c:pt idx="573">
                  <c:v>44267</c:v>
                </c:pt>
                <c:pt idx="574">
                  <c:v>44270</c:v>
                </c:pt>
                <c:pt idx="575">
                  <c:v>44271</c:v>
                </c:pt>
                <c:pt idx="576">
                  <c:v>44272</c:v>
                </c:pt>
                <c:pt idx="577">
                  <c:v>44273</c:v>
                </c:pt>
                <c:pt idx="578">
                  <c:v>44274</c:v>
                </c:pt>
                <c:pt idx="579">
                  <c:v>44277</c:v>
                </c:pt>
                <c:pt idx="580">
                  <c:v>44278</c:v>
                </c:pt>
                <c:pt idx="581">
                  <c:v>44279</c:v>
                </c:pt>
                <c:pt idx="582">
                  <c:v>44280</c:v>
                </c:pt>
                <c:pt idx="583">
                  <c:v>44281</c:v>
                </c:pt>
                <c:pt idx="584">
                  <c:v>44284</c:v>
                </c:pt>
                <c:pt idx="585">
                  <c:v>44285</c:v>
                </c:pt>
                <c:pt idx="586">
                  <c:v>44286</c:v>
                </c:pt>
                <c:pt idx="587">
                  <c:v>44287</c:v>
                </c:pt>
                <c:pt idx="588">
                  <c:v>44288</c:v>
                </c:pt>
                <c:pt idx="589">
                  <c:v>44291</c:v>
                </c:pt>
                <c:pt idx="590">
                  <c:v>44292</c:v>
                </c:pt>
                <c:pt idx="591">
                  <c:v>44293</c:v>
                </c:pt>
                <c:pt idx="592">
                  <c:v>44294</c:v>
                </c:pt>
                <c:pt idx="593">
                  <c:v>44295</c:v>
                </c:pt>
                <c:pt idx="594">
                  <c:v>44298</c:v>
                </c:pt>
                <c:pt idx="595">
                  <c:v>44299</c:v>
                </c:pt>
                <c:pt idx="596">
                  <c:v>44300</c:v>
                </c:pt>
                <c:pt idx="597">
                  <c:v>44301</c:v>
                </c:pt>
                <c:pt idx="598">
                  <c:v>44302</c:v>
                </c:pt>
                <c:pt idx="599">
                  <c:v>44305</c:v>
                </c:pt>
                <c:pt idx="600">
                  <c:v>44306</c:v>
                </c:pt>
                <c:pt idx="601">
                  <c:v>44307</c:v>
                </c:pt>
                <c:pt idx="602">
                  <c:v>44308</c:v>
                </c:pt>
                <c:pt idx="603">
                  <c:v>44309</c:v>
                </c:pt>
                <c:pt idx="604">
                  <c:v>44312</c:v>
                </c:pt>
                <c:pt idx="605">
                  <c:v>44313</c:v>
                </c:pt>
                <c:pt idx="606">
                  <c:v>44314</c:v>
                </c:pt>
                <c:pt idx="607">
                  <c:v>44315</c:v>
                </c:pt>
                <c:pt idx="608">
                  <c:v>44316</c:v>
                </c:pt>
                <c:pt idx="609">
                  <c:v>44319</c:v>
                </c:pt>
                <c:pt idx="610">
                  <c:v>44320</c:v>
                </c:pt>
                <c:pt idx="611">
                  <c:v>44321</c:v>
                </c:pt>
                <c:pt idx="612">
                  <c:v>44322</c:v>
                </c:pt>
                <c:pt idx="613">
                  <c:v>44323</c:v>
                </c:pt>
                <c:pt idx="614">
                  <c:v>44326</c:v>
                </c:pt>
                <c:pt idx="615">
                  <c:v>44327</c:v>
                </c:pt>
                <c:pt idx="616">
                  <c:v>44328</c:v>
                </c:pt>
                <c:pt idx="617">
                  <c:v>44329</c:v>
                </c:pt>
                <c:pt idx="618">
                  <c:v>44330</c:v>
                </c:pt>
                <c:pt idx="619">
                  <c:v>44333</c:v>
                </c:pt>
                <c:pt idx="620">
                  <c:v>44334</c:v>
                </c:pt>
                <c:pt idx="621">
                  <c:v>44335</c:v>
                </c:pt>
                <c:pt idx="622">
                  <c:v>44336</c:v>
                </c:pt>
                <c:pt idx="623">
                  <c:v>44337</c:v>
                </c:pt>
                <c:pt idx="624">
                  <c:v>44340</c:v>
                </c:pt>
                <c:pt idx="625">
                  <c:v>44341</c:v>
                </c:pt>
                <c:pt idx="626">
                  <c:v>44342</c:v>
                </c:pt>
                <c:pt idx="627">
                  <c:v>44343</c:v>
                </c:pt>
                <c:pt idx="628">
                  <c:v>44344</c:v>
                </c:pt>
                <c:pt idx="629">
                  <c:v>44347</c:v>
                </c:pt>
                <c:pt idx="630">
                  <c:v>44348</c:v>
                </c:pt>
                <c:pt idx="631">
                  <c:v>44349</c:v>
                </c:pt>
                <c:pt idx="632">
                  <c:v>44350</c:v>
                </c:pt>
                <c:pt idx="633">
                  <c:v>44351</c:v>
                </c:pt>
                <c:pt idx="634">
                  <c:v>44354</c:v>
                </c:pt>
                <c:pt idx="635">
                  <c:v>44355</c:v>
                </c:pt>
                <c:pt idx="636">
                  <c:v>44356</c:v>
                </c:pt>
                <c:pt idx="637">
                  <c:v>44357</c:v>
                </c:pt>
                <c:pt idx="638">
                  <c:v>44358</c:v>
                </c:pt>
                <c:pt idx="639">
                  <c:v>44361</c:v>
                </c:pt>
                <c:pt idx="640">
                  <c:v>44362</c:v>
                </c:pt>
                <c:pt idx="641">
                  <c:v>44363</c:v>
                </c:pt>
                <c:pt idx="642">
                  <c:v>44364</c:v>
                </c:pt>
                <c:pt idx="643">
                  <c:v>44365</c:v>
                </c:pt>
                <c:pt idx="644">
                  <c:v>44368</c:v>
                </c:pt>
                <c:pt idx="645">
                  <c:v>44369</c:v>
                </c:pt>
                <c:pt idx="646">
                  <c:v>44370</c:v>
                </c:pt>
                <c:pt idx="647">
                  <c:v>44371</c:v>
                </c:pt>
                <c:pt idx="648">
                  <c:v>44372</c:v>
                </c:pt>
                <c:pt idx="649">
                  <c:v>44375</c:v>
                </c:pt>
                <c:pt idx="650">
                  <c:v>44376</c:v>
                </c:pt>
                <c:pt idx="651">
                  <c:v>44377</c:v>
                </c:pt>
                <c:pt idx="652">
                  <c:v>44378</c:v>
                </c:pt>
                <c:pt idx="653">
                  <c:v>44379</c:v>
                </c:pt>
                <c:pt idx="654">
                  <c:v>44382</c:v>
                </c:pt>
                <c:pt idx="655">
                  <c:v>44383</c:v>
                </c:pt>
                <c:pt idx="656">
                  <c:v>44384</c:v>
                </c:pt>
                <c:pt idx="657">
                  <c:v>44385</c:v>
                </c:pt>
                <c:pt idx="658">
                  <c:v>44386</c:v>
                </c:pt>
                <c:pt idx="659">
                  <c:v>44389</c:v>
                </c:pt>
                <c:pt idx="660">
                  <c:v>44390</c:v>
                </c:pt>
                <c:pt idx="661">
                  <c:v>44391</c:v>
                </c:pt>
                <c:pt idx="662">
                  <c:v>44392</c:v>
                </c:pt>
                <c:pt idx="663">
                  <c:v>44393</c:v>
                </c:pt>
                <c:pt idx="664">
                  <c:v>44396</c:v>
                </c:pt>
                <c:pt idx="665">
                  <c:v>44397</c:v>
                </c:pt>
                <c:pt idx="666">
                  <c:v>44398</c:v>
                </c:pt>
                <c:pt idx="667">
                  <c:v>44399</c:v>
                </c:pt>
                <c:pt idx="668">
                  <c:v>44400</c:v>
                </c:pt>
                <c:pt idx="669">
                  <c:v>44403</c:v>
                </c:pt>
                <c:pt idx="670">
                  <c:v>44404</c:v>
                </c:pt>
                <c:pt idx="671">
                  <c:v>44405</c:v>
                </c:pt>
                <c:pt idx="672">
                  <c:v>44406</c:v>
                </c:pt>
                <c:pt idx="673">
                  <c:v>44407</c:v>
                </c:pt>
                <c:pt idx="674">
                  <c:v>44410</c:v>
                </c:pt>
                <c:pt idx="675">
                  <c:v>44411</c:v>
                </c:pt>
                <c:pt idx="676">
                  <c:v>44412</c:v>
                </c:pt>
                <c:pt idx="677">
                  <c:v>44413</c:v>
                </c:pt>
                <c:pt idx="678">
                  <c:v>44414</c:v>
                </c:pt>
                <c:pt idx="679">
                  <c:v>44417</c:v>
                </c:pt>
                <c:pt idx="680">
                  <c:v>44418</c:v>
                </c:pt>
                <c:pt idx="681">
                  <c:v>44419</c:v>
                </c:pt>
                <c:pt idx="682">
                  <c:v>44420</c:v>
                </c:pt>
                <c:pt idx="683">
                  <c:v>44421</c:v>
                </c:pt>
                <c:pt idx="684">
                  <c:v>44424</c:v>
                </c:pt>
                <c:pt idx="685">
                  <c:v>44425</c:v>
                </c:pt>
                <c:pt idx="686">
                  <c:v>44426</c:v>
                </c:pt>
                <c:pt idx="687">
                  <c:v>44427</c:v>
                </c:pt>
                <c:pt idx="688">
                  <c:v>44428</c:v>
                </c:pt>
                <c:pt idx="689">
                  <c:v>44431</c:v>
                </c:pt>
                <c:pt idx="690">
                  <c:v>44432</c:v>
                </c:pt>
                <c:pt idx="691">
                  <c:v>44433</c:v>
                </c:pt>
                <c:pt idx="692">
                  <c:v>44434</c:v>
                </c:pt>
                <c:pt idx="693">
                  <c:v>44435</c:v>
                </c:pt>
                <c:pt idx="694">
                  <c:v>44438</c:v>
                </c:pt>
                <c:pt idx="695">
                  <c:v>44439</c:v>
                </c:pt>
                <c:pt idx="696">
                  <c:v>44440</c:v>
                </c:pt>
                <c:pt idx="697">
                  <c:v>44441</c:v>
                </c:pt>
                <c:pt idx="698">
                  <c:v>44442</c:v>
                </c:pt>
                <c:pt idx="699">
                  <c:v>44445</c:v>
                </c:pt>
                <c:pt idx="700">
                  <c:v>44446</c:v>
                </c:pt>
                <c:pt idx="701">
                  <c:v>44447</c:v>
                </c:pt>
                <c:pt idx="702">
                  <c:v>44448</c:v>
                </c:pt>
                <c:pt idx="703">
                  <c:v>44449</c:v>
                </c:pt>
                <c:pt idx="704">
                  <c:v>44452</c:v>
                </c:pt>
                <c:pt idx="705">
                  <c:v>44453</c:v>
                </c:pt>
                <c:pt idx="706">
                  <c:v>44454</c:v>
                </c:pt>
                <c:pt idx="707">
                  <c:v>44455</c:v>
                </c:pt>
                <c:pt idx="708">
                  <c:v>44456</c:v>
                </c:pt>
                <c:pt idx="709">
                  <c:v>44459</c:v>
                </c:pt>
                <c:pt idx="710">
                  <c:v>44460</c:v>
                </c:pt>
                <c:pt idx="711">
                  <c:v>44461</c:v>
                </c:pt>
                <c:pt idx="712">
                  <c:v>44462</c:v>
                </c:pt>
                <c:pt idx="713">
                  <c:v>44463</c:v>
                </c:pt>
                <c:pt idx="714">
                  <c:v>44466</c:v>
                </c:pt>
                <c:pt idx="715">
                  <c:v>44467</c:v>
                </c:pt>
                <c:pt idx="716">
                  <c:v>44468</c:v>
                </c:pt>
                <c:pt idx="717">
                  <c:v>44469</c:v>
                </c:pt>
                <c:pt idx="718">
                  <c:v>44470</c:v>
                </c:pt>
                <c:pt idx="719">
                  <c:v>44473</c:v>
                </c:pt>
                <c:pt idx="720">
                  <c:v>44474</c:v>
                </c:pt>
                <c:pt idx="721">
                  <c:v>44475</c:v>
                </c:pt>
                <c:pt idx="722">
                  <c:v>44476</c:v>
                </c:pt>
                <c:pt idx="723">
                  <c:v>44477</c:v>
                </c:pt>
                <c:pt idx="724">
                  <c:v>44480</c:v>
                </c:pt>
                <c:pt idx="725">
                  <c:v>44481</c:v>
                </c:pt>
                <c:pt idx="726">
                  <c:v>44482</c:v>
                </c:pt>
                <c:pt idx="727">
                  <c:v>44483</c:v>
                </c:pt>
                <c:pt idx="728">
                  <c:v>44484</c:v>
                </c:pt>
                <c:pt idx="729">
                  <c:v>44487</c:v>
                </c:pt>
                <c:pt idx="730">
                  <c:v>44488</c:v>
                </c:pt>
                <c:pt idx="731">
                  <c:v>44489</c:v>
                </c:pt>
                <c:pt idx="732">
                  <c:v>44490</c:v>
                </c:pt>
                <c:pt idx="733">
                  <c:v>44491</c:v>
                </c:pt>
                <c:pt idx="734">
                  <c:v>44494</c:v>
                </c:pt>
                <c:pt idx="735">
                  <c:v>44495</c:v>
                </c:pt>
                <c:pt idx="736">
                  <c:v>44496</c:v>
                </c:pt>
                <c:pt idx="737">
                  <c:v>44497</c:v>
                </c:pt>
                <c:pt idx="738">
                  <c:v>44498</c:v>
                </c:pt>
                <c:pt idx="739">
                  <c:v>44501</c:v>
                </c:pt>
                <c:pt idx="740">
                  <c:v>44502</c:v>
                </c:pt>
                <c:pt idx="741">
                  <c:v>44503</c:v>
                </c:pt>
                <c:pt idx="742">
                  <c:v>44504</c:v>
                </c:pt>
                <c:pt idx="743">
                  <c:v>44505</c:v>
                </c:pt>
                <c:pt idx="744">
                  <c:v>44508</c:v>
                </c:pt>
                <c:pt idx="745">
                  <c:v>44509</c:v>
                </c:pt>
                <c:pt idx="746">
                  <c:v>44510</c:v>
                </c:pt>
                <c:pt idx="747">
                  <c:v>44511</c:v>
                </c:pt>
                <c:pt idx="748">
                  <c:v>44512</c:v>
                </c:pt>
                <c:pt idx="749">
                  <c:v>44515</c:v>
                </c:pt>
                <c:pt idx="750">
                  <c:v>44516</c:v>
                </c:pt>
                <c:pt idx="751">
                  <c:v>44517</c:v>
                </c:pt>
                <c:pt idx="752">
                  <c:v>44518</c:v>
                </c:pt>
                <c:pt idx="753">
                  <c:v>44519</c:v>
                </c:pt>
                <c:pt idx="754">
                  <c:v>44522</c:v>
                </c:pt>
                <c:pt idx="755">
                  <c:v>44523</c:v>
                </c:pt>
                <c:pt idx="756">
                  <c:v>44524</c:v>
                </c:pt>
                <c:pt idx="757">
                  <c:v>44526</c:v>
                </c:pt>
                <c:pt idx="758">
                  <c:v>44529</c:v>
                </c:pt>
                <c:pt idx="759">
                  <c:v>44530</c:v>
                </c:pt>
                <c:pt idx="760">
                  <c:v>44531</c:v>
                </c:pt>
                <c:pt idx="761">
                  <c:v>44532</c:v>
                </c:pt>
                <c:pt idx="762">
                  <c:v>44533</c:v>
                </c:pt>
                <c:pt idx="763">
                  <c:v>44536</c:v>
                </c:pt>
                <c:pt idx="764">
                  <c:v>44537</c:v>
                </c:pt>
                <c:pt idx="765">
                  <c:v>44538</c:v>
                </c:pt>
                <c:pt idx="766">
                  <c:v>44539</c:v>
                </c:pt>
                <c:pt idx="767">
                  <c:v>44540</c:v>
                </c:pt>
                <c:pt idx="768">
                  <c:v>44543</c:v>
                </c:pt>
                <c:pt idx="769">
                  <c:v>44544</c:v>
                </c:pt>
                <c:pt idx="770">
                  <c:v>44545</c:v>
                </c:pt>
                <c:pt idx="771">
                  <c:v>44546</c:v>
                </c:pt>
                <c:pt idx="772">
                  <c:v>44547</c:v>
                </c:pt>
                <c:pt idx="773">
                  <c:v>44550</c:v>
                </c:pt>
                <c:pt idx="774">
                  <c:v>44551</c:v>
                </c:pt>
                <c:pt idx="775">
                  <c:v>44552</c:v>
                </c:pt>
                <c:pt idx="776">
                  <c:v>44553</c:v>
                </c:pt>
                <c:pt idx="777">
                  <c:v>44557</c:v>
                </c:pt>
                <c:pt idx="778">
                  <c:v>44558</c:v>
                </c:pt>
                <c:pt idx="779">
                  <c:v>44559</c:v>
                </c:pt>
                <c:pt idx="780">
                  <c:v>44560</c:v>
                </c:pt>
                <c:pt idx="781">
                  <c:v>44561</c:v>
                </c:pt>
                <c:pt idx="782">
                  <c:v>44564</c:v>
                </c:pt>
                <c:pt idx="783">
                  <c:v>44565</c:v>
                </c:pt>
                <c:pt idx="784">
                  <c:v>44566</c:v>
                </c:pt>
                <c:pt idx="785">
                  <c:v>44567</c:v>
                </c:pt>
                <c:pt idx="786">
                  <c:v>44568</c:v>
                </c:pt>
                <c:pt idx="787">
                  <c:v>44571</c:v>
                </c:pt>
                <c:pt idx="788">
                  <c:v>44572</c:v>
                </c:pt>
                <c:pt idx="789">
                  <c:v>44573</c:v>
                </c:pt>
                <c:pt idx="790">
                  <c:v>44574</c:v>
                </c:pt>
                <c:pt idx="791">
                  <c:v>44575</c:v>
                </c:pt>
                <c:pt idx="792">
                  <c:v>44579</c:v>
                </c:pt>
                <c:pt idx="793">
                  <c:v>44580</c:v>
                </c:pt>
                <c:pt idx="794">
                  <c:v>44581</c:v>
                </c:pt>
                <c:pt idx="795">
                  <c:v>44582</c:v>
                </c:pt>
                <c:pt idx="796">
                  <c:v>44585</c:v>
                </c:pt>
                <c:pt idx="797">
                  <c:v>44586</c:v>
                </c:pt>
                <c:pt idx="798">
                  <c:v>44587</c:v>
                </c:pt>
                <c:pt idx="799">
                  <c:v>44588</c:v>
                </c:pt>
                <c:pt idx="800">
                  <c:v>44589</c:v>
                </c:pt>
                <c:pt idx="801">
                  <c:v>44592</c:v>
                </c:pt>
                <c:pt idx="802">
                  <c:v>44593</c:v>
                </c:pt>
                <c:pt idx="803">
                  <c:v>44594</c:v>
                </c:pt>
                <c:pt idx="804">
                  <c:v>44595</c:v>
                </c:pt>
                <c:pt idx="805">
                  <c:v>44596</c:v>
                </c:pt>
                <c:pt idx="806">
                  <c:v>44599</c:v>
                </c:pt>
                <c:pt idx="807">
                  <c:v>44600</c:v>
                </c:pt>
                <c:pt idx="808">
                  <c:v>44601</c:v>
                </c:pt>
                <c:pt idx="809">
                  <c:v>44602</c:v>
                </c:pt>
                <c:pt idx="810">
                  <c:v>44603</c:v>
                </c:pt>
                <c:pt idx="811">
                  <c:v>44606</c:v>
                </c:pt>
                <c:pt idx="812">
                  <c:v>44607</c:v>
                </c:pt>
                <c:pt idx="813">
                  <c:v>44608</c:v>
                </c:pt>
                <c:pt idx="814">
                  <c:v>44609</c:v>
                </c:pt>
                <c:pt idx="815">
                  <c:v>44610</c:v>
                </c:pt>
                <c:pt idx="816">
                  <c:v>44614</c:v>
                </c:pt>
                <c:pt idx="817">
                  <c:v>44615</c:v>
                </c:pt>
                <c:pt idx="818">
                  <c:v>44616</c:v>
                </c:pt>
                <c:pt idx="819">
                  <c:v>44617</c:v>
                </c:pt>
                <c:pt idx="820">
                  <c:v>44620</c:v>
                </c:pt>
                <c:pt idx="821">
                  <c:v>44621</c:v>
                </c:pt>
                <c:pt idx="822">
                  <c:v>44622</c:v>
                </c:pt>
                <c:pt idx="823">
                  <c:v>44623</c:v>
                </c:pt>
                <c:pt idx="824">
                  <c:v>44624</c:v>
                </c:pt>
                <c:pt idx="825">
                  <c:v>44627</c:v>
                </c:pt>
                <c:pt idx="826">
                  <c:v>44628</c:v>
                </c:pt>
                <c:pt idx="827">
                  <c:v>44629</c:v>
                </c:pt>
                <c:pt idx="828">
                  <c:v>44630</c:v>
                </c:pt>
                <c:pt idx="829">
                  <c:v>44631</c:v>
                </c:pt>
                <c:pt idx="830">
                  <c:v>44634</c:v>
                </c:pt>
                <c:pt idx="831">
                  <c:v>44635</c:v>
                </c:pt>
                <c:pt idx="832">
                  <c:v>44636</c:v>
                </c:pt>
                <c:pt idx="833">
                  <c:v>44637</c:v>
                </c:pt>
                <c:pt idx="834">
                  <c:v>44638</c:v>
                </c:pt>
                <c:pt idx="835">
                  <c:v>44641</c:v>
                </c:pt>
                <c:pt idx="836">
                  <c:v>44642</c:v>
                </c:pt>
                <c:pt idx="837">
                  <c:v>44643</c:v>
                </c:pt>
                <c:pt idx="838">
                  <c:v>44644</c:v>
                </c:pt>
                <c:pt idx="839">
                  <c:v>44645</c:v>
                </c:pt>
                <c:pt idx="840">
                  <c:v>44648</c:v>
                </c:pt>
                <c:pt idx="841">
                  <c:v>44649</c:v>
                </c:pt>
                <c:pt idx="842">
                  <c:v>44650</c:v>
                </c:pt>
                <c:pt idx="843">
                  <c:v>44651</c:v>
                </c:pt>
                <c:pt idx="844">
                  <c:v>44652</c:v>
                </c:pt>
                <c:pt idx="845">
                  <c:v>44655</c:v>
                </c:pt>
                <c:pt idx="846">
                  <c:v>44656</c:v>
                </c:pt>
                <c:pt idx="847">
                  <c:v>44657</c:v>
                </c:pt>
                <c:pt idx="848">
                  <c:v>44658</c:v>
                </c:pt>
                <c:pt idx="849">
                  <c:v>44659</c:v>
                </c:pt>
                <c:pt idx="850">
                  <c:v>44662</c:v>
                </c:pt>
                <c:pt idx="851">
                  <c:v>44663</c:v>
                </c:pt>
                <c:pt idx="852">
                  <c:v>44664</c:v>
                </c:pt>
                <c:pt idx="853">
                  <c:v>44665</c:v>
                </c:pt>
                <c:pt idx="854">
                  <c:v>44669</c:v>
                </c:pt>
                <c:pt idx="855">
                  <c:v>44670</c:v>
                </c:pt>
                <c:pt idx="856">
                  <c:v>44671</c:v>
                </c:pt>
                <c:pt idx="857">
                  <c:v>44672</c:v>
                </c:pt>
                <c:pt idx="858">
                  <c:v>44673</c:v>
                </c:pt>
                <c:pt idx="859">
                  <c:v>44676</c:v>
                </c:pt>
                <c:pt idx="860">
                  <c:v>44677</c:v>
                </c:pt>
                <c:pt idx="861">
                  <c:v>44678</c:v>
                </c:pt>
                <c:pt idx="862">
                  <c:v>44679</c:v>
                </c:pt>
                <c:pt idx="863">
                  <c:v>44680</c:v>
                </c:pt>
                <c:pt idx="864">
                  <c:v>44683</c:v>
                </c:pt>
                <c:pt idx="865">
                  <c:v>44684</c:v>
                </c:pt>
                <c:pt idx="866">
                  <c:v>44685</c:v>
                </c:pt>
                <c:pt idx="867">
                  <c:v>44686</c:v>
                </c:pt>
                <c:pt idx="868">
                  <c:v>44687</c:v>
                </c:pt>
                <c:pt idx="869">
                  <c:v>44690</c:v>
                </c:pt>
                <c:pt idx="870">
                  <c:v>44691</c:v>
                </c:pt>
                <c:pt idx="871">
                  <c:v>44692</c:v>
                </c:pt>
                <c:pt idx="872">
                  <c:v>44693</c:v>
                </c:pt>
                <c:pt idx="873">
                  <c:v>44694</c:v>
                </c:pt>
                <c:pt idx="874">
                  <c:v>44697</c:v>
                </c:pt>
                <c:pt idx="875">
                  <c:v>44698</c:v>
                </c:pt>
                <c:pt idx="876">
                  <c:v>44699</c:v>
                </c:pt>
                <c:pt idx="877">
                  <c:v>44700</c:v>
                </c:pt>
                <c:pt idx="878">
                  <c:v>44701</c:v>
                </c:pt>
                <c:pt idx="879">
                  <c:v>44704</c:v>
                </c:pt>
                <c:pt idx="880">
                  <c:v>44705</c:v>
                </c:pt>
                <c:pt idx="881">
                  <c:v>44706</c:v>
                </c:pt>
                <c:pt idx="882">
                  <c:v>44707</c:v>
                </c:pt>
                <c:pt idx="883">
                  <c:v>44708</c:v>
                </c:pt>
                <c:pt idx="884">
                  <c:v>44712</c:v>
                </c:pt>
                <c:pt idx="885">
                  <c:v>44713</c:v>
                </c:pt>
                <c:pt idx="886">
                  <c:v>44714</c:v>
                </c:pt>
                <c:pt idx="887">
                  <c:v>44715</c:v>
                </c:pt>
                <c:pt idx="888">
                  <c:v>44718</c:v>
                </c:pt>
                <c:pt idx="889">
                  <c:v>44719</c:v>
                </c:pt>
                <c:pt idx="890">
                  <c:v>44720</c:v>
                </c:pt>
                <c:pt idx="891">
                  <c:v>44721</c:v>
                </c:pt>
                <c:pt idx="892">
                  <c:v>44722</c:v>
                </c:pt>
                <c:pt idx="893">
                  <c:v>44725</c:v>
                </c:pt>
                <c:pt idx="894">
                  <c:v>44726</c:v>
                </c:pt>
                <c:pt idx="895">
                  <c:v>44727</c:v>
                </c:pt>
                <c:pt idx="896">
                  <c:v>44728</c:v>
                </c:pt>
                <c:pt idx="897">
                  <c:v>44729</c:v>
                </c:pt>
                <c:pt idx="898">
                  <c:v>44733</c:v>
                </c:pt>
                <c:pt idx="899">
                  <c:v>44734</c:v>
                </c:pt>
                <c:pt idx="900">
                  <c:v>44735</c:v>
                </c:pt>
                <c:pt idx="901">
                  <c:v>44736</c:v>
                </c:pt>
                <c:pt idx="902">
                  <c:v>44739</c:v>
                </c:pt>
                <c:pt idx="903">
                  <c:v>44740</c:v>
                </c:pt>
                <c:pt idx="904">
                  <c:v>44741</c:v>
                </c:pt>
                <c:pt idx="905">
                  <c:v>44742</c:v>
                </c:pt>
                <c:pt idx="906">
                  <c:v>44743</c:v>
                </c:pt>
                <c:pt idx="907">
                  <c:v>44747</c:v>
                </c:pt>
                <c:pt idx="908">
                  <c:v>44748</c:v>
                </c:pt>
                <c:pt idx="909">
                  <c:v>44749</c:v>
                </c:pt>
                <c:pt idx="910">
                  <c:v>44750</c:v>
                </c:pt>
                <c:pt idx="911">
                  <c:v>44753</c:v>
                </c:pt>
                <c:pt idx="912">
                  <c:v>44754</c:v>
                </c:pt>
                <c:pt idx="913">
                  <c:v>44755</c:v>
                </c:pt>
                <c:pt idx="914">
                  <c:v>44756</c:v>
                </c:pt>
                <c:pt idx="915">
                  <c:v>44757</c:v>
                </c:pt>
                <c:pt idx="916">
                  <c:v>44760</c:v>
                </c:pt>
                <c:pt idx="917">
                  <c:v>44761</c:v>
                </c:pt>
                <c:pt idx="918">
                  <c:v>44762</c:v>
                </c:pt>
                <c:pt idx="919">
                  <c:v>44763</c:v>
                </c:pt>
                <c:pt idx="920">
                  <c:v>44764</c:v>
                </c:pt>
                <c:pt idx="921">
                  <c:v>44767</c:v>
                </c:pt>
                <c:pt idx="922">
                  <c:v>44768</c:v>
                </c:pt>
                <c:pt idx="923">
                  <c:v>44769</c:v>
                </c:pt>
                <c:pt idx="924">
                  <c:v>44770</c:v>
                </c:pt>
                <c:pt idx="925">
                  <c:v>44771</c:v>
                </c:pt>
                <c:pt idx="926">
                  <c:v>44774</c:v>
                </c:pt>
                <c:pt idx="927">
                  <c:v>44775</c:v>
                </c:pt>
                <c:pt idx="928">
                  <c:v>44776</c:v>
                </c:pt>
                <c:pt idx="929">
                  <c:v>44777</c:v>
                </c:pt>
                <c:pt idx="930">
                  <c:v>44778</c:v>
                </c:pt>
                <c:pt idx="931">
                  <c:v>44781</c:v>
                </c:pt>
                <c:pt idx="932">
                  <c:v>44782</c:v>
                </c:pt>
                <c:pt idx="933">
                  <c:v>44783</c:v>
                </c:pt>
                <c:pt idx="934">
                  <c:v>44784</c:v>
                </c:pt>
                <c:pt idx="935">
                  <c:v>44785</c:v>
                </c:pt>
                <c:pt idx="936">
                  <c:v>44788</c:v>
                </c:pt>
                <c:pt idx="937">
                  <c:v>44789</c:v>
                </c:pt>
                <c:pt idx="938">
                  <c:v>44790</c:v>
                </c:pt>
                <c:pt idx="939">
                  <c:v>44791</c:v>
                </c:pt>
                <c:pt idx="940">
                  <c:v>44792</c:v>
                </c:pt>
                <c:pt idx="941">
                  <c:v>44795</c:v>
                </c:pt>
                <c:pt idx="942">
                  <c:v>44796</c:v>
                </c:pt>
                <c:pt idx="943">
                  <c:v>44797</c:v>
                </c:pt>
                <c:pt idx="944">
                  <c:v>44798</c:v>
                </c:pt>
                <c:pt idx="945">
                  <c:v>44799</c:v>
                </c:pt>
                <c:pt idx="946">
                  <c:v>44802</c:v>
                </c:pt>
                <c:pt idx="947">
                  <c:v>44804</c:v>
                </c:pt>
                <c:pt idx="948">
                  <c:v>44805</c:v>
                </c:pt>
                <c:pt idx="949">
                  <c:v>44806</c:v>
                </c:pt>
                <c:pt idx="950">
                  <c:v>44810</c:v>
                </c:pt>
                <c:pt idx="951">
                  <c:v>44811</c:v>
                </c:pt>
                <c:pt idx="952">
                  <c:v>44812</c:v>
                </c:pt>
                <c:pt idx="953">
                  <c:v>44813</c:v>
                </c:pt>
                <c:pt idx="954">
                  <c:v>44816</c:v>
                </c:pt>
                <c:pt idx="955">
                  <c:v>44817</c:v>
                </c:pt>
                <c:pt idx="956">
                  <c:v>44818</c:v>
                </c:pt>
                <c:pt idx="957">
                  <c:v>44819</c:v>
                </c:pt>
                <c:pt idx="958">
                  <c:v>44820</c:v>
                </c:pt>
                <c:pt idx="959">
                  <c:v>44823</c:v>
                </c:pt>
                <c:pt idx="960">
                  <c:v>44824</c:v>
                </c:pt>
                <c:pt idx="961">
                  <c:v>44825</c:v>
                </c:pt>
                <c:pt idx="962">
                  <c:v>44826</c:v>
                </c:pt>
                <c:pt idx="963">
                  <c:v>44827</c:v>
                </c:pt>
                <c:pt idx="964">
                  <c:v>44830</c:v>
                </c:pt>
                <c:pt idx="965">
                  <c:v>44831</c:v>
                </c:pt>
                <c:pt idx="966">
                  <c:v>44832</c:v>
                </c:pt>
                <c:pt idx="967">
                  <c:v>44833</c:v>
                </c:pt>
                <c:pt idx="968">
                  <c:v>44834</c:v>
                </c:pt>
                <c:pt idx="969">
                  <c:v>44837</c:v>
                </c:pt>
                <c:pt idx="970">
                  <c:v>44838</c:v>
                </c:pt>
                <c:pt idx="971">
                  <c:v>44839</c:v>
                </c:pt>
                <c:pt idx="972">
                  <c:v>44840</c:v>
                </c:pt>
                <c:pt idx="973">
                  <c:v>44841</c:v>
                </c:pt>
                <c:pt idx="974">
                  <c:v>44844</c:v>
                </c:pt>
                <c:pt idx="975">
                  <c:v>44845</c:v>
                </c:pt>
                <c:pt idx="976">
                  <c:v>44846</c:v>
                </c:pt>
                <c:pt idx="977">
                  <c:v>44847</c:v>
                </c:pt>
                <c:pt idx="978">
                  <c:v>44848</c:v>
                </c:pt>
                <c:pt idx="979">
                  <c:v>44851</c:v>
                </c:pt>
                <c:pt idx="980">
                  <c:v>44852</c:v>
                </c:pt>
                <c:pt idx="981">
                  <c:v>44853</c:v>
                </c:pt>
                <c:pt idx="982">
                  <c:v>44854</c:v>
                </c:pt>
                <c:pt idx="983">
                  <c:v>44855</c:v>
                </c:pt>
                <c:pt idx="984">
                  <c:v>44858</c:v>
                </c:pt>
                <c:pt idx="985">
                  <c:v>44859</c:v>
                </c:pt>
                <c:pt idx="986">
                  <c:v>44860</c:v>
                </c:pt>
                <c:pt idx="987">
                  <c:v>44861</c:v>
                </c:pt>
                <c:pt idx="988">
                  <c:v>44862</c:v>
                </c:pt>
                <c:pt idx="989">
                  <c:v>44865</c:v>
                </c:pt>
                <c:pt idx="990">
                  <c:v>44866</c:v>
                </c:pt>
                <c:pt idx="991">
                  <c:v>44867</c:v>
                </c:pt>
                <c:pt idx="992">
                  <c:v>44868</c:v>
                </c:pt>
                <c:pt idx="993">
                  <c:v>44869</c:v>
                </c:pt>
                <c:pt idx="994">
                  <c:v>44872</c:v>
                </c:pt>
                <c:pt idx="995">
                  <c:v>44873</c:v>
                </c:pt>
                <c:pt idx="996">
                  <c:v>44874</c:v>
                </c:pt>
                <c:pt idx="997">
                  <c:v>44875</c:v>
                </c:pt>
                <c:pt idx="998">
                  <c:v>44876</c:v>
                </c:pt>
                <c:pt idx="999">
                  <c:v>44879</c:v>
                </c:pt>
                <c:pt idx="1000">
                  <c:v>44880</c:v>
                </c:pt>
                <c:pt idx="1001">
                  <c:v>44881</c:v>
                </c:pt>
                <c:pt idx="1002">
                  <c:v>44882</c:v>
                </c:pt>
                <c:pt idx="1003">
                  <c:v>44883</c:v>
                </c:pt>
                <c:pt idx="1004">
                  <c:v>44886</c:v>
                </c:pt>
                <c:pt idx="1005">
                  <c:v>44887</c:v>
                </c:pt>
                <c:pt idx="1006">
                  <c:v>44888</c:v>
                </c:pt>
                <c:pt idx="1007">
                  <c:v>44890</c:v>
                </c:pt>
                <c:pt idx="1008">
                  <c:v>44893</c:v>
                </c:pt>
                <c:pt idx="1009">
                  <c:v>44894</c:v>
                </c:pt>
                <c:pt idx="1010">
                  <c:v>44895</c:v>
                </c:pt>
                <c:pt idx="1011">
                  <c:v>44896</c:v>
                </c:pt>
                <c:pt idx="1012">
                  <c:v>44897</c:v>
                </c:pt>
                <c:pt idx="1013">
                  <c:v>44900</c:v>
                </c:pt>
                <c:pt idx="1014">
                  <c:v>44901</c:v>
                </c:pt>
                <c:pt idx="1015">
                  <c:v>44902</c:v>
                </c:pt>
                <c:pt idx="1016">
                  <c:v>44903</c:v>
                </c:pt>
                <c:pt idx="1017">
                  <c:v>44904</c:v>
                </c:pt>
                <c:pt idx="1018">
                  <c:v>44907</c:v>
                </c:pt>
                <c:pt idx="1019">
                  <c:v>44908</c:v>
                </c:pt>
                <c:pt idx="1020">
                  <c:v>44909</c:v>
                </c:pt>
                <c:pt idx="1021">
                  <c:v>44910</c:v>
                </c:pt>
                <c:pt idx="1022">
                  <c:v>44911</c:v>
                </c:pt>
                <c:pt idx="1023">
                  <c:v>44914</c:v>
                </c:pt>
                <c:pt idx="1024">
                  <c:v>44915</c:v>
                </c:pt>
                <c:pt idx="1025">
                  <c:v>44916</c:v>
                </c:pt>
                <c:pt idx="1026">
                  <c:v>44917</c:v>
                </c:pt>
                <c:pt idx="1027">
                  <c:v>44918</c:v>
                </c:pt>
                <c:pt idx="1028">
                  <c:v>44922</c:v>
                </c:pt>
                <c:pt idx="1029">
                  <c:v>44923</c:v>
                </c:pt>
                <c:pt idx="1030">
                  <c:v>44924</c:v>
                </c:pt>
                <c:pt idx="1031">
                  <c:v>44925</c:v>
                </c:pt>
                <c:pt idx="1032">
                  <c:v>44929</c:v>
                </c:pt>
                <c:pt idx="1033">
                  <c:v>44930</c:v>
                </c:pt>
                <c:pt idx="1034">
                  <c:v>44931</c:v>
                </c:pt>
                <c:pt idx="1035">
                  <c:v>44932</c:v>
                </c:pt>
                <c:pt idx="1036">
                  <c:v>44935</c:v>
                </c:pt>
                <c:pt idx="1037">
                  <c:v>44936</c:v>
                </c:pt>
                <c:pt idx="1038">
                  <c:v>44937</c:v>
                </c:pt>
                <c:pt idx="1039">
                  <c:v>44938</c:v>
                </c:pt>
                <c:pt idx="1040">
                  <c:v>44939</c:v>
                </c:pt>
                <c:pt idx="1041">
                  <c:v>44943</c:v>
                </c:pt>
                <c:pt idx="1042">
                  <c:v>44944</c:v>
                </c:pt>
                <c:pt idx="1043">
                  <c:v>44945</c:v>
                </c:pt>
                <c:pt idx="1044">
                  <c:v>44946</c:v>
                </c:pt>
                <c:pt idx="1045">
                  <c:v>44949</c:v>
                </c:pt>
                <c:pt idx="1046">
                  <c:v>44950</c:v>
                </c:pt>
                <c:pt idx="1047">
                  <c:v>44951</c:v>
                </c:pt>
                <c:pt idx="1048">
                  <c:v>44952</c:v>
                </c:pt>
                <c:pt idx="1049">
                  <c:v>44953</c:v>
                </c:pt>
                <c:pt idx="1050">
                  <c:v>44956</c:v>
                </c:pt>
                <c:pt idx="1051">
                  <c:v>44957</c:v>
                </c:pt>
                <c:pt idx="1052">
                  <c:v>44958</c:v>
                </c:pt>
                <c:pt idx="1053">
                  <c:v>44959</c:v>
                </c:pt>
                <c:pt idx="1054">
                  <c:v>44960</c:v>
                </c:pt>
                <c:pt idx="1055">
                  <c:v>44963</c:v>
                </c:pt>
                <c:pt idx="1056">
                  <c:v>44964</c:v>
                </c:pt>
                <c:pt idx="1057">
                  <c:v>44965</c:v>
                </c:pt>
                <c:pt idx="1058">
                  <c:v>44966</c:v>
                </c:pt>
                <c:pt idx="1059">
                  <c:v>44967</c:v>
                </c:pt>
                <c:pt idx="1060">
                  <c:v>44970</c:v>
                </c:pt>
                <c:pt idx="1061">
                  <c:v>44971</c:v>
                </c:pt>
                <c:pt idx="1062">
                  <c:v>44972</c:v>
                </c:pt>
                <c:pt idx="1063">
                  <c:v>44973</c:v>
                </c:pt>
                <c:pt idx="1064">
                  <c:v>44978</c:v>
                </c:pt>
                <c:pt idx="1065">
                  <c:v>44979</c:v>
                </c:pt>
                <c:pt idx="1066">
                  <c:v>44980</c:v>
                </c:pt>
                <c:pt idx="1067">
                  <c:v>44981</c:v>
                </c:pt>
                <c:pt idx="1068">
                  <c:v>44984</c:v>
                </c:pt>
                <c:pt idx="1069">
                  <c:v>44985</c:v>
                </c:pt>
                <c:pt idx="1070">
                  <c:v>44986</c:v>
                </c:pt>
                <c:pt idx="1071">
                  <c:v>44987</c:v>
                </c:pt>
                <c:pt idx="1072">
                  <c:v>44988</c:v>
                </c:pt>
                <c:pt idx="1073">
                  <c:v>44991</c:v>
                </c:pt>
                <c:pt idx="1074">
                  <c:v>44992</c:v>
                </c:pt>
                <c:pt idx="1075">
                  <c:v>44993</c:v>
                </c:pt>
                <c:pt idx="1076">
                  <c:v>44994</c:v>
                </c:pt>
                <c:pt idx="1077">
                  <c:v>44995</c:v>
                </c:pt>
                <c:pt idx="1078">
                  <c:v>44998</c:v>
                </c:pt>
                <c:pt idx="1079">
                  <c:v>44999</c:v>
                </c:pt>
                <c:pt idx="1080">
                  <c:v>45000</c:v>
                </c:pt>
                <c:pt idx="1081">
                  <c:v>45001</c:v>
                </c:pt>
                <c:pt idx="1082">
                  <c:v>45002</c:v>
                </c:pt>
                <c:pt idx="1083">
                  <c:v>45005</c:v>
                </c:pt>
                <c:pt idx="1084">
                  <c:v>45006</c:v>
                </c:pt>
                <c:pt idx="1085">
                  <c:v>45007</c:v>
                </c:pt>
                <c:pt idx="1086">
                  <c:v>45008</c:v>
                </c:pt>
                <c:pt idx="1087">
                  <c:v>45009</c:v>
                </c:pt>
                <c:pt idx="1088">
                  <c:v>45012</c:v>
                </c:pt>
                <c:pt idx="1089">
                  <c:v>45013</c:v>
                </c:pt>
                <c:pt idx="1090">
                  <c:v>45014</c:v>
                </c:pt>
                <c:pt idx="1091">
                  <c:v>45015</c:v>
                </c:pt>
                <c:pt idx="1092">
                  <c:v>45016</c:v>
                </c:pt>
                <c:pt idx="1093">
                  <c:v>45019</c:v>
                </c:pt>
                <c:pt idx="1094">
                  <c:v>45020</c:v>
                </c:pt>
                <c:pt idx="1095">
                  <c:v>45021</c:v>
                </c:pt>
                <c:pt idx="1096">
                  <c:v>45022</c:v>
                </c:pt>
                <c:pt idx="1097">
                  <c:v>45026</c:v>
                </c:pt>
                <c:pt idx="1098">
                  <c:v>45027</c:v>
                </c:pt>
                <c:pt idx="1099">
                  <c:v>45028</c:v>
                </c:pt>
                <c:pt idx="1100">
                  <c:v>45029</c:v>
                </c:pt>
                <c:pt idx="1101">
                  <c:v>45030</c:v>
                </c:pt>
                <c:pt idx="1102">
                  <c:v>45033</c:v>
                </c:pt>
                <c:pt idx="1103">
                  <c:v>45035</c:v>
                </c:pt>
                <c:pt idx="1104">
                  <c:v>45036</c:v>
                </c:pt>
                <c:pt idx="1105">
                  <c:v>45037</c:v>
                </c:pt>
                <c:pt idx="1106">
                  <c:v>45040</c:v>
                </c:pt>
                <c:pt idx="1107">
                  <c:v>45041</c:v>
                </c:pt>
                <c:pt idx="1108">
                  <c:v>45047</c:v>
                </c:pt>
                <c:pt idx="1109">
                  <c:v>45048</c:v>
                </c:pt>
                <c:pt idx="1110">
                  <c:v>45049</c:v>
                </c:pt>
                <c:pt idx="1111">
                  <c:v>45050</c:v>
                </c:pt>
                <c:pt idx="1112">
                  <c:v>45051</c:v>
                </c:pt>
                <c:pt idx="1113">
                  <c:v>45054</c:v>
                </c:pt>
                <c:pt idx="1114">
                  <c:v>45055</c:v>
                </c:pt>
                <c:pt idx="1115">
                  <c:v>45056</c:v>
                </c:pt>
                <c:pt idx="1116">
                  <c:v>45057</c:v>
                </c:pt>
                <c:pt idx="1117">
                  <c:v>45058</c:v>
                </c:pt>
                <c:pt idx="1118">
                  <c:v>45061</c:v>
                </c:pt>
                <c:pt idx="1119">
                  <c:v>45062</c:v>
                </c:pt>
                <c:pt idx="1120">
                  <c:v>45063</c:v>
                </c:pt>
                <c:pt idx="1121">
                  <c:v>45064</c:v>
                </c:pt>
                <c:pt idx="1122">
                  <c:v>45065</c:v>
                </c:pt>
                <c:pt idx="1123">
                  <c:v>45068</c:v>
                </c:pt>
                <c:pt idx="1124">
                  <c:v>45069</c:v>
                </c:pt>
                <c:pt idx="1125">
                  <c:v>45070</c:v>
                </c:pt>
                <c:pt idx="1126">
                  <c:v>45071</c:v>
                </c:pt>
                <c:pt idx="1127">
                  <c:v>45072</c:v>
                </c:pt>
                <c:pt idx="1128">
                  <c:v>45076</c:v>
                </c:pt>
                <c:pt idx="1129">
                  <c:v>45077</c:v>
                </c:pt>
                <c:pt idx="1130">
                  <c:v>45078</c:v>
                </c:pt>
                <c:pt idx="1131">
                  <c:v>45079</c:v>
                </c:pt>
                <c:pt idx="1132">
                  <c:v>45082</c:v>
                </c:pt>
                <c:pt idx="1133">
                  <c:v>45083</c:v>
                </c:pt>
                <c:pt idx="1134">
                  <c:v>45084</c:v>
                </c:pt>
                <c:pt idx="1135">
                  <c:v>45085</c:v>
                </c:pt>
                <c:pt idx="1136">
                  <c:v>45086</c:v>
                </c:pt>
                <c:pt idx="1137">
                  <c:v>45089</c:v>
                </c:pt>
                <c:pt idx="1138">
                  <c:v>45090</c:v>
                </c:pt>
                <c:pt idx="1139">
                  <c:v>45091</c:v>
                </c:pt>
                <c:pt idx="1140">
                  <c:v>45092</c:v>
                </c:pt>
                <c:pt idx="1141">
                  <c:v>45093</c:v>
                </c:pt>
                <c:pt idx="1142">
                  <c:v>45097</c:v>
                </c:pt>
                <c:pt idx="1143">
                  <c:v>45098</c:v>
                </c:pt>
                <c:pt idx="1144">
                  <c:v>45099</c:v>
                </c:pt>
                <c:pt idx="1145">
                  <c:v>45100</c:v>
                </c:pt>
                <c:pt idx="1146">
                  <c:v>45103</c:v>
                </c:pt>
                <c:pt idx="1147">
                  <c:v>45104</c:v>
                </c:pt>
                <c:pt idx="1148">
                  <c:v>45106</c:v>
                </c:pt>
                <c:pt idx="1149">
                  <c:v>45107</c:v>
                </c:pt>
                <c:pt idx="1150">
                  <c:v>45110</c:v>
                </c:pt>
                <c:pt idx="1151">
                  <c:v>45113</c:v>
                </c:pt>
                <c:pt idx="1152">
                  <c:v>45114</c:v>
                </c:pt>
                <c:pt idx="1153">
                  <c:v>45117</c:v>
                </c:pt>
                <c:pt idx="1154">
                  <c:v>45118</c:v>
                </c:pt>
                <c:pt idx="1155">
                  <c:v>45119</c:v>
                </c:pt>
                <c:pt idx="1156">
                  <c:v>45120</c:v>
                </c:pt>
                <c:pt idx="1157">
                  <c:v>45121</c:v>
                </c:pt>
                <c:pt idx="1158">
                  <c:v>45124</c:v>
                </c:pt>
                <c:pt idx="1159">
                  <c:v>45125</c:v>
                </c:pt>
                <c:pt idx="1160">
                  <c:v>45126</c:v>
                </c:pt>
                <c:pt idx="1161">
                  <c:v>45127</c:v>
                </c:pt>
                <c:pt idx="1162">
                  <c:v>45128</c:v>
                </c:pt>
                <c:pt idx="1163">
                  <c:v>45131</c:v>
                </c:pt>
                <c:pt idx="1164">
                  <c:v>45132</c:v>
                </c:pt>
                <c:pt idx="1165">
                  <c:v>45133</c:v>
                </c:pt>
                <c:pt idx="1166">
                  <c:v>45134</c:v>
                </c:pt>
                <c:pt idx="1167">
                  <c:v>45135</c:v>
                </c:pt>
                <c:pt idx="1168">
                  <c:v>45138</c:v>
                </c:pt>
                <c:pt idx="1169">
                  <c:v>45139</c:v>
                </c:pt>
                <c:pt idx="1170">
                  <c:v>45140</c:v>
                </c:pt>
                <c:pt idx="1171">
                  <c:v>45141</c:v>
                </c:pt>
                <c:pt idx="1172">
                  <c:v>45142</c:v>
                </c:pt>
                <c:pt idx="1173">
                  <c:v>45145</c:v>
                </c:pt>
                <c:pt idx="1174">
                  <c:v>45146</c:v>
                </c:pt>
                <c:pt idx="1175">
                  <c:v>45147</c:v>
                </c:pt>
                <c:pt idx="1176">
                  <c:v>45148</c:v>
                </c:pt>
                <c:pt idx="1177">
                  <c:v>45149</c:v>
                </c:pt>
                <c:pt idx="1178">
                  <c:v>45152</c:v>
                </c:pt>
                <c:pt idx="1179">
                  <c:v>45153</c:v>
                </c:pt>
                <c:pt idx="1180">
                  <c:v>45154</c:v>
                </c:pt>
                <c:pt idx="1181">
                  <c:v>45155</c:v>
                </c:pt>
                <c:pt idx="1182">
                  <c:v>45156</c:v>
                </c:pt>
                <c:pt idx="1183">
                  <c:v>45159</c:v>
                </c:pt>
                <c:pt idx="1184">
                  <c:v>45160</c:v>
                </c:pt>
                <c:pt idx="1185">
                  <c:v>45161</c:v>
                </c:pt>
                <c:pt idx="1186">
                  <c:v>45162</c:v>
                </c:pt>
                <c:pt idx="1187">
                  <c:v>45163</c:v>
                </c:pt>
                <c:pt idx="1188">
                  <c:v>45166</c:v>
                </c:pt>
                <c:pt idx="1189">
                  <c:v>45167</c:v>
                </c:pt>
                <c:pt idx="1190">
                  <c:v>45169</c:v>
                </c:pt>
                <c:pt idx="1191">
                  <c:v>45170</c:v>
                </c:pt>
                <c:pt idx="1192">
                  <c:v>45174</c:v>
                </c:pt>
                <c:pt idx="1193">
                  <c:v>45175</c:v>
                </c:pt>
                <c:pt idx="1194">
                  <c:v>45176</c:v>
                </c:pt>
                <c:pt idx="1195">
                  <c:v>45177</c:v>
                </c:pt>
                <c:pt idx="1196">
                  <c:v>45180</c:v>
                </c:pt>
                <c:pt idx="1197">
                  <c:v>45181</c:v>
                </c:pt>
                <c:pt idx="1198">
                  <c:v>45182</c:v>
                </c:pt>
              </c:numCache>
            </c:numRef>
          </c:cat>
          <c:val>
            <c:numRef>
              <c:f>Sheet1!$D$2:$D$1200</c:f>
              <c:numCache>
                <c:formatCode>General</c:formatCode>
                <c:ptCount val="1199"/>
                <c:pt idx="1">
                  <c:v>7.4681735038757298</c:v>
                </c:pt>
                <c:pt idx="2">
                  <c:v>7.4286656379699698</c:v>
                </c:pt>
                <c:pt idx="3">
                  <c:v>7.6543068885803196</c:v>
                </c:pt>
                <c:pt idx="4">
                  <c:v>7.23840284347534</c:v>
                </c:pt>
                <c:pt idx="5">
                  <c:v>7.4049949645996103</c:v>
                </c:pt>
                <c:pt idx="6">
                  <c:v>7.3442420959472701</c:v>
                </c:pt>
                <c:pt idx="7">
                  <c:v>7.30171871185303</c:v>
                </c:pt>
                <c:pt idx="8">
                  <c:v>7.4772367477417001</c:v>
                </c:pt>
                <c:pt idx="9">
                  <c:v>7.2868137359619096</c:v>
                </c:pt>
                <c:pt idx="10">
                  <c:v>7.3570637702941903</c:v>
                </c:pt>
                <c:pt idx="11">
                  <c:v>7.3481097221374503</c:v>
                </c:pt>
                <c:pt idx="12">
                  <c:v>7.6770181655883798</c:v>
                </c:pt>
                <c:pt idx="13">
                  <c:v>7.5242905616760298</c:v>
                </c:pt>
                <c:pt idx="14">
                  <c:v>7.2499189376831099</c:v>
                </c:pt>
                <c:pt idx="15">
                  <c:v>7.2590699195861799</c:v>
                </c:pt>
                <c:pt idx="16">
                  <c:v>7.3991675376892099</c:v>
                </c:pt>
                <c:pt idx="17">
                  <c:v>7.04831790924072</c:v>
                </c:pt>
                <c:pt idx="18">
                  <c:v>6.9846253395080602</c:v>
                </c:pt>
                <c:pt idx="19">
                  <c:v>6.8845887184143102</c:v>
                </c:pt>
                <c:pt idx="20">
                  <c:v>6.8941688537597701</c:v>
                </c:pt>
                <c:pt idx="21">
                  <c:v>6.7863268852233896</c:v>
                </c:pt>
                <c:pt idx="22">
                  <c:v>6.6564984321594203</c:v>
                </c:pt>
                <c:pt idx="23">
                  <c:v>6.4767284393310502</c:v>
                </c:pt>
                <c:pt idx="24">
                  <c:v>6.4847474098205602</c:v>
                </c:pt>
                <c:pt idx="25">
                  <c:v>6.3991460800170898</c:v>
                </c:pt>
                <c:pt idx="26">
                  <c:v>6.2960963249206499</c:v>
                </c:pt>
                <c:pt idx="27">
                  <c:v>6.2836823463439897</c:v>
                </c:pt>
                <c:pt idx="28">
                  <c:v>6.0619568824768102</c:v>
                </c:pt>
                <c:pt idx="29">
                  <c:v>5.9638900756835902</c:v>
                </c:pt>
                <c:pt idx="30">
                  <c:v>5.9008889198303196</c:v>
                </c:pt>
                <c:pt idx="31">
                  <c:v>5.9483690261840803</c:v>
                </c:pt>
                <c:pt idx="32">
                  <c:v>5.8779296875</c:v>
                </c:pt>
                <c:pt idx="33">
                  <c:v>5.9889626502990696</c:v>
                </c:pt>
                <c:pt idx="34">
                  <c:v>5.7746009826660201</c:v>
                </c:pt>
                <c:pt idx="35">
                  <c:v>5.8819813728332502</c:v>
                </c:pt>
                <c:pt idx="36">
                  <c:v>6.0258493423461896</c:v>
                </c:pt>
                <c:pt idx="37">
                  <c:v>5.8184299468994096</c:v>
                </c:pt>
                <c:pt idx="38">
                  <c:v>5.7256598472595197</c:v>
                </c:pt>
                <c:pt idx="39">
                  <c:v>5.6393985748290998</c:v>
                </c:pt>
                <c:pt idx="40">
                  <c:v>5.6854948997497603</c:v>
                </c:pt>
                <c:pt idx="41">
                  <c:v>5.8683757781982404</c:v>
                </c:pt>
                <c:pt idx="42">
                  <c:v>5.9345202445983896</c:v>
                </c:pt>
                <c:pt idx="43">
                  <c:v>5.7723131179809597</c:v>
                </c:pt>
                <c:pt idx="44">
                  <c:v>5.7797775268554696</c:v>
                </c:pt>
                <c:pt idx="45">
                  <c:v>5.6914262771606401</c:v>
                </c:pt>
                <c:pt idx="46">
                  <c:v>5.5816159248352104</c:v>
                </c:pt>
                <c:pt idx="47">
                  <c:v>5.5313992500305202</c:v>
                </c:pt>
                <c:pt idx="48">
                  <c:v>5.5083651542663601</c:v>
                </c:pt>
                <c:pt idx="49">
                  <c:v>5.4778461456298801</c:v>
                </c:pt>
                <c:pt idx="50">
                  <c:v>5.3599405288696298</c:v>
                </c:pt>
                <c:pt idx="51">
                  <c:v>5.2178616523742702</c:v>
                </c:pt>
                <c:pt idx="52">
                  <c:v>5.1668648719787598</c:v>
                </c:pt>
                <c:pt idx="53">
                  <c:v>5.0609111785888699</c:v>
                </c:pt>
                <c:pt idx="54">
                  <c:v>4.9754843711853001</c:v>
                </c:pt>
                <c:pt idx="55">
                  <c:v>4.9888381958007804</c:v>
                </c:pt>
                <c:pt idx="56">
                  <c:v>5.0863037109375</c:v>
                </c:pt>
                <c:pt idx="57">
                  <c:v>4.8527688980102504</c:v>
                </c:pt>
                <c:pt idx="58">
                  <c:v>4.7906136512756303</c:v>
                </c:pt>
                <c:pt idx="59">
                  <c:v>4.7010412216186497</c:v>
                </c:pt>
                <c:pt idx="60">
                  <c:v>4.7471837997436497</c:v>
                </c:pt>
                <c:pt idx="61">
                  <c:v>4.9410347938537598</c:v>
                </c:pt>
                <c:pt idx="62">
                  <c:v>4.7431044578552202</c:v>
                </c:pt>
                <c:pt idx="63">
                  <c:v>4.6707592010498002</c:v>
                </c:pt>
                <c:pt idx="64">
                  <c:v>4.54787349700928</c:v>
                </c:pt>
                <c:pt idx="65">
                  <c:v>4.4167981147766104</c:v>
                </c:pt>
                <c:pt idx="66">
                  <c:v>4.6703553199768102</c:v>
                </c:pt>
                <c:pt idx="67">
                  <c:v>4.86769819259644</c:v>
                </c:pt>
                <c:pt idx="68">
                  <c:v>5.4650588035583496</c:v>
                </c:pt>
                <c:pt idx="69">
                  <c:v>5.26629590988159</c:v>
                </c:pt>
                <c:pt idx="70">
                  <c:v>5.5288772583007804</c:v>
                </c:pt>
                <c:pt idx="71">
                  <c:v>5.1955547332763699</c:v>
                </c:pt>
                <c:pt idx="72">
                  <c:v>5.2723045349121103</c:v>
                </c:pt>
                <c:pt idx="73">
                  <c:v>5.2491869926452601</c:v>
                </c:pt>
                <c:pt idx="74">
                  <c:v>4.9733572006225604</c:v>
                </c:pt>
                <c:pt idx="75">
                  <c:v>4.9033131599426296</c:v>
                </c:pt>
                <c:pt idx="76">
                  <c:v>5.0281958580017099</c:v>
                </c:pt>
                <c:pt idx="77">
                  <c:v>4.75809526443481</c:v>
                </c:pt>
                <c:pt idx="79">
                  <c:v>4.7691125869751003</c:v>
                </c:pt>
                <c:pt idx="80">
                  <c:v>4.7432451248168901</c:v>
                </c:pt>
                <c:pt idx="81">
                  <c:v>4.6607713699340803</c:v>
                </c:pt>
                <c:pt idx="82">
                  <c:v>4.73995161056519</c:v>
                </c:pt>
                <c:pt idx="83">
                  <c:v>4.7110342979431197</c:v>
                </c:pt>
                <c:pt idx="84">
                  <c:v>4.7600975036621103</c:v>
                </c:pt>
                <c:pt idx="85">
                  <c:v>4.7281756401062003</c:v>
                </c:pt>
                <c:pt idx="86">
                  <c:v>4.6101045608520499</c:v>
                </c:pt>
                <c:pt idx="87">
                  <c:v>4.70420217514038</c:v>
                </c:pt>
                <c:pt idx="88">
                  <c:v>4.7799353599548304</c:v>
                </c:pt>
                <c:pt idx="89">
                  <c:v>4.7028713226318404</c:v>
                </c:pt>
                <c:pt idx="90">
                  <c:v>4.6409153938293501</c:v>
                </c:pt>
                <c:pt idx="91">
                  <c:v>4.6960883140564</c:v>
                </c:pt>
                <c:pt idx="92">
                  <c:v>4.7526383399963397</c:v>
                </c:pt>
                <c:pt idx="93">
                  <c:v>4.6067476272582999</c:v>
                </c:pt>
                <c:pt idx="94">
                  <c:v>4.5250425338745099</c:v>
                </c:pt>
                <c:pt idx="95">
                  <c:v>4.5241999626159703</c:v>
                </c:pt>
                <c:pt idx="96">
                  <c:v>4.5469441413879403</c:v>
                </c:pt>
                <c:pt idx="97">
                  <c:v>4.3814010620117196</c:v>
                </c:pt>
                <c:pt idx="98">
                  <c:v>4.2022132873535201</c:v>
                </c:pt>
                <c:pt idx="99">
                  <c:v>4.2228689193725604</c:v>
                </c:pt>
                <c:pt idx="100">
                  <c:v>4.1536006927490199</c:v>
                </c:pt>
                <c:pt idx="101">
                  <c:v>4.1330690383911097</c:v>
                </c:pt>
                <c:pt idx="102">
                  <c:v>4.1257572174072301</c:v>
                </c:pt>
                <c:pt idx="103">
                  <c:v>4.0203132629394496</c:v>
                </c:pt>
                <c:pt idx="104">
                  <c:v>3.9896206855773899</c:v>
                </c:pt>
                <c:pt idx="105">
                  <c:v>4.0931987762451199</c:v>
                </c:pt>
                <c:pt idx="106">
                  <c:v>3.9856362342834499</c:v>
                </c:pt>
                <c:pt idx="107">
                  <c:v>3.7423932552337602</c:v>
                </c:pt>
                <c:pt idx="108">
                  <c:v>3.66616559028625</c:v>
                </c:pt>
                <c:pt idx="109">
                  <c:v>3.6555523872375502</c:v>
                </c:pt>
                <c:pt idx="110">
                  <c:v>3.9261474609375</c:v>
                </c:pt>
                <c:pt idx="111">
                  <c:v>3.8134081363678001</c:v>
                </c:pt>
                <c:pt idx="112">
                  <c:v>3.6676011085510298</c:v>
                </c:pt>
                <c:pt idx="113">
                  <c:v>3.82458591461182</c:v>
                </c:pt>
                <c:pt idx="114">
                  <c:v>3.9123015403747599</c:v>
                </c:pt>
                <c:pt idx="115">
                  <c:v>3.71835494041443</c:v>
                </c:pt>
                <c:pt idx="116">
                  <c:v>3.6847276687622101</c:v>
                </c:pt>
                <c:pt idx="117">
                  <c:v>3.7643897533416699</c:v>
                </c:pt>
                <c:pt idx="118">
                  <c:v>3.7167310714721702</c:v>
                </c:pt>
                <c:pt idx="119">
                  <c:v>3.8031973838806201</c:v>
                </c:pt>
                <c:pt idx="120">
                  <c:v>3.6179752349853498</c:v>
                </c:pt>
                <c:pt idx="121">
                  <c:v>3.4477708339691202</c:v>
                </c:pt>
                <c:pt idx="122">
                  <c:v>3.35719513893127</c:v>
                </c:pt>
                <c:pt idx="123">
                  <c:v>3.4484302997589098</c:v>
                </c:pt>
                <c:pt idx="124">
                  <c:v>3.4051101207733199</c:v>
                </c:pt>
                <c:pt idx="125">
                  <c:v>3.2789673805236799</c:v>
                </c:pt>
                <c:pt idx="126">
                  <c:v>3.20422387123108</c:v>
                </c:pt>
                <c:pt idx="127">
                  <c:v>3.1229524612426798</c:v>
                </c:pt>
                <c:pt idx="128">
                  <c:v>3.3697643280029301</c:v>
                </c:pt>
                <c:pt idx="129">
                  <c:v>3.4271616935729998</c:v>
                </c:pt>
                <c:pt idx="130">
                  <c:v>3.3809330463409402</c:v>
                </c:pt>
                <c:pt idx="131">
                  <c:v>3.4012727737426798</c:v>
                </c:pt>
                <c:pt idx="132">
                  <c:v>3.4866998195648198</c:v>
                </c:pt>
                <c:pt idx="133">
                  <c:v>3.6884963512420699</c:v>
                </c:pt>
                <c:pt idx="134">
                  <c:v>3.90272164344788</c:v>
                </c:pt>
                <c:pt idx="135">
                  <c:v>3.8605375289917001</c:v>
                </c:pt>
                <c:pt idx="136">
                  <c:v>3.9989485740661599</c:v>
                </c:pt>
                <c:pt idx="137">
                  <c:v>4.3283772468566903</c:v>
                </c:pt>
                <c:pt idx="138">
                  <c:v>4.3841133117675799</c:v>
                </c:pt>
                <c:pt idx="139">
                  <c:v>4.2524614334106401</c:v>
                </c:pt>
                <c:pt idx="140">
                  <c:v>3.74892282485962</c:v>
                </c:pt>
                <c:pt idx="141">
                  <c:v>3.6131944656372101</c:v>
                </c:pt>
                <c:pt idx="142">
                  <c:v>3.5466861724853498</c:v>
                </c:pt>
                <c:pt idx="143">
                  <c:v>3.55469846725464</c:v>
                </c:pt>
                <c:pt idx="144">
                  <c:v>3.3364570140838601</c:v>
                </c:pt>
                <c:pt idx="145">
                  <c:v>3.5119278430938698</c:v>
                </c:pt>
                <c:pt idx="146">
                  <c:v>3.2875225543975799</c:v>
                </c:pt>
                <c:pt idx="147">
                  <c:v>3.2729661464691202</c:v>
                </c:pt>
                <c:pt idx="148">
                  <c:v>3.2478611469268799</c:v>
                </c:pt>
                <c:pt idx="149">
                  <c:v>3.20345115661621</c:v>
                </c:pt>
                <c:pt idx="150">
                  <c:v>3.19950246810913</c:v>
                </c:pt>
                <c:pt idx="151">
                  <c:v>3.5684690475463898</c:v>
                </c:pt>
                <c:pt idx="152">
                  <c:v>4.0139746665954599</c:v>
                </c:pt>
                <c:pt idx="153">
                  <c:v>3.9094166755676301</c:v>
                </c:pt>
                <c:pt idx="154">
                  <c:v>3.7629923820495601</c:v>
                </c:pt>
                <c:pt idx="155">
                  <c:v>3.59333419799805</c:v>
                </c:pt>
                <c:pt idx="156">
                  <c:v>3.74392509460449</c:v>
                </c:pt>
                <c:pt idx="157">
                  <c:v>3.95471286773682</c:v>
                </c:pt>
                <c:pt idx="158">
                  <c:v>3.9450557231903098</c:v>
                </c:pt>
                <c:pt idx="159">
                  <c:v>3.7515687942504901</c:v>
                </c:pt>
                <c:pt idx="160">
                  <c:v>3.8808429241180402</c:v>
                </c:pt>
                <c:pt idx="161">
                  <c:v>3.6484863758087198</c:v>
                </c:pt>
                <c:pt idx="162">
                  <c:v>3.6519963741302499</c:v>
                </c:pt>
                <c:pt idx="163">
                  <c:v>3.5593318939209002</c:v>
                </c:pt>
                <c:pt idx="164">
                  <c:v>3.5003144741058301</c:v>
                </c:pt>
                <c:pt idx="165">
                  <c:v>3.6477434635162398</c:v>
                </c:pt>
                <c:pt idx="166">
                  <c:v>3.7064566612243701</c:v>
                </c:pt>
                <c:pt idx="167">
                  <c:v>3.5674860477447501</c:v>
                </c:pt>
                <c:pt idx="168">
                  <c:v>3.4555215835571298</c:v>
                </c:pt>
                <c:pt idx="169">
                  <c:v>3.3540668487548801</c:v>
                </c:pt>
                <c:pt idx="170">
                  <c:v>3.2720861434936501</c:v>
                </c:pt>
                <c:pt idx="171">
                  <c:v>3.3221263885497998</c:v>
                </c:pt>
                <c:pt idx="172">
                  <c:v>3.4710044860839799</c:v>
                </c:pt>
                <c:pt idx="173">
                  <c:v>4.1203117370605504</c:v>
                </c:pt>
                <c:pt idx="174">
                  <c:v>3.80677318572998</c:v>
                </c:pt>
                <c:pt idx="175">
                  <c:v>3.8892252445220898</c:v>
                </c:pt>
                <c:pt idx="176">
                  <c:v>3.8655908107757599</c:v>
                </c:pt>
                <c:pt idx="177">
                  <c:v>3.9554581642150901</c:v>
                </c:pt>
                <c:pt idx="178">
                  <c:v>3.9904623031616202</c:v>
                </c:pt>
                <c:pt idx="179">
                  <c:v>3.9601187705993701</c:v>
                </c:pt>
                <c:pt idx="180">
                  <c:v>4.6605148315429696</c:v>
                </c:pt>
                <c:pt idx="181">
                  <c:v>4.6303601264953604</c:v>
                </c:pt>
                <c:pt idx="182">
                  <c:v>4.6872324943542498</c:v>
                </c:pt>
                <c:pt idx="183">
                  <c:v>4.7727775573730504</c:v>
                </c:pt>
                <c:pt idx="184">
                  <c:v>4.9421038627624503</c:v>
                </c:pt>
                <c:pt idx="185">
                  <c:v>4.3599562644958496</c:v>
                </c:pt>
                <c:pt idx="186">
                  <c:v>4.0180072784423801</c:v>
                </c:pt>
                <c:pt idx="187">
                  <c:v>3.9641137123107901</c:v>
                </c:pt>
                <c:pt idx="188">
                  <c:v>4.10304975509644</c:v>
                </c:pt>
                <c:pt idx="189">
                  <c:v>3.94265484809875</c:v>
                </c:pt>
                <c:pt idx="190">
                  <c:v>3.9833314418792698</c:v>
                </c:pt>
                <c:pt idx="191">
                  <c:v>3.8304719924926798</c:v>
                </c:pt>
                <c:pt idx="192">
                  <c:v>3.8538682460784899</c:v>
                </c:pt>
                <c:pt idx="193">
                  <c:v>3.8262169361114502</c:v>
                </c:pt>
                <c:pt idx="194">
                  <c:v>5.2341055870056197</c:v>
                </c:pt>
                <c:pt idx="195">
                  <c:v>5.3679652214050302</c:v>
                </c:pt>
                <c:pt idx="196">
                  <c:v>5.1383485794067401</c:v>
                </c:pt>
                <c:pt idx="197">
                  <c:v>5.1424469947814897</c:v>
                </c:pt>
                <c:pt idx="198">
                  <c:v>5.0712141990661603</c:v>
                </c:pt>
                <c:pt idx="199">
                  <c:v>4.98423051834106</c:v>
                </c:pt>
                <c:pt idx="200">
                  <c:v>5.0196471214294398</c:v>
                </c:pt>
                <c:pt idx="201">
                  <c:v>5.0049877166748002</c:v>
                </c:pt>
                <c:pt idx="202">
                  <c:v>5.1102666854858398</c:v>
                </c:pt>
                <c:pt idx="203">
                  <c:v>5.2194972038268999</c:v>
                </c:pt>
                <c:pt idx="204">
                  <c:v>5.1828045845031703</c:v>
                </c:pt>
                <c:pt idx="205">
                  <c:v>5.1922945976257298</c:v>
                </c:pt>
                <c:pt idx="206">
                  <c:v>5.2132468223571804</c:v>
                </c:pt>
                <c:pt idx="207">
                  <c:v>5.2227454185485804</c:v>
                </c:pt>
                <c:pt idx="208">
                  <c:v>5.22518110275269</c:v>
                </c:pt>
                <c:pt idx="209">
                  <c:v>5.0987482070922896</c:v>
                </c:pt>
                <c:pt idx="210">
                  <c:v>5.0832085609436</c:v>
                </c:pt>
                <c:pt idx="211">
                  <c:v>5.0264735221862802</c:v>
                </c:pt>
                <c:pt idx="212">
                  <c:v>5.0935897827148402</c:v>
                </c:pt>
                <c:pt idx="213">
                  <c:v>4.9450139999389604</c:v>
                </c:pt>
                <c:pt idx="214">
                  <c:v>4.6794996261596697</c:v>
                </c:pt>
                <c:pt idx="215">
                  <c:v>4.5029191970825204</c:v>
                </c:pt>
                <c:pt idx="216">
                  <c:v>4.5006823539733896</c:v>
                </c:pt>
                <c:pt idx="217">
                  <c:v>5.2705230712890598</c:v>
                </c:pt>
                <c:pt idx="218">
                  <c:v>5.2920069694518999</c:v>
                </c:pt>
                <c:pt idx="219">
                  <c:v>5.3716444969177202</c:v>
                </c:pt>
                <c:pt idx="220">
                  <c:v>5.44744777679443</c:v>
                </c:pt>
                <c:pt idx="221">
                  <c:v>5.2783260345459002</c:v>
                </c:pt>
                <c:pt idx="222">
                  <c:v>5.2179250717163104</c:v>
                </c:pt>
                <c:pt idx="223">
                  <c:v>5.1455340385437003</c:v>
                </c:pt>
                <c:pt idx="224">
                  <c:v>5.1216535568237296</c:v>
                </c:pt>
                <c:pt idx="225">
                  <c:v>5.0136189460754403</c:v>
                </c:pt>
                <c:pt idx="226">
                  <c:v>4.9825286865234402</c:v>
                </c:pt>
                <c:pt idx="227">
                  <c:v>5.05971431732178</c:v>
                </c:pt>
                <c:pt idx="228">
                  <c:v>5.0872735977172896</c:v>
                </c:pt>
                <c:pt idx="229">
                  <c:v>4.9394969940185502</c:v>
                </c:pt>
                <c:pt idx="230">
                  <c:v>4.9635152816772496</c:v>
                </c:pt>
                <c:pt idx="231">
                  <c:v>5.0568513870239302</c:v>
                </c:pt>
                <c:pt idx="232">
                  <c:v>5.06166315078735</c:v>
                </c:pt>
                <c:pt idx="233">
                  <c:v>5.1820979118347203</c:v>
                </c:pt>
                <c:pt idx="234">
                  <c:v>5.2393226623535201</c:v>
                </c:pt>
                <c:pt idx="235">
                  <c:v>5.1164455413818404</c:v>
                </c:pt>
                <c:pt idx="236">
                  <c:v>5.1493711471557599</c:v>
                </c:pt>
                <c:pt idx="237">
                  <c:v>5.0468368530273402</c:v>
                </c:pt>
                <c:pt idx="238">
                  <c:v>5.2702884674072301</c:v>
                </c:pt>
                <c:pt idx="239">
                  <c:v>5.13118553161621</c:v>
                </c:pt>
                <c:pt idx="240">
                  <c:v>5.1203765869140598</c:v>
                </c:pt>
                <c:pt idx="241">
                  <c:v>5.1540880203247097</c:v>
                </c:pt>
                <c:pt idx="242">
                  <c:v>5.0142784118652299</c:v>
                </c:pt>
                <c:pt idx="243">
                  <c:v>4.9051871299743697</c:v>
                </c:pt>
                <c:pt idx="244">
                  <c:v>4.8254046440124503</c:v>
                </c:pt>
                <c:pt idx="245">
                  <c:v>4.7227935791015598</c:v>
                </c:pt>
                <c:pt idx="246">
                  <c:v>4.5799889564514196</c:v>
                </c:pt>
                <c:pt idx="247">
                  <c:v>4.8150691986084002</c:v>
                </c:pt>
                <c:pt idx="248">
                  <c:v>4.4971189498901403</c:v>
                </c:pt>
                <c:pt idx="249">
                  <c:v>4.5344967842102104</c:v>
                </c:pt>
                <c:pt idx="250">
                  <c:v>4.7238702774047896</c:v>
                </c:pt>
                <c:pt idx="251">
                  <c:v>4.86728858947754</c:v>
                </c:pt>
                <c:pt idx="252">
                  <c:v>4.8894767761230504</c:v>
                </c:pt>
                <c:pt idx="253">
                  <c:v>4.6204314231872603</c:v>
                </c:pt>
                <c:pt idx="254">
                  <c:v>4.2313895225524902</c:v>
                </c:pt>
                <c:pt idx="255">
                  <c:v>4.09533596038818</c:v>
                </c:pt>
                <c:pt idx="257">
                  <c:v>4.0986599922180202</c:v>
                </c:pt>
                <c:pt idx="258">
                  <c:v>4.1802291870117196</c:v>
                </c:pt>
                <c:pt idx="259">
                  <c:v>4.0329542160034197</c:v>
                </c:pt>
                <c:pt idx="260">
                  <c:v>3.9581515789032</c:v>
                </c:pt>
                <c:pt idx="262">
                  <c:v>3.9512279033660902</c:v>
                </c:pt>
                <c:pt idx="263">
                  <c:v>4.2451400756835902</c:v>
                </c:pt>
                <c:pt idx="264">
                  <c:v>4.0272498130798304</c:v>
                </c:pt>
                <c:pt idx="265">
                  <c:v>3.8974590301513699</c:v>
                </c:pt>
                <c:pt idx="266">
                  <c:v>3.89206838607788</c:v>
                </c:pt>
                <c:pt idx="267">
                  <c:v>3.9627246856689502</c:v>
                </c:pt>
                <c:pt idx="268">
                  <c:v>3.89020800590515</c:v>
                </c:pt>
                <c:pt idx="269">
                  <c:v>3.9319419860839799</c:v>
                </c:pt>
                <c:pt idx="270">
                  <c:v>3.6849832534789999</c:v>
                </c:pt>
                <c:pt idx="271">
                  <c:v>3.6517629623413099</c:v>
                </c:pt>
                <c:pt idx="272">
                  <c:v>3.6269497871398899</c:v>
                </c:pt>
                <c:pt idx="273">
                  <c:v>3.5505640506744398</c:v>
                </c:pt>
                <c:pt idx="274">
                  <c:v>3.43449187278748</c:v>
                </c:pt>
                <c:pt idx="275">
                  <c:v>3.4992883205413801</c:v>
                </c:pt>
                <c:pt idx="276">
                  <c:v>3.3974921703338601</c:v>
                </c:pt>
                <c:pt idx="277">
                  <c:v>3.37680220603943</c:v>
                </c:pt>
                <c:pt idx="278">
                  <c:v>3.3766617774963401</c:v>
                </c:pt>
                <c:pt idx="279">
                  <c:v>3.3974337577819802</c:v>
                </c:pt>
                <c:pt idx="280">
                  <c:v>3.4845542907714799</c:v>
                </c:pt>
                <c:pt idx="281">
                  <c:v>3.2739920616149898</c:v>
                </c:pt>
                <c:pt idx="282">
                  <c:v>3.1609852313995401</c:v>
                </c:pt>
                <c:pt idx="283">
                  <c:v>3.1705894470214799</c:v>
                </c:pt>
                <c:pt idx="284">
                  <c:v>2.9843316078186</c:v>
                </c:pt>
                <c:pt idx="285">
                  <c:v>3.0301604270935099</c:v>
                </c:pt>
                <c:pt idx="286">
                  <c:v>3.0007343292236301</c:v>
                </c:pt>
                <c:pt idx="287">
                  <c:v>2.9433348178863499</c:v>
                </c:pt>
                <c:pt idx="288">
                  <c:v>2.9074456691741899</c:v>
                </c:pt>
                <c:pt idx="289">
                  <c:v>2.7625691890716602</c:v>
                </c:pt>
                <c:pt idx="290">
                  <c:v>2.7363345623016402</c:v>
                </c:pt>
                <c:pt idx="291">
                  <c:v>2.77810907363892</c:v>
                </c:pt>
                <c:pt idx="292">
                  <c:v>2.8232276439666699</c:v>
                </c:pt>
                <c:pt idx="293">
                  <c:v>2.8174500465393102</c:v>
                </c:pt>
                <c:pt idx="294">
                  <c:v>2.95593929290771</c:v>
                </c:pt>
                <c:pt idx="295">
                  <c:v>2.9657070636749299</c:v>
                </c:pt>
                <c:pt idx="296">
                  <c:v>3.03005814552307</c:v>
                </c:pt>
                <c:pt idx="297">
                  <c:v>3.0225889682769802</c:v>
                </c:pt>
                <c:pt idx="298">
                  <c:v>2.9895291328430198</c:v>
                </c:pt>
                <c:pt idx="299">
                  <c:v>2.8756368160247798</c:v>
                </c:pt>
                <c:pt idx="300">
                  <c:v>2.8709976673126198</c:v>
                </c:pt>
                <c:pt idx="301">
                  <c:v>2.8913979530334499</c:v>
                </c:pt>
                <c:pt idx="302">
                  <c:v>2.8585777282714799</c:v>
                </c:pt>
                <c:pt idx="303">
                  <c:v>2.8665645122528098</c:v>
                </c:pt>
                <c:pt idx="304">
                  <c:v>2.8986253738403298</c:v>
                </c:pt>
                <c:pt idx="305">
                  <c:v>3.00108122825623</c:v>
                </c:pt>
                <c:pt idx="306">
                  <c:v>2.9073016643524201</c:v>
                </c:pt>
                <c:pt idx="307">
                  <c:v>2.91397333145142</c:v>
                </c:pt>
                <c:pt idx="308">
                  <c:v>2.8591091632843</c:v>
                </c:pt>
                <c:pt idx="309">
                  <c:v>2.8934447765350302</c:v>
                </c:pt>
                <c:pt idx="310">
                  <c:v>2.9719321727752699</c:v>
                </c:pt>
                <c:pt idx="311">
                  <c:v>3.0928955078125</c:v>
                </c:pt>
                <c:pt idx="312">
                  <c:v>3.0550920963287398</c:v>
                </c:pt>
                <c:pt idx="313">
                  <c:v>3.0210936069488499</c:v>
                </c:pt>
                <c:pt idx="314">
                  <c:v>2.8635547161102299</c:v>
                </c:pt>
                <c:pt idx="315">
                  <c:v>2.7288637161254901</c:v>
                </c:pt>
                <c:pt idx="316">
                  <c:v>2.6427173614502002</c:v>
                </c:pt>
                <c:pt idx="317">
                  <c:v>2.6761019229888898</c:v>
                </c:pt>
                <c:pt idx="318">
                  <c:v>2.5984570980071999</c:v>
                </c:pt>
                <c:pt idx="319">
                  <c:v>2.46554732322693</c:v>
                </c:pt>
                <c:pt idx="320">
                  <c:v>2.4993729591369598</c:v>
                </c:pt>
                <c:pt idx="321">
                  <c:v>2.4686410427093501</c:v>
                </c:pt>
                <c:pt idx="322">
                  <c:v>2.4476149082183798</c:v>
                </c:pt>
                <c:pt idx="323">
                  <c:v>2.3559484481811501</c:v>
                </c:pt>
                <c:pt idx="324">
                  <c:v>2.23217868804932</c:v>
                </c:pt>
                <c:pt idx="325">
                  <c:v>2.2303590774536102</c:v>
                </c:pt>
                <c:pt idx="326">
                  <c:v>2.1917576789856001</c:v>
                </c:pt>
                <c:pt idx="327">
                  <c:v>2.2058703899383501</c:v>
                </c:pt>
                <c:pt idx="328">
                  <c:v>2.1920003890991202</c:v>
                </c:pt>
                <c:pt idx="329">
                  <c:v>2.30395603179932</c:v>
                </c:pt>
                <c:pt idx="330">
                  <c:v>2.3236033916473402</c:v>
                </c:pt>
                <c:pt idx="331">
                  <c:v>2.30892777442932</c:v>
                </c:pt>
                <c:pt idx="332">
                  <c:v>2.3304316997528098</c:v>
                </c:pt>
                <c:pt idx="334">
                  <c:v>2.3274457454681401</c:v>
                </c:pt>
                <c:pt idx="335">
                  <c:v>2.2112407684326199</c:v>
                </c:pt>
                <c:pt idx="336">
                  <c:v>2.1248357295989999</c:v>
                </c:pt>
                <c:pt idx="337">
                  <c:v>2.1927144527435298</c:v>
                </c:pt>
                <c:pt idx="338">
                  <c:v>2.2287354469299299</c:v>
                </c:pt>
                <c:pt idx="339">
                  <c:v>2.1062033176422101</c:v>
                </c:pt>
                <c:pt idx="340">
                  <c:v>2.0086622238159202</c:v>
                </c:pt>
                <c:pt idx="341">
                  <c:v>1.9741508960723899</c:v>
                </c:pt>
                <c:pt idx="342">
                  <c:v>1.9124006032943699</c:v>
                </c:pt>
                <c:pt idx="343">
                  <c:v>1.82922351360321</c:v>
                </c:pt>
                <c:pt idx="344">
                  <c:v>1.88482701778412</c:v>
                </c:pt>
                <c:pt idx="345">
                  <c:v>1.94838106632233</c:v>
                </c:pt>
                <c:pt idx="346">
                  <c:v>1.91591620445251</c:v>
                </c:pt>
                <c:pt idx="347">
                  <c:v>1.9968079328537001</c:v>
                </c:pt>
                <c:pt idx="348">
                  <c:v>1.88027155399323</c:v>
                </c:pt>
                <c:pt idx="349">
                  <c:v>1.8341764211654701</c:v>
                </c:pt>
                <c:pt idx="350">
                  <c:v>1.8017817735671999</c:v>
                </c:pt>
                <c:pt idx="351">
                  <c:v>1.82261419296265</c:v>
                </c:pt>
                <c:pt idx="352">
                  <c:v>1.8556901216507</c:v>
                </c:pt>
                <c:pt idx="353">
                  <c:v>1.8519788980484</c:v>
                </c:pt>
                <c:pt idx="354">
                  <c:v>1.8069101572036701</c:v>
                </c:pt>
                <c:pt idx="355">
                  <c:v>1.6883913278579701</c:v>
                </c:pt>
                <c:pt idx="356">
                  <c:v>1.62224149703979</c:v>
                </c:pt>
                <c:pt idx="357">
                  <c:v>1.66665863990784</c:v>
                </c:pt>
                <c:pt idx="358">
                  <c:v>1.6534622907638501</c:v>
                </c:pt>
                <c:pt idx="359">
                  <c:v>1.5736556053161601</c:v>
                </c:pt>
                <c:pt idx="360">
                  <c:v>1.47575891017914</c:v>
                </c:pt>
                <c:pt idx="361">
                  <c:v>1.4350827932357799</c:v>
                </c:pt>
                <c:pt idx="362">
                  <c:v>1.2267498970031701</c:v>
                </c:pt>
                <c:pt idx="363">
                  <c:v>1.2420186996460001</c:v>
                </c:pt>
                <c:pt idx="364">
                  <c:v>1.5309054851532</c:v>
                </c:pt>
                <c:pt idx="365">
                  <c:v>1.32641494274139</c:v>
                </c:pt>
                <c:pt idx="366">
                  <c:v>1.19121253490448</c:v>
                </c:pt>
                <c:pt idx="367">
                  <c:v>1.13875424861908</c:v>
                </c:pt>
                <c:pt idx="368">
                  <c:v>1.42586374282837</c:v>
                </c:pt>
                <c:pt idx="369">
                  <c:v>1.32218289375305</c:v>
                </c:pt>
                <c:pt idx="370">
                  <c:v>1.5878109931945801</c:v>
                </c:pt>
                <c:pt idx="371">
                  <c:v>1.7544034719467201</c:v>
                </c:pt>
                <c:pt idx="372">
                  <c:v>1.7909086942672701</c:v>
                </c:pt>
                <c:pt idx="373">
                  <c:v>1.88716888427734</c:v>
                </c:pt>
                <c:pt idx="374">
                  <c:v>1.73664546012878</c:v>
                </c:pt>
                <c:pt idx="375">
                  <c:v>1.5968368053436299</c:v>
                </c:pt>
                <c:pt idx="376">
                  <c:v>1.59958803653717</c:v>
                </c:pt>
                <c:pt idx="377">
                  <c:v>1.65102362632751</c:v>
                </c:pt>
                <c:pt idx="378">
                  <c:v>1.73871493339539</c:v>
                </c:pt>
                <c:pt idx="379">
                  <c:v>1.8298316001892101</c:v>
                </c:pt>
                <c:pt idx="380">
                  <c:v>1.73614537715912</c:v>
                </c:pt>
                <c:pt idx="381">
                  <c:v>1.7159328460693399</c:v>
                </c:pt>
                <c:pt idx="382">
                  <c:v>1.7891035079956099</c:v>
                </c:pt>
                <c:pt idx="383">
                  <c:v>1.83848881721497</c:v>
                </c:pt>
                <c:pt idx="384">
                  <c:v>1.81256103515625</c:v>
                </c:pt>
                <c:pt idx="385">
                  <c:v>1.9309309720993</c:v>
                </c:pt>
                <c:pt idx="386">
                  <c:v>1.86664962768555</c:v>
                </c:pt>
                <c:pt idx="387">
                  <c:v>1.72741138935089</c:v>
                </c:pt>
                <c:pt idx="388">
                  <c:v>1.67778444290161</c:v>
                </c:pt>
                <c:pt idx="389">
                  <c:v>1.92295229434967</c:v>
                </c:pt>
                <c:pt idx="390">
                  <c:v>2.0280296802520801</c:v>
                </c:pt>
                <c:pt idx="391">
                  <c:v>1.93257403373718</c:v>
                </c:pt>
                <c:pt idx="392">
                  <c:v>1.9571834802627599</c:v>
                </c:pt>
                <c:pt idx="393">
                  <c:v>1.9875971078872701</c:v>
                </c:pt>
                <c:pt idx="394">
                  <c:v>2.01973533630371</c:v>
                </c:pt>
                <c:pt idx="395">
                  <c:v>2.0221939086914098</c:v>
                </c:pt>
                <c:pt idx="396">
                  <c:v>1.97070825099945</c:v>
                </c:pt>
                <c:pt idx="397">
                  <c:v>1.9028630256652801</c:v>
                </c:pt>
                <c:pt idx="398">
                  <c:v>1.8123805522918699</c:v>
                </c:pt>
                <c:pt idx="399">
                  <c:v>1.69784355163574</c:v>
                </c:pt>
                <c:pt idx="400">
                  <c:v>1.6978805065155</c:v>
                </c:pt>
                <c:pt idx="401">
                  <c:v>1.74710404872894</c:v>
                </c:pt>
                <c:pt idx="402">
                  <c:v>1.68693864345551</c:v>
                </c:pt>
                <c:pt idx="403">
                  <c:v>1.71205866336823</c:v>
                </c:pt>
                <c:pt idx="404">
                  <c:v>1.58666884899139</c:v>
                </c:pt>
                <c:pt idx="405">
                  <c:v>1.6183004379272501</c:v>
                </c:pt>
                <c:pt idx="406">
                  <c:v>1.6367380619049099</c:v>
                </c:pt>
                <c:pt idx="407">
                  <c:v>1.69307053089142</c:v>
                </c:pt>
                <c:pt idx="408">
                  <c:v>1.7110517024993901</c:v>
                </c:pt>
                <c:pt idx="409">
                  <c:v>1.6481698751449601</c:v>
                </c:pt>
                <c:pt idx="410">
                  <c:v>1.7016704082489</c:v>
                </c:pt>
                <c:pt idx="411">
                  <c:v>1.78836297988892</c:v>
                </c:pt>
                <c:pt idx="412">
                  <c:v>1.8128232955932599</c:v>
                </c:pt>
                <c:pt idx="413">
                  <c:v>2.0777850151061998</c:v>
                </c:pt>
                <c:pt idx="414">
                  <c:v>2.3439297676086399</c:v>
                </c:pt>
                <c:pt idx="415">
                  <c:v>2.5428948402404798</c:v>
                </c:pt>
                <c:pt idx="416">
                  <c:v>2.5438768863678001</c:v>
                </c:pt>
                <c:pt idx="417">
                  <c:v>2.7625989913940399</c:v>
                </c:pt>
                <c:pt idx="418">
                  <c:v>2.7387859821319598</c:v>
                </c:pt>
                <c:pt idx="419">
                  <c:v>2.6095664501190199</c:v>
                </c:pt>
                <c:pt idx="420">
                  <c:v>2.55073022842407</c:v>
                </c:pt>
                <c:pt idx="421">
                  <c:v>2.4758424758911102</c:v>
                </c:pt>
                <c:pt idx="422">
                  <c:v>2.5305991172790501</c:v>
                </c:pt>
                <c:pt idx="423">
                  <c:v>2.7820973396301301</c:v>
                </c:pt>
                <c:pt idx="424">
                  <c:v>2.8450129032135001</c:v>
                </c:pt>
                <c:pt idx="425">
                  <c:v>2.9880170822143599</c:v>
                </c:pt>
                <c:pt idx="426">
                  <c:v>2.89675092697144</c:v>
                </c:pt>
                <c:pt idx="427">
                  <c:v>2.8318443298339799</c:v>
                </c:pt>
                <c:pt idx="428">
                  <c:v>2.6340899467468302</c:v>
                </c:pt>
                <c:pt idx="429">
                  <c:v>2.8875215053558301</c:v>
                </c:pt>
                <c:pt idx="430">
                  <c:v>3.0742223262786901</c:v>
                </c:pt>
                <c:pt idx="431">
                  <c:v>3.17092061042786</c:v>
                </c:pt>
                <c:pt idx="432">
                  <c:v>3.07283663749695</c:v>
                </c:pt>
                <c:pt idx="433">
                  <c:v>3.8952419757843</c:v>
                </c:pt>
                <c:pt idx="434">
                  <c:v>3.9305217266082799</c:v>
                </c:pt>
                <c:pt idx="435">
                  <c:v>3.94219946861267</c:v>
                </c:pt>
                <c:pt idx="436">
                  <c:v>3.8583893775939901</c:v>
                </c:pt>
                <c:pt idx="437">
                  <c:v>4.0733757019043004</c:v>
                </c:pt>
                <c:pt idx="438">
                  <c:v>4.0515627861022896</c:v>
                </c:pt>
                <c:pt idx="439">
                  <c:v>3.8889112472534202</c:v>
                </c:pt>
                <c:pt idx="440">
                  <c:v>3.7280035018920898</c:v>
                </c:pt>
                <c:pt idx="441">
                  <c:v>3.7117688655853298</c:v>
                </c:pt>
                <c:pt idx="442">
                  <c:v>3.6397745609283398</c:v>
                </c:pt>
                <c:pt idx="443">
                  <c:v>3.6430401802063002</c:v>
                </c:pt>
                <c:pt idx="444">
                  <c:v>3.7231373786926301</c:v>
                </c:pt>
                <c:pt idx="445">
                  <c:v>3.78151535987854</c:v>
                </c:pt>
                <c:pt idx="446">
                  <c:v>3.9176926612853999</c:v>
                </c:pt>
                <c:pt idx="447">
                  <c:v>3.8602545261383101</c:v>
                </c:pt>
                <c:pt idx="448">
                  <c:v>3.9797706604003902</c:v>
                </c:pt>
                <c:pt idx="449">
                  <c:v>3.9644944667816202</c:v>
                </c:pt>
                <c:pt idx="450">
                  <c:v>4.0142698287963903</c:v>
                </c:pt>
                <c:pt idx="451">
                  <c:v>4.1057581901550302</c:v>
                </c:pt>
                <c:pt idx="452">
                  <c:v>3.9786713123321502</c:v>
                </c:pt>
                <c:pt idx="453">
                  <c:v>3.97525882720947</c:v>
                </c:pt>
                <c:pt idx="454">
                  <c:v>4.2213220596313503</c:v>
                </c:pt>
                <c:pt idx="455">
                  <c:v>4.2247805595397896</c:v>
                </c:pt>
                <c:pt idx="456">
                  <c:v>4.5615396499633798</c:v>
                </c:pt>
                <c:pt idx="457">
                  <c:v>4.5366892814636204</c:v>
                </c:pt>
                <c:pt idx="458">
                  <c:v>4.4715094566345197</c:v>
                </c:pt>
                <c:pt idx="459">
                  <c:v>4.6319727897643999</c:v>
                </c:pt>
                <c:pt idx="460">
                  <c:v>4.5749878883361799</c:v>
                </c:pt>
                <c:pt idx="461">
                  <c:v>4.7236399650573704</c:v>
                </c:pt>
                <c:pt idx="462">
                  <c:v>4.7886376380920401</c:v>
                </c:pt>
                <c:pt idx="463">
                  <c:v>4.7645902633667001</c:v>
                </c:pt>
                <c:pt idx="464">
                  <c:v>4.7895779609680202</c:v>
                </c:pt>
                <c:pt idx="465">
                  <c:v>4.6783304214477504</c:v>
                </c:pt>
                <c:pt idx="466">
                  <c:v>4.7741141319274902</c:v>
                </c:pt>
                <c:pt idx="467">
                  <c:v>4.8837308883667001</c:v>
                </c:pt>
                <c:pt idx="468">
                  <c:v>4.9780039787292498</c:v>
                </c:pt>
                <c:pt idx="469">
                  <c:v>5.0738935470581099</c:v>
                </c:pt>
                <c:pt idx="470">
                  <c:v>5.1589159965515101</c:v>
                </c:pt>
                <c:pt idx="471">
                  <c:v>5.1666417121887198</c:v>
                </c:pt>
                <c:pt idx="472">
                  <c:v>5.2820601463317898</c:v>
                </c:pt>
                <c:pt idx="473">
                  <c:v>5.3544445037841797</c:v>
                </c:pt>
                <c:pt idx="474">
                  <c:v>5.1432089805603001</c:v>
                </c:pt>
                <c:pt idx="475">
                  <c:v>5.0950388908386204</c:v>
                </c:pt>
                <c:pt idx="476">
                  <c:v>4.9849200248718297</c:v>
                </c:pt>
                <c:pt idx="477">
                  <c:v>4.8625135421752903</c:v>
                </c:pt>
                <c:pt idx="478">
                  <c:v>4.7983727455139196</c:v>
                </c:pt>
                <c:pt idx="479">
                  <c:v>4.6573643684387198</c:v>
                </c:pt>
                <c:pt idx="480">
                  <c:v>4.6888608932495099</c:v>
                </c:pt>
                <c:pt idx="481">
                  <c:v>4.7681374549865696</c:v>
                </c:pt>
                <c:pt idx="482">
                  <c:v>5.0068669319152797</c:v>
                </c:pt>
                <c:pt idx="483">
                  <c:v>4.8357615470886204</c:v>
                </c:pt>
                <c:pt idx="484">
                  <c:v>4.7951159477233896</c:v>
                </c:pt>
                <c:pt idx="485">
                  <c:v>4.8581743240356401</c:v>
                </c:pt>
                <c:pt idx="486">
                  <c:v>4.8640079498290998</c:v>
                </c:pt>
                <c:pt idx="487">
                  <c:v>4.8423032760620099</c:v>
                </c:pt>
                <c:pt idx="488">
                  <c:v>4.9362978935241699</c:v>
                </c:pt>
                <c:pt idx="489">
                  <c:v>5.0336179733276403</c:v>
                </c:pt>
                <c:pt idx="490">
                  <c:v>4.8542175292968803</c:v>
                </c:pt>
                <c:pt idx="491">
                  <c:v>4.7512178421020499</c:v>
                </c:pt>
                <c:pt idx="492">
                  <c:v>4.5300383567810103</c:v>
                </c:pt>
                <c:pt idx="493">
                  <c:v>4.4779543876647896</c:v>
                </c:pt>
                <c:pt idx="494">
                  <c:v>4.69610548019409</c:v>
                </c:pt>
                <c:pt idx="495">
                  <c:v>4.8422789573669398</c:v>
                </c:pt>
                <c:pt idx="496">
                  <c:v>4.8629331588745099</c:v>
                </c:pt>
                <c:pt idx="497">
                  <c:v>4.85665035247803</c:v>
                </c:pt>
                <c:pt idx="498">
                  <c:v>5.0767526626586896</c:v>
                </c:pt>
                <c:pt idx="499">
                  <c:v>5.2905378341674796</c:v>
                </c:pt>
                <c:pt idx="500">
                  <c:v>5.2735962867736799</c:v>
                </c:pt>
                <c:pt idx="501">
                  <c:v>5.2907729148864702</c:v>
                </c:pt>
                <c:pt idx="502">
                  <c:v>5.0306482315063503</c:v>
                </c:pt>
                <c:pt idx="503">
                  <c:v>5.1999168395996103</c:v>
                </c:pt>
                <c:pt idx="504">
                  <c:v>5.0933065414428702</c:v>
                </c:pt>
                <c:pt idx="505">
                  <c:v>5.1222720146179199</c:v>
                </c:pt>
                <c:pt idx="506">
                  <c:v>5.2150416374206499</c:v>
                </c:pt>
                <c:pt idx="507">
                  <c:v>5.5253825187683097</c:v>
                </c:pt>
                <c:pt idx="508">
                  <c:v>5.6630368232727104</c:v>
                </c:pt>
                <c:pt idx="509">
                  <c:v>5.9085497856140101</c:v>
                </c:pt>
                <c:pt idx="510">
                  <c:v>6.1324634552001998</c:v>
                </c:pt>
                <c:pt idx="511">
                  <c:v>5.8540596961975098</c:v>
                </c:pt>
                <c:pt idx="512">
                  <c:v>5.7290449142456099</c:v>
                </c:pt>
                <c:pt idx="513">
                  <c:v>5.7041583061218297</c:v>
                </c:pt>
                <c:pt idx="514">
                  <c:v>6.0241541862487802</c:v>
                </c:pt>
                <c:pt idx="515">
                  <c:v>6.2839555740356401</c:v>
                </c:pt>
                <c:pt idx="516">
                  <c:v>6.2503018379211399</c:v>
                </c:pt>
                <c:pt idx="517">
                  <c:v>6.3015151023864702</c:v>
                </c:pt>
                <c:pt idx="519">
                  <c:v>6.8538684844970703</c:v>
                </c:pt>
                <c:pt idx="520">
                  <c:v>6.7367472648620597</c:v>
                </c:pt>
                <c:pt idx="521">
                  <c:v>6.8449249267578098</c:v>
                </c:pt>
                <c:pt idx="522">
                  <c:v>6.8429298400878897</c:v>
                </c:pt>
                <c:pt idx="524">
                  <c:v>7.1212806701660201</c:v>
                </c:pt>
                <c:pt idx="525">
                  <c:v>6.4863185882568404</c:v>
                </c:pt>
                <c:pt idx="526">
                  <c:v>6.3426985740661603</c:v>
                </c:pt>
                <c:pt idx="527">
                  <c:v>6.9395785331726101</c:v>
                </c:pt>
                <c:pt idx="528">
                  <c:v>7.20192575454712</c:v>
                </c:pt>
                <c:pt idx="529">
                  <c:v>7.8753142356872603</c:v>
                </c:pt>
                <c:pt idx="530">
                  <c:v>9.3546466827392596</c:v>
                </c:pt>
                <c:pt idx="531">
                  <c:v>7.6582331657409703</c:v>
                </c:pt>
                <c:pt idx="532">
                  <c:v>7.59812307357788</c:v>
                </c:pt>
                <c:pt idx="533">
                  <c:v>7.1484208106994602</c:v>
                </c:pt>
                <c:pt idx="534">
                  <c:v>6.7318482398986799</c:v>
                </c:pt>
                <c:pt idx="535">
                  <c:v>7.2231426239013699</c:v>
                </c:pt>
                <c:pt idx="536">
                  <c:v>7.1850876808166504</c:v>
                </c:pt>
                <c:pt idx="537">
                  <c:v>7.1493172645568803</c:v>
                </c:pt>
                <c:pt idx="538">
                  <c:v>7.66036081314087</c:v>
                </c:pt>
                <c:pt idx="539">
                  <c:v>7.1698269844055202</c:v>
                </c:pt>
                <c:pt idx="540">
                  <c:v>6.9507598876953098</c:v>
                </c:pt>
                <c:pt idx="541">
                  <c:v>6.9891505241393999</c:v>
                </c:pt>
                <c:pt idx="542">
                  <c:v>7.4253110885620099</c:v>
                </c:pt>
                <c:pt idx="543">
                  <c:v>7.0472717285156303</c:v>
                </c:pt>
                <c:pt idx="544">
                  <c:v>6.4089717864990199</c:v>
                </c:pt>
                <c:pt idx="545">
                  <c:v>6.439453125</c:v>
                </c:pt>
                <c:pt idx="546">
                  <c:v>6.2951960563659703</c:v>
                </c:pt>
                <c:pt idx="547">
                  <c:v>6.3507599830627397</c:v>
                </c:pt>
                <c:pt idx="548">
                  <c:v>6.4849681854248002</c:v>
                </c:pt>
                <c:pt idx="549">
                  <c:v>7.12325191497803</c:v>
                </c:pt>
                <c:pt idx="550">
                  <c:v>6.7614493370056197</c:v>
                </c:pt>
                <c:pt idx="551">
                  <c:v>6.5880084037780797</c:v>
                </c:pt>
                <c:pt idx="552">
                  <c:v>6.1734471321106001</c:v>
                </c:pt>
                <c:pt idx="553">
                  <c:v>6.2553448677062997</c:v>
                </c:pt>
                <c:pt idx="554">
                  <c:v>5.8769578933715803</c:v>
                </c:pt>
                <c:pt idx="555">
                  <c:v>5.9278745651245099</c:v>
                </c:pt>
                <c:pt idx="556">
                  <c:v>5.8328580856323198</c:v>
                </c:pt>
                <c:pt idx="557">
                  <c:v>6.1375021934509304</c:v>
                </c:pt>
                <c:pt idx="558">
                  <c:v>5.8770823478698704</c:v>
                </c:pt>
                <c:pt idx="559">
                  <c:v>5.6834993362426802</c:v>
                </c:pt>
                <c:pt idx="560">
                  <c:v>5.7836785316467303</c:v>
                </c:pt>
                <c:pt idx="561">
                  <c:v>5.8382210731506303</c:v>
                </c:pt>
                <c:pt idx="562">
                  <c:v>5.6848683357238796</c:v>
                </c:pt>
                <c:pt idx="563">
                  <c:v>5.5519881248474103</c:v>
                </c:pt>
                <c:pt idx="564">
                  <c:v>5.6765265464782697</c:v>
                </c:pt>
                <c:pt idx="565">
                  <c:v>5.62087154388428</c:v>
                </c:pt>
                <c:pt idx="566">
                  <c:v>5.4874501228332502</c:v>
                </c:pt>
                <c:pt idx="567">
                  <c:v>5.5857696533203098</c:v>
                </c:pt>
                <c:pt idx="568">
                  <c:v>5.71478271484375</c:v>
                </c:pt>
                <c:pt idx="569">
                  <c:v>5.6043448448181197</c:v>
                </c:pt>
                <c:pt idx="570">
                  <c:v>5.9001946449279803</c:v>
                </c:pt>
                <c:pt idx="571">
                  <c:v>6.1606092453002903</c:v>
                </c:pt>
                <c:pt idx="572">
                  <c:v>6.3648982048034703</c:v>
                </c:pt>
                <c:pt idx="573">
                  <c:v>6.46193504333496</c:v>
                </c:pt>
                <c:pt idx="574">
                  <c:v>6.2670054435729998</c:v>
                </c:pt>
                <c:pt idx="575">
                  <c:v>6.15675926208496</c:v>
                </c:pt>
                <c:pt idx="576">
                  <c:v>6.3073139190673801</c:v>
                </c:pt>
                <c:pt idx="577">
                  <c:v>6.20047807693481</c:v>
                </c:pt>
                <c:pt idx="578">
                  <c:v>6.0215997695922896</c:v>
                </c:pt>
                <c:pt idx="579">
                  <c:v>6.30843305587769</c:v>
                </c:pt>
                <c:pt idx="580">
                  <c:v>6.38450384140015</c:v>
                </c:pt>
                <c:pt idx="581">
                  <c:v>6.4334387779235804</c:v>
                </c:pt>
                <c:pt idx="582">
                  <c:v>6.3307762145996103</c:v>
                </c:pt>
                <c:pt idx="583">
                  <c:v>6.4605512619018599</c:v>
                </c:pt>
                <c:pt idx="584">
                  <c:v>6.3558912277221697</c:v>
                </c:pt>
                <c:pt idx="585">
                  <c:v>6.4538545608520499</c:v>
                </c:pt>
                <c:pt idx="586">
                  <c:v>6.5268568992614702</c:v>
                </c:pt>
                <c:pt idx="587">
                  <c:v>6.6144242286682102</c:v>
                </c:pt>
                <c:pt idx="590">
                  <c:v>6.8824896812439</c:v>
                </c:pt>
                <c:pt idx="591">
                  <c:v>6.70778465270996</c:v>
                </c:pt>
                <c:pt idx="592">
                  <c:v>6.6282095909118697</c:v>
                </c:pt>
                <c:pt idx="593">
                  <c:v>6.6008334159851101</c:v>
                </c:pt>
                <c:pt idx="594">
                  <c:v>6.85648536682129</c:v>
                </c:pt>
                <c:pt idx="595">
                  <c:v>6.8294858932495099</c:v>
                </c:pt>
                <c:pt idx="596">
                  <c:v>6.9074420928955096</c:v>
                </c:pt>
                <c:pt idx="597">
                  <c:v>7.1025753021240199</c:v>
                </c:pt>
                <c:pt idx="598">
                  <c:v>7.2108659744262704</c:v>
                </c:pt>
                <c:pt idx="599">
                  <c:v>7.3830370903015101</c:v>
                </c:pt>
                <c:pt idx="600">
                  <c:v>7.4271073341369602</c:v>
                </c:pt>
                <c:pt idx="601">
                  <c:v>7.4422678947448704</c:v>
                </c:pt>
                <c:pt idx="602">
                  <c:v>7.5223121643066397</c:v>
                </c:pt>
                <c:pt idx="603">
                  <c:v>7.1062569618225098</c:v>
                </c:pt>
                <c:pt idx="604">
                  <c:v>7.0809283256530797</c:v>
                </c:pt>
                <c:pt idx="605">
                  <c:v>7.5816664695739702</c:v>
                </c:pt>
                <c:pt idx="606">
                  <c:v>7.6559958457946804</c:v>
                </c:pt>
                <c:pt idx="607">
                  <c:v>7.98907470703125</c:v>
                </c:pt>
                <c:pt idx="608">
                  <c:v>8.1992130279540998</c:v>
                </c:pt>
                <c:pt idx="609">
                  <c:v>8.4151363372802699</c:v>
                </c:pt>
                <c:pt idx="610">
                  <c:v>8.1123828887939506</c:v>
                </c:pt>
                <c:pt idx="611">
                  <c:v>8.4284734725952095</c:v>
                </c:pt>
                <c:pt idx="612">
                  <c:v>8.59997463226318</c:v>
                </c:pt>
                <c:pt idx="613">
                  <c:v>8.5319185256958008</c:v>
                </c:pt>
                <c:pt idx="614">
                  <c:v>8.9526453018188494</c:v>
                </c:pt>
                <c:pt idx="615">
                  <c:v>9.1826324462890607</c:v>
                </c:pt>
                <c:pt idx="616">
                  <c:v>9.3426008224487305</c:v>
                </c:pt>
                <c:pt idx="617">
                  <c:v>9.2897624969482404</c:v>
                </c:pt>
                <c:pt idx="618">
                  <c:v>9.5433988571166992</c:v>
                </c:pt>
                <c:pt idx="619">
                  <c:v>9.3669147491455096</c:v>
                </c:pt>
                <c:pt idx="620">
                  <c:v>8.8833990097045898</c:v>
                </c:pt>
                <c:pt idx="621">
                  <c:v>8.0824508666992205</c:v>
                </c:pt>
                <c:pt idx="622">
                  <c:v>8.8426256179809606</c:v>
                </c:pt>
                <c:pt idx="623">
                  <c:v>8.8475275039672905</c:v>
                </c:pt>
                <c:pt idx="624">
                  <c:v>8.8618698120117205</c:v>
                </c:pt>
                <c:pt idx="625">
                  <c:v>9.3994436264038104</c:v>
                </c:pt>
                <c:pt idx="626">
                  <c:v>9.4387674331665004</c:v>
                </c:pt>
                <c:pt idx="627">
                  <c:v>9.00164699554443</c:v>
                </c:pt>
                <c:pt idx="628">
                  <c:v>8.9037199020385707</c:v>
                </c:pt>
                <c:pt idx="629">
                  <c:v>8.9987888336181605</c:v>
                </c:pt>
                <c:pt idx="630">
                  <c:v>9.2933120727539098</c:v>
                </c:pt>
                <c:pt idx="631">
                  <c:v>9.2016439437866193</c:v>
                </c:pt>
                <c:pt idx="632">
                  <c:v>9.13189792633057</c:v>
                </c:pt>
                <c:pt idx="633">
                  <c:v>9.1941452026367205</c:v>
                </c:pt>
                <c:pt idx="634">
                  <c:v>9.4612064361572301</c:v>
                </c:pt>
                <c:pt idx="635">
                  <c:v>9.9143905639648402</c:v>
                </c:pt>
                <c:pt idx="636">
                  <c:v>10.097071647644</c:v>
                </c:pt>
                <c:pt idx="637">
                  <c:v>10.2283067703247</c:v>
                </c:pt>
                <c:pt idx="638">
                  <c:v>9.8766937255859393</c:v>
                </c:pt>
                <c:pt idx="639">
                  <c:v>10.2291116714478</c:v>
                </c:pt>
                <c:pt idx="640">
                  <c:v>9.9936857223510707</c:v>
                </c:pt>
                <c:pt idx="641">
                  <c:v>9.8503313064575195</c:v>
                </c:pt>
                <c:pt idx="642">
                  <c:v>9.8764333724975604</c:v>
                </c:pt>
                <c:pt idx="643">
                  <c:v>10.2177391052246</c:v>
                </c:pt>
                <c:pt idx="644">
                  <c:v>10.339134216308601</c:v>
                </c:pt>
                <c:pt idx="645">
                  <c:v>10.7511959075928</c:v>
                </c:pt>
                <c:pt idx="646">
                  <c:v>11.0225009918213</c:v>
                </c:pt>
                <c:pt idx="647">
                  <c:v>11.1910600662231</c:v>
                </c:pt>
                <c:pt idx="648">
                  <c:v>11.322190284729</c:v>
                </c:pt>
                <c:pt idx="649">
                  <c:v>11.280809402465801</c:v>
                </c:pt>
                <c:pt idx="650">
                  <c:v>11.6705532073975</c:v>
                </c:pt>
                <c:pt idx="651">
                  <c:v>12.0258951187134</c:v>
                </c:pt>
                <c:pt idx="652">
                  <c:v>12.546799659729</c:v>
                </c:pt>
                <c:pt idx="653">
                  <c:v>12.4538974761963</c:v>
                </c:pt>
                <c:pt idx="654">
                  <c:v>13.186804771423301</c:v>
                </c:pt>
                <c:pt idx="655">
                  <c:v>11.8133401870728</c:v>
                </c:pt>
                <c:pt idx="656">
                  <c:v>11.1700172424316</c:v>
                </c:pt>
                <c:pt idx="657">
                  <c:v>11.558180809021</c:v>
                </c:pt>
                <c:pt idx="658">
                  <c:v>12.743385314941399</c:v>
                </c:pt>
                <c:pt idx="659">
                  <c:v>12.039334297180201</c:v>
                </c:pt>
                <c:pt idx="660">
                  <c:v>12.2338514328003</c:v>
                </c:pt>
                <c:pt idx="661">
                  <c:v>12.0586614608765</c:v>
                </c:pt>
                <c:pt idx="662">
                  <c:v>11.6967525482178</c:v>
                </c:pt>
                <c:pt idx="663">
                  <c:v>12.0512685775757</c:v>
                </c:pt>
                <c:pt idx="664">
                  <c:v>12.3230857849121</c:v>
                </c:pt>
                <c:pt idx="665">
                  <c:v>12.1362009048462</c:v>
                </c:pt>
                <c:pt idx="666">
                  <c:v>12.420469284057599</c:v>
                </c:pt>
                <c:pt idx="667">
                  <c:v>12.4593706130981</c:v>
                </c:pt>
                <c:pt idx="668">
                  <c:v>12.251427650451699</c:v>
                </c:pt>
                <c:pt idx="669">
                  <c:v>12.7614498138428</c:v>
                </c:pt>
                <c:pt idx="670">
                  <c:v>13.011669158935501</c:v>
                </c:pt>
                <c:pt idx="671">
                  <c:v>13.7739152908325</c:v>
                </c:pt>
                <c:pt idx="672">
                  <c:v>14.332155227661101</c:v>
                </c:pt>
                <c:pt idx="673">
                  <c:v>14.174442291259799</c:v>
                </c:pt>
                <c:pt idx="674">
                  <c:v>14.6565971374512</c:v>
                </c:pt>
                <c:pt idx="675">
                  <c:v>14.3317308425903</c:v>
                </c:pt>
                <c:pt idx="676">
                  <c:v>14.651750564575201</c:v>
                </c:pt>
                <c:pt idx="677">
                  <c:v>14.8719882965088</c:v>
                </c:pt>
                <c:pt idx="678">
                  <c:v>14.8569488525391</c:v>
                </c:pt>
                <c:pt idx="679">
                  <c:v>14.7137203216553</c:v>
                </c:pt>
                <c:pt idx="680">
                  <c:v>15.3315935134888</c:v>
                </c:pt>
                <c:pt idx="681">
                  <c:v>15.814171791076699</c:v>
                </c:pt>
                <c:pt idx="682">
                  <c:v>15.7611837387085</c:v>
                </c:pt>
                <c:pt idx="683">
                  <c:v>15.417778015136699</c:v>
                </c:pt>
                <c:pt idx="684">
                  <c:v>16.558883666992202</c:v>
                </c:pt>
                <c:pt idx="685">
                  <c:v>16.105445861816399</c:v>
                </c:pt>
                <c:pt idx="686">
                  <c:v>15.5715894699097</c:v>
                </c:pt>
                <c:pt idx="687">
                  <c:v>13.816912651061999</c:v>
                </c:pt>
                <c:pt idx="688">
                  <c:v>14.373777389526399</c:v>
                </c:pt>
                <c:pt idx="689">
                  <c:v>14.3407039642334</c:v>
                </c:pt>
                <c:pt idx="690">
                  <c:v>15.4514245986938</c:v>
                </c:pt>
                <c:pt idx="691">
                  <c:v>15.616889953613301</c:v>
                </c:pt>
                <c:pt idx="692">
                  <c:v>15.763522148132299</c:v>
                </c:pt>
                <c:pt idx="693">
                  <c:v>16.517091751098601</c:v>
                </c:pt>
                <c:pt idx="694">
                  <c:v>17.168584823608398</c:v>
                </c:pt>
                <c:pt idx="695">
                  <c:v>17.414028167724599</c:v>
                </c:pt>
                <c:pt idx="696">
                  <c:v>17.421510696411101</c:v>
                </c:pt>
                <c:pt idx="697">
                  <c:v>18.060317993164102</c:v>
                </c:pt>
                <c:pt idx="698">
                  <c:v>17.930923461914102</c:v>
                </c:pt>
                <c:pt idx="699">
                  <c:v>18.385837554931602</c:v>
                </c:pt>
                <c:pt idx="700">
                  <c:v>18.6995849609375</c:v>
                </c:pt>
                <c:pt idx="701">
                  <c:v>19.1361598968506</c:v>
                </c:pt>
                <c:pt idx="702">
                  <c:v>19.603584289550799</c:v>
                </c:pt>
                <c:pt idx="703">
                  <c:v>20.0474548339844</c:v>
                </c:pt>
                <c:pt idx="704">
                  <c:v>21.2007751464844</c:v>
                </c:pt>
                <c:pt idx="705">
                  <c:v>22.740894317626999</c:v>
                </c:pt>
                <c:pt idx="706">
                  <c:v>24.477092742919901</c:v>
                </c:pt>
                <c:pt idx="707">
                  <c:v>21.801486968994102</c:v>
                </c:pt>
                <c:pt idx="708">
                  <c:v>22.3654460906982</c:v>
                </c:pt>
                <c:pt idx="709">
                  <c:v>25.8743572235107</c:v>
                </c:pt>
                <c:pt idx="710">
                  <c:v>25.342700958251999</c:v>
                </c:pt>
                <c:pt idx="711">
                  <c:v>24.547105789184599</c:v>
                </c:pt>
                <c:pt idx="712">
                  <c:v>23.9616584777832</c:v>
                </c:pt>
                <c:pt idx="713">
                  <c:v>24.107570648193398</c:v>
                </c:pt>
                <c:pt idx="714">
                  <c:v>26.213678359985401</c:v>
                </c:pt>
                <c:pt idx="715">
                  <c:v>26.888889312744102</c:v>
                </c:pt>
                <c:pt idx="716">
                  <c:v>29.423713684081999</c:v>
                </c:pt>
                <c:pt idx="717">
                  <c:v>33.1766967773438</c:v>
                </c:pt>
                <c:pt idx="718">
                  <c:v>31.804519653320298</c:v>
                </c:pt>
                <c:pt idx="719">
                  <c:v>32.909255981445298</c:v>
                </c:pt>
                <c:pt idx="720">
                  <c:v>39.4189262390137</c:v>
                </c:pt>
                <c:pt idx="721">
                  <c:v>36.632148742675803</c:v>
                </c:pt>
                <c:pt idx="722">
                  <c:v>32.6851806640625</c:v>
                </c:pt>
                <c:pt idx="723">
                  <c:v>29.690553665161101</c:v>
                </c:pt>
                <c:pt idx="724">
                  <c:v>28.840610504150401</c:v>
                </c:pt>
                <c:pt idx="725">
                  <c:v>29.031000137329102</c:v>
                </c:pt>
                <c:pt idx="726">
                  <c:v>31.780000686645501</c:v>
                </c:pt>
                <c:pt idx="727">
                  <c:v>34.727001190185497</c:v>
                </c:pt>
                <c:pt idx="728">
                  <c:v>31.875</c:v>
                </c:pt>
                <c:pt idx="729">
                  <c:v>31.958000183105501</c:v>
                </c:pt>
                <c:pt idx="730">
                  <c:v>30.712999343872099</c:v>
                </c:pt>
                <c:pt idx="731">
                  <c:v>31.920000076293899</c:v>
                </c:pt>
                <c:pt idx="732">
                  <c:v>30.211999893188501</c:v>
                </c:pt>
                <c:pt idx="733">
                  <c:v>29.826999664306602</c:v>
                </c:pt>
                <c:pt idx="734">
                  <c:v>30.186000823974599</c:v>
                </c:pt>
                <c:pt idx="735">
                  <c:v>30.086000442504901</c:v>
                </c:pt>
                <c:pt idx="736">
                  <c:v>29.520999908447301</c:v>
                </c:pt>
                <c:pt idx="737">
                  <c:v>29.4839992523193</c:v>
                </c:pt>
                <c:pt idx="738">
                  <c:v>29.4839992523193</c:v>
                </c:pt>
                <c:pt idx="739">
                  <c:v>22.306999206543001</c:v>
                </c:pt>
                <c:pt idx="740">
                  <c:v>23.000999450683601</c:v>
                </c:pt>
                <c:pt idx="741">
                  <c:v>26.0090007781982</c:v>
                </c:pt>
                <c:pt idx="742">
                  <c:v>24.856000900268601</c:v>
                </c:pt>
                <c:pt idx="743">
                  <c:v>25.0429992675781</c:v>
                </c:pt>
                <c:pt idx="744">
                  <c:v>26.8920001983643</c:v>
                </c:pt>
                <c:pt idx="745">
                  <c:v>24.673999786376999</c:v>
                </c:pt>
                <c:pt idx="746">
                  <c:v>23.697999954223601</c:v>
                </c:pt>
                <c:pt idx="747">
                  <c:v>25.1709995269775</c:v>
                </c:pt>
                <c:pt idx="748">
                  <c:v>25.406000137329102</c:v>
                </c:pt>
                <c:pt idx="749">
                  <c:v>26.784999847412099</c:v>
                </c:pt>
                <c:pt idx="750">
                  <c:v>31.364000320434599</c:v>
                </c:pt>
                <c:pt idx="751">
                  <c:v>31.5160007476807</c:v>
                </c:pt>
                <c:pt idx="752">
                  <c:v>31.674999237060501</c:v>
                </c:pt>
                <c:pt idx="753">
                  <c:v>28.922000885009801</c:v>
                </c:pt>
                <c:pt idx="754">
                  <c:v>27.718000411987301</c:v>
                </c:pt>
                <c:pt idx="755">
                  <c:v>30.033000946044901</c:v>
                </c:pt>
                <c:pt idx="756">
                  <c:v>30.8589992523193</c:v>
                </c:pt>
                <c:pt idx="757">
                  <c:v>29.122999191284201</c:v>
                </c:pt>
                <c:pt idx="758">
                  <c:v>29.003999710083001</c:v>
                </c:pt>
                <c:pt idx="759">
                  <c:v>29.003999710083001</c:v>
                </c:pt>
                <c:pt idx="760">
                  <c:v>31.840000152587901</c:v>
                </c:pt>
                <c:pt idx="761">
                  <c:v>31.506999969482401</c:v>
                </c:pt>
                <c:pt idx="762">
                  <c:v>29.620000839233398</c:v>
                </c:pt>
                <c:pt idx="763">
                  <c:v>29.753999710083001</c:v>
                </c:pt>
                <c:pt idx="764">
                  <c:v>31.653999328613299</c:v>
                </c:pt>
                <c:pt idx="765">
                  <c:v>33.763999938964801</c:v>
                </c:pt>
                <c:pt idx="766">
                  <c:v>33.2700004577637</c:v>
                </c:pt>
                <c:pt idx="767">
                  <c:v>35.083000183105497</c:v>
                </c:pt>
                <c:pt idx="768">
                  <c:v>38.415000915527301</c:v>
                </c:pt>
                <c:pt idx="769">
                  <c:v>42.450000762939503</c:v>
                </c:pt>
                <c:pt idx="770">
                  <c:v>43.681999206542997</c:v>
                </c:pt>
                <c:pt idx="771">
                  <c:v>47.370998382568402</c:v>
                </c:pt>
                <c:pt idx="772">
                  <c:v>45.284999847412102</c:v>
                </c:pt>
                <c:pt idx="773">
                  <c:v>48.655998229980497</c:v>
                </c:pt>
                <c:pt idx="774">
                  <c:v>59.555999755859403</c:v>
                </c:pt>
                <c:pt idx="775">
                  <c:v>57.418998718261697</c:v>
                </c:pt>
                <c:pt idx="776">
                  <c:v>43.970001220703097</c:v>
                </c:pt>
                <c:pt idx="777">
                  <c:v>35.485000610351598</c:v>
                </c:pt>
                <c:pt idx="778">
                  <c:v>35.314998626708999</c:v>
                </c:pt>
                <c:pt idx="779">
                  <c:v>32.109001159667997</c:v>
                </c:pt>
                <c:pt idx="780">
                  <c:v>31.92799949646</c:v>
                </c:pt>
                <c:pt idx="781">
                  <c:v>31.92799949646</c:v>
                </c:pt>
                <c:pt idx="782">
                  <c:v>26.6480007171631</c:v>
                </c:pt>
                <c:pt idx="783">
                  <c:v>29.438999176025401</c:v>
                </c:pt>
                <c:pt idx="784">
                  <c:v>30.430000305175799</c:v>
                </c:pt>
                <c:pt idx="785">
                  <c:v>31.971000671386701</c:v>
                </c:pt>
                <c:pt idx="786">
                  <c:v>29.3519992828369</c:v>
                </c:pt>
                <c:pt idx="787">
                  <c:v>28.093999862670898</c:v>
                </c:pt>
                <c:pt idx="788">
                  <c:v>26.1940002441406</c:v>
                </c:pt>
                <c:pt idx="789">
                  <c:v>25.173999786376999</c:v>
                </c:pt>
                <c:pt idx="790">
                  <c:v>28.724000930786101</c:v>
                </c:pt>
                <c:pt idx="791">
                  <c:v>29.165000915527301</c:v>
                </c:pt>
                <c:pt idx="792">
                  <c:v>26.058000564575199</c:v>
                </c:pt>
                <c:pt idx="793">
                  <c:v>25.159000396728501</c:v>
                </c:pt>
                <c:pt idx="794">
                  <c:v>25.024000167846701</c:v>
                </c:pt>
                <c:pt idx="795">
                  <c:v>26.284000396728501</c:v>
                </c:pt>
                <c:pt idx="796">
                  <c:v>30.840999603271499</c:v>
                </c:pt>
                <c:pt idx="797">
                  <c:v>30.9370002746582</c:v>
                </c:pt>
                <c:pt idx="798">
                  <c:v>30.3840007781982</c:v>
                </c:pt>
                <c:pt idx="799">
                  <c:v>30.176000595092798</c:v>
                </c:pt>
                <c:pt idx="800">
                  <c:v>29.510999679565401</c:v>
                </c:pt>
                <c:pt idx="801">
                  <c:v>29.510999679565401</c:v>
                </c:pt>
                <c:pt idx="802">
                  <c:v>25.142999649047901</c:v>
                </c:pt>
                <c:pt idx="803">
                  <c:v>25.636999130248999</c:v>
                </c:pt>
                <c:pt idx="804">
                  <c:v>26.8719997406006</c:v>
                </c:pt>
                <c:pt idx="805">
                  <c:v>27.749000549316399</c:v>
                </c:pt>
                <c:pt idx="806">
                  <c:v>26.7329998016357</c:v>
                </c:pt>
                <c:pt idx="807">
                  <c:v>25.899000167846701</c:v>
                </c:pt>
                <c:pt idx="808">
                  <c:v>24.950000762939499</c:v>
                </c:pt>
                <c:pt idx="809">
                  <c:v>25.018999099731399</c:v>
                </c:pt>
                <c:pt idx="810">
                  <c:v>25.900999069213899</c:v>
                </c:pt>
                <c:pt idx="811">
                  <c:v>26.797000885009801</c:v>
                </c:pt>
                <c:pt idx="812">
                  <c:v>23.625</c:v>
                </c:pt>
                <c:pt idx="813">
                  <c:v>23.267999649047901</c:v>
                </c:pt>
                <c:pt idx="814">
                  <c:v>24.981000900268601</c:v>
                </c:pt>
                <c:pt idx="815">
                  <c:v>24.538000106811499</c:v>
                </c:pt>
                <c:pt idx="816">
                  <c:v>26.524999618530298</c:v>
                </c:pt>
                <c:pt idx="817">
                  <c:v>29.521999359130898</c:v>
                </c:pt>
                <c:pt idx="818">
                  <c:v>43.7820014953613</c:v>
                </c:pt>
                <c:pt idx="819">
                  <c:v>38.090999603271499</c:v>
                </c:pt>
                <c:pt idx="820">
                  <c:v>38.090999603271499</c:v>
                </c:pt>
                <c:pt idx="821">
                  <c:v>39.811000823974602</c:v>
                </c:pt>
                <c:pt idx="822">
                  <c:v>53.777000427246101</c:v>
                </c:pt>
                <c:pt idx="823">
                  <c:v>52.228000640869098</c:v>
                </c:pt>
                <c:pt idx="824">
                  <c:v>61.747001647949197</c:v>
                </c:pt>
                <c:pt idx="825">
                  <c:v>72.533996582031307</c:v>
                </c:pt>
                <c:pt idx="826">
                  <c:v>68.499000549316406</c:v>
                </c:pt>
                <c:pt idx="827">
                  <c:v>50.528999328613303</c:v>
                </c:pt>
                <c:pt idx="828">
                  <c:v>40.881999969482401</c:v>
                </c:pt>
                <c:pt idx="829">
                  <c:v>42.241001129150398</c:v>
                </c:pt>
                <c:pt idx="830">
                  <c:v>36.847000122070298</c:v>
                </c:pt>
                <c:pt idx="831">
                  <c:v>37.208000183105497</c:v>
                </c:pt>
                <c:pt idx="832">
                  <c:v>33.188999176025398</c:v>
                </c:pt>
                <c:pt idx="833">
                  <c:v>34.1710014343262</c:v>
                </c:pt>
                <c:pt idx="834">
                  <c:v>33.998001098632798</c:v>
                </c:pt>
                <c:pt idx="835">
                  <c:v>31.2040004730225</c:v>
                </c:pt>
                <c:pt idx="836">
                  <c:v>31.961000442504901</c:v>
                </c:pt>
                <c:pt idx="837">
                  <c:v>37.683998107910199</c:v>
                </c:pt>
                <c:pt idx="838">
                  <c:v>35.998001098632798</c:v>
                </c:pt>
                <c:pt idx="839">
                  <c:v>32.726001739502003</c:v>
                </c:pt>
                <c:pt idx="840">
                  <c:v>33.005001068115199</c:v>
                </c:pt>
                <c:pt idx="841">
                  <c:v>35.298999786377003</c:v>
                </c:pt>
                <c:pt idx="842">
                  <c:v>34.694000244140597</c:v>
                </c:pt>
                <c:pt idx="843">
                  <c:v>34.694000244140597</c:v>
                </c:pt>
                <c:pt idx="844">
                  <c:v>36.344001770019503</c:v>
                </c:pt>
                <c:pt idx="845">
                  <c:v>35.356998443603501</c:v>
                </c:pt>
                <c:pt idx="846">
                  <c:v>34.8619995117188</c:v>
                </c:pt>
                <c:pt idx="847">
                  <c:v>34.230998992919901</c:v>
                </c:pt>
                <c:pt idx="848">
                  <c:v>33.487998962402301</c:v>
                </c:pt>
                <c:pt idx="849">
                  <c:v>33.155998229980497</c:v>
                </c:pt>
                <c:pt idx="850">
                  <c:v>32.021999359130902</c:v>
                </c:pt>
                <c:pt idx="851">
                  <c:v>32.620998382568402</c:v>
                </c:pt>
                <c:pt idx="852">
                  <c:v>33.527999877929702</c:v>
                </c:pt>
                <c:pt idx="853">
                  <c:v>30.238000869751001</c:v>
                </c:pt>
                <c:pt idx="854">
                  <c:v>30.284000396728501</c:v>
                </c:pt>
                <c:pt idx="855">
                  <c:v>29.679000854492202</c:v>
                </c:pt>
                <c:pt idx="856">
                  <c:v>30.045000076293899</c:v>
                </c:pt>
                <c:pt idx="857">
                  <c:v>31.840999603271499</c:v>
                </c:pt>
                <c:pt idx="858">
                  <c:v>29.9939994812012</c:v>
                </c:pt>
                <c:pt idx="859">
                  <c:v>29.166999816894499</c:v>
                </c:pt>
                <c:pt idx="860">
                  <c:v>32.242000579833999</c:v>
                </c:pt>
                <c:pt idx="861">
                  <c:v>33.166999816894503</c:v>
                </c:pt>
                <c:pt idx="862">
                  <c:v>32.721000671386697</c:v>
                </c:pt>
                <c:pt idx="863">
                  <c:v>32.721000671386697</c:v>
                </c:pt>
                <c:pt idx="864">
                  <c:v>30.004999160766602</c:v>
                </c:pt>
                <c:pt idx="865">
                  <c:v>30.794000625610401</c:v>
                </c:pt>
                <c:pt idx="866">
                  <c:v>32.179000854492202</c:v>
                </c:pt>
                <c:pt idx="867">
                  <c:v>32.945999145507798</c:v>
                </c:pt>
                <c:pt idx="868">
                  <c:v>31.617000579833999</c:v>
                </c:pt>
                <c:pt idx="869">
                  <c:v>29.0090007781982</c:v>
                </c:pt>
                <c:pt idx="870">
                  <c:v>30.597000122070298</c:v>
                </c:pt>
                <c:pt idx="871">
                  <c:v>29.117000579833999</c:v>
                </c:pt>
                <c:pt idx="872">
                  <c:v>32.620998382568402</c:v>
                </c:pt>
                <c:pt idx="873">
                  <c:v>29.570999145507798</c:v>
                </c:pt>
                <c:pt idx="874">
                  <c:v>28.3659992218018</c:v>
                </c:pt>
                <c:pt idx="875">
                  <c:v>29.1350002288818</c:v>
                </c:pt>
                <c:pt idx="876">
                  <c:v>29.180000305175799</c:v>
                </c:pt>
                <c:pt idx="877">
                  <c:v>28.2929992675781</c:v>
                </c:pt>
                <c:pt idx="878">
                  <c:v>27.2399997711182</c:v>
                </c:pt>
                <c:pt idx="879">
                  <c:v>26.075000762939499</c:v>
                </c:pt>
                <c:pt idx="880">
                  <c:v>26.606000900268601</c:v>
                </c:pt>
                <c:pt idx="881">
                  <c:v>27.6119995117188</c:v>
                </c:pt>
                <c:pt idx="882">
                  <c:v>27.044000625610401</c:v>
                </c:pt>
                <c:pt idx="883">
                  <c:v>26.749000549316399</c:v>
                </c:pt>
                <c:pt idx="884">
                  <c:v>26.749000549316399</c:v>
                </c:pt>
                <c:pt idx="885">
                  <c:v>26.8190002441406</c:v>
                </c:pt>
                <c:pt idx="886">
                  <c:v>26.433000564575199</c:v>
                </c:pt>
                <c:pt idx="887">
                  <c:v>26.179000854492202</c:v>
                </c:pt>
                <c:pt idx="888">
                  <c:v>26.003999710083001</c:v>
                </c:pt>
                <c:pt idx="889">
                  <c:v>25.041000366210898</c:v>
                </c:pt>
                <c:pt idx="890">
                  <c:v>25.038999557495099</c:v>
                </c:pt>
                <c:pt idx="891">
                  <c:v>26.5590000152588</c:v>
                </c:pt>
                <c:pt idx="892">
                  <c:v>25.511999130248999</c:v>
                </c:pt>
                <c:pt idx="893">
                  <c:v>25.541000366210898</c:v>
                </c:pt>
                <c:pt idx="894">
                  <c:v>29.698999404907202</c:v>
                </c:pt>
                <c:pt idx="895">
                  <c:v>36.806999206542997</c:v>
                </c:pt>
                <c:pt idx="896">
                  <c:v>38.3429985046387</c:v>
                </c:pt>
                <c:pt idx="897">
                  <c:v>36.168998718261697</c:v>
                </c:pt>
                <c:pt idx="898">
                  <c:v>38.963001251220703</c:v>
                </c:pt>
                <c:pt idx="899">
                  <c:v>39.576000213622997</c:v>
                </c:pt>
                <c:pt idx="900">
                  <c:v>41.220001220703097</c:v>
                </c:pt>
                <c:pt idx="901">
                  <c:v>39.784000396728501</c:v>
                </c:pt>
                <c:pt idx="902">
                  <c:v>40.285999298095703</c:v>
                </c:pt>
                <c:pt idx="903">
                  <c:v>39.875</c:v>
                </c:pt>
                <c:pt idx="904">
                  <c:v>40.180000305175803</c:v>
                </c:pt>
                <c:pt idx="905">
                  <c:v>40.180000305175803</c:v>
                </c:pt>
                <c:pt idx="906">
                  <c:v>45.180000305175803</c:v>
                </c:pt>
                <c:pt idx="907">
                  <c:v>49.728000640869098</c:v>
                </c:pt>
                <c:pt idx="908">
                  <c:v>51.2760009765625</c:v>
                </c:pt>
                <c:pt idx="909">
                  <c:v>54.778999328613303</c:v>
                </c:pt>
                <c:pt idx="910">
                  <c:v>52.411998748779297</c:v>
                </c:pt>
                <c:pt idx="911">
                  <c:v>48.777999877929702</c:v>
                </c:pt>
                <c:pt idx="912">
                  <c:v>51.001998901367202</c:v>
                </c:pt>
                <c:pt idx="913">
                  <c:v>53.641998291015597</c:v>
                </c:pt>
                <c:pt idx="914">
                  <c:v>51.444000244140597</c:v>
                </c:pt>
                <c:pt idx="915">
                  <c:v>47.272998809814503</c:v>
                </c:pt>
                <c:pt idx="916">
                  <c:v>47.1310005187988</c:v>
                </c:pt>
                <c:pt idx="917">
                  <c:v>46.508998870849602</c:v>
                </c:pt>
                <c:pt idx="918">
                  <c:v>46.520999908447301</c:v>
                </c:pt>
                <c:pt idx="919">
                  <c:v>46.590999603271499</c:v>
                </c:pt>
                <c:pt idx="920">
                  <c:v>48.043998718261697</c:v>
                </c:pt>
                <c:pt idx="921">
                  <c:v>53.011001586914098</c:v>
                </c:pt>
                <c:pt idx="922">
                  <c:v>59.507999420166001</c:v>
                </c:pt>
                <c:pt idx="923">
                  <c:v>61.0060005187988</c:v>
                </c:pt>
                <c:pt idx="924">
                  <c:v>60.955001831054702</c:v>
                </c:pt>
                <c:pt idx="925">
                  <c:v>60.955001831054702</c:v>
                </c:pt>
                <c:pt idx="926">
                  <c:v>60.694000244140597</c:v>
                </c:pt>
                <c:pt idx="927">
                  <c:v>61.587001800537102</c:v>
                </c:pt>
                <c:pt idx="928">
                  <c:v>59.355998992919901</c:v>
                </c:pt>
                <c:pt idx="929">
                  <c:v>59.840000152587898</c:v>
                </c:pt>
                <c:pt idx="930">
                  <c:v>58.688999176025398</c:v>
                </c:pt>
                <c:pt idx="931">
                  <c:v>58.009998321533203</c:v>
                </c:pt>
                <c:pt idx="932">
                  <c:v>57.768001556396499</c:v>
                </c:pt>
                <c:pt idx="933">
                  <c:v>62.541000366210902</c:v>
                </c:pt>
                <c:pt idx="934">
                  <c:v>63.270999908447301</c:v>
                </c:pt>
                <c:pt idx="935">
                  <c:v>62.069999694824197</c:v>
                </c:pt>
                <c:pt idx="936">
                  <c:v>65.947998046875</c:v>
                </c:pt>
                <c:pt idx="937">
                  <c:v>67.585998535156307</c:v>
                </c:pt>
                <c:pt idx="938">
                  <c:v>67.440002441406307</c:v>
                </c:pt>
                <c:pt idx="939">
                  <c:v>71.716003417968807</c:v>
                </c:pt>
                <c:pt idx="940">
                  <c:v>72.136001586914105</c:v>
                </c:pt>
                <c:pt idx="941">
                  <c:v>81.022003173828097</c:v>
                </c:pt>
                <c:pt idx="942">
                  <c:v>78.915000915527301</c:v>
                </c:pt>
                <c:pt idx="943">
                  <c:v>85.748001098632798</c:v>
                </c:pt>
                <c:pt idx="944">
                  <c:v>94.195999145507798</c:v>
                </c:pt>
                <c:pt idx="945">
                  <c:v>99.740997314453097</c:v>
                </c:pt>
                <c:pt idx="946">
                  <c:v>79.916000366210895</c:v>
                </c:pt>
                <c:pt idx="947">
                  <c:v>79.916000366210895</c:v>
                </c:pt>
                <c:pt idx="948">
                  <c:v>71.013000488281307</c:v>
                </c:pt>
                <c:pt idx="949">
                  <c:v>63.287998199462898</c:v>
                </c:pt>
                <c:pt idx="950">
                  <c:v>69.843002319335895</c:v>
                </c:pt>
                <c:pt idx="951">
                  <c:v>62.563999176025398</c:v>
                </c:pt>
                <c:pt idx="952">
                  <c:v>64.528999328613295</c:v>
                </c:pt>
                <c:pt idx="953">
                  <c:v>61.120998382568402</c:v>
                </c:pt>
                <c:pt idx="954">
                  <c:v>56.755001068115199</c:v>
                </c:pt>
                <c:pt idx="955">
                  <c:v>58.477001190185497</c:v>
                </c:pt>
                <c:pt idx="956">
                  <c:v>64.028999328613295</c:v>
                </c:pt>
                <c:pt idx="957">
                  <c:v>62.936000823974602</c:v>
                </c:pt>
                <c:pt idx="958">
                  <c:v>55.344001770019503</c:v>
                </c:pt>
                <c:pt idx="959">
                  <c:v>53.624000549316399</c:v>
                </c:pt>
                <c:pt idx="960">
                  <c:v>57.036998748779297</c:v>
                </c:pt>
                <c:pt idx="961">
                  <c:v>55.069999694824197</c:v>
                </c:pt>
                <c:pt idx="962">
                  <c:v>54.051998138427699</c:v>
                </c:pt>
                <c:pt idx="963">
                  <c:v>52.870998382568402</c:v>
                </c:pt>
                <c:pt idx="964">
                  <c:v>49.261001586914098</c:v>
                </c:pt>
                <c:pt idx="965">
                  <c:v>52.587001800537102</c:v>
                </c:pt>
                <c:pt idx="966">
                  <c:v>58.583000183105497</c:v>
                </c:pt>
                <c:pt idx="967">
                  <c:v>57.465000152587898</c:v>
                </c:pt>
                <c:pt idx="968">
                  <c:v>57.465000152587898</c:v>
                </c:pt>
                <c:pt idx="969">
                  <c:v>49.060001373291001</c:v>
                </c:pt>
                <c:pt idx="970">
                  <c:v>47.430999755859403</c:v>
                </c:pt>
                <c:pt idx="971">
                  <c:v>50.347000122070298</c:v>
                </c:pt>
                <c:pt idx="972">
                  <c:v>50.852001190185497</c:v>
                </c:pt>
                <c:pt idx="973">
                  <c:v>44.964000701904297</c:v>
                </c:pt>
                <c:pt idx="974">
                  <c:v>43.987998962402301</c:v>
                </c:pt>
                <c:pt idx="975">
                  <c:v>44.762001037597699</c:v>
                </c:pt>
                <c:pt idx="976">
                  <c:v>45.688999176025398</c:v>
                </c:pt>
                <c:pt idx="977">
                  <c:v>43.923999786377003</c:v>
                </c:pt>
                <c:pt idx="978">
                  <c:v>40.712001800537102</c:v>
                </c:pt>
                <c:pt idx="979">
                  <c:v>36.924999237060497</c:v>
                </c:pt>
                <c:pt idx="980">
                  <c:v>32.764999389648402</c:v>
                </c:pt>
                <c:pt idx="981">
                  <c:v>32.366001129150398</c:v>
                </c:pt>
                <c:pt idx="982">
                  <c:v>36.764999389648402</c:v>
                </c:pt>
                <c:pt idx="983">
                  <c:v>32.696998596191399</c:v>
                </c:pt>
                <c:pt idx="984">
                  <c:v>28.8059997558594</c:v>
                </c:pt>
                <c:pt idx="985">
                  <c:v>29.1879997253418</c:v>
                </c:pt>
                <c:pt idx="986">
                  <c:v>30.777999877929702</c:v>
                </c:pt>
                <c:pt idx="987">
                  <c:v>31.5130004882813</c:v>
                </c:pt>
                <c:pt idx="988">
                  <c:v>31.091999053955099</c:v>
                </c:pt>
                <c:pt idx="989">
                  <c:v>31.091999053955099</c:v>
                </c:pt>
                <c:pt idx="990">
                  <c:v>33.766998291015597</c:v>
                </c:pt>
                <c:pt idx="991">
                  <c:v>36.580001831054702</c:v>
                </c:pt>
                <c:pt idx="992">
                  <c:v>36.120998382568402</c:v>
                </c:pt>
                <c:pt idx="993">
                  <c:v>33.544998168945298</c:v>
                </c:pt>
                <c:pt idx="994">
                  <c:v>32.268001556396499</c:v>
                </c:pt>
                <c:pt idx="995">
                  <c:v>34.997001647949197</c:v>
                </c:pt>
                <c:pt idx="996">
                  <c:v>33.376998901367202</c:v>
                </c:pt>
                <c:pt idx="997">
                  <c:v>33.945999145507798</c:v>
                </c:pt>
                <c:pt idx="998">
                  <c:v>29.6940002441406</c:v>
                </c:pt>
                <c:pt idx="999">
                  <c:v>34.535999298095703</c:v>
                </c:pt>
                <c:pt idx="1000">
                  <c:v>37.825000762939503</c:v>
                </c:pt>
                <c:pt idx="1001">
                  <c:v>34.847000122070298</c:v>
                </c:pt>
                <c:pt idx="1002">
                  <c:v>34.178001403808601</c:v>
                </c:pt>
                <c:pt idx="1003">
                  <c:v>35.176998138427699</c:v>
                </c:pt>
                <c:pt idx="1004">
                  <c:v>34.952999114990199</c:v>
                </c:pt>
                <c:pt idx="1005">
                  <c:v>36.144001007080099</c:v>
                </c:pt>
                <c:pt idx="1006">
                  <c:v>39.505001068115199</c:v>
                </c:pt>
                <c:pt idx="1007">
                  <c:v>38.0130004882813</c:v>
                </c:pt>
                <c:pt idx="1008">
                  <c:v>37.654998779296903</c:v>
                </c:pt>
                <c:pt idx="1009">
                  <c:v>37.583000183105497</c:v>
                </c:pt>
                <c:pt idx="1010">
                  <c:v>37.583000183105497</c:v>
                </c:pt>
                <c:pt idx="1011">
                  <c:v>42.979000091552699</c:v>
                </c:pt>
                <c:pt idx="1012">
                  <c:v>41.770999908447301</c:v>
                </c:pt>
                <c:pt idx="1013">
                  <c:v>41.734001159667997</c:v>
                </c:pt>
                <c:pt idx="1014">
                  <c:v>42.801998138427699</c:v>
                </c:pt>
                <c:pt idx="1015">
                  <c:v>46.138999938964801</c:v>
                </c:pt>
                <c:pt idx="1016">
                  <c:v>43.083000183105497</c:v>
                </c:pt>
                <c:pt idx="1017">
                  <c:v>43.127998352050803</c:v>
                </c:pt>
                <c:pt idx="1018">
                  <c:v>42.265998840332003</c:v>
                </c:pt>
                <c:pt idx="1019">
                  <c:v>43.035999298095703</c:v>
                </c:pt>
                <c:pt idx="1020">
                  <c:v>41.187999725341797</c:v>
                </c:pt>
                <c:pt idx="1021">
                  <c:v>42.200000762939503</c:v>
                </c:pt>
                <c:pt idx="1022">
                  <c:v>36.033000946044901</c:v>
                </c:pt>
                <c:pt idx="1023">
                  <c:v>33.762001037597699</c:v>
                </c:pt>
                <c:pt idx="1024">
                  <c:v>33.047000885009801</c:v>
                </c:pt>
                <c:pt idx="1025">
                  <c:v>30.4899997711182</c:v>
                </c:pt>
                <c:pt idx="1026">
                  <c:v>28.631999969482401</c:v>
                </c:pt>
                <c:pt idx="1027">
                  <c:v>25.877000808715799</c:v>
                </c:pt>
                <c:pt idx="1028">
                  <c:v>25.0429992675781</c:v>
                </c:pt>
                <c:pt idx="1029">
                  <c:v>25.372999191284201</c:v>
                </c:pt>
                <c:pt idx="1030">
                  <c:v>25.7660007476807</c:v>
                </c:pt>
                <c:pt idx="1031">
                  <c:v>25.7660007476807</c:v>
                </c:pt>
                <c:pt idx="1032">
                  <c:v>22.444999694824201</c:v>
                </c:pt>
                <c:pt idx="1033">
                  <c:v>20.270999908447301</c:v>
                </c:pt>
                <c:pt idx="1034">
                  <c:v>22.3980007171631</c:v>
                </c:pt>
                <c:pt idx="1035">
                  <c:v>21.673000335693398</c:v>
                </c:pt>
                <c:pt idx="1036">
                  <c:v>23.461000442504901</c:v>
                </c:pt>
                <c:pt idx="1037">
                  <c:v>22.094999313354499</c:v>
                </c:pt>
                <c:pt idx="1038">
                  <c:v>20.655000686645501</c:v>
                </c:pt>
                <c:pt idx="1039">
                  <c:v>21.2140007019043</c:v>
                </c:pt>
                <c:pt idx="1040">
                  <c:v>20.621000289916999</c:v>
                </c:pt>
                <c:pt idx="1041">
                  <c:v>19.058000564575199</c:v>
                </c:pt>
                <c:pt idx="1042">
                  <c:v>19.6350002288818</c:v>
                </c:pt>
                <c:pt idx="1043">
                  <c:v>19.242000579833999</c:v>
                </c:pt>
                <c:pt idx="1044">
                  <c:v>21.278999328613299</c:v>
                </c:pt>
                <c:pt idx="1045">
                  <c:v>21.056999206543001</c:v>
                </c:pt>
                <c:pt idx="1046">
                  <c:v>18.606000900268601</c:v>
                </c:pt>
                <c:pt idx="1047">
                  <c:v>18.1380004882813</c:v>
                </c:pt>
                <c:pt idx="1048">
                  <c:v>17.466999053955099</c:v>
                </c:pt>
                <c:pt idx="1049">
                  <c:v>17.635999679565401</c:v>
                </c:pt>
                <c:pt idx="1050">
                  <c:v>17.757999420166001</c:v>
                </c:pt>
                <c:pt idx="1051">
                  <c:v>17.757999420166001</c:v>
                </c:pt>
                <c:pt idx="1052">
                  <c:v>19.111000061035199</c:v>
                </c:pt>
                <c:pt idx="1053">
                  <c:v>18.340999603271499</c:v>
                </c:pt>
                <c:pt idx="1054">
                  <c:v>18.475000381469702</c:v>
                </c:pt>
                <c:pt idx="1055">
                  <c:v>18.3290004730225</c:v>
                </c:pt>
                <c:pt idx="1056">
                  <c:v>17.409999847412099</c:v>
                </c:pt>
                <c:pt idx="1057">
                  <c:v>16.9209995269775</c:v>
                </c:pt>
                <c:pt idx="1058">
                  <c:v>16.674999237060501</c:v>
                </c:pt>
                <c:pt idx="1059">
                  <c:v>16.922000885009801</c:v>
                </c:pt>
                <c:pt idx="1060">
                  <c:v>16.284000396728501</c:v>
                </c:pt>
                <c:pt idx="1061">
                  <c:v>16.497999191284201</c:v>
                </c:pt>
                <c:pt idx="1062">
                  <c:v>17.1609992980957</c:v>
                </c:pt>
                <c:pt idx="1063">
                  <c:v>16.304000854492202</c:v>
                </c:pt>
                <c:pt idx="1064">
                  <c:v>15.229000091552701</c:v>
                </c:pt>
                <c:pt idx="1065">
                  <c:v>15.781999588012701</c:v>
                </c:pt>
                <c:pt idx="1066">
                  <c:v>15.796999931335399</c:v>
                </c:pt>
                <c:pt idx="1067">
                  <c:v>15.788999557495099</c:v>
                </c:pt>
                <c:pt idx="1068">
                  <c:v>15.718000411987299</c:v>
                </c:pt>
                <c:pt idx="1069">
                  <c:v>15.718000411987299</c:v>
                </c:pt>
                <c:pt idx="1070">
                  <c:v>14.7679996490479</c:v>
                </c:pt>
                <c:pt idx="1071">
                  <c:v>14.6000003814697</c:v>
                </c:pt>
                <c:pt idx="1072">
                  <c:v>14.012000083923301</c:v>
                </c:pt>
                <c:pt idx="1073">
                  <c:v>13.227999687194799</c:v>
                </c:pt>
                <c:pt idx="1074">
                  <c:v>13.493000030517599</c:v>
                </c:pt>
                <c:pt idx="1075">
                  <c:v>13.131999969482401</c:v>
                </c:pt>
                <c:pt idx="1076">
                  <c:v>13.539999961853001</c:v>
                </c:pt>
                <c:pt idx="1077">
                  <c:v>16.597999572753899</c:v>
                </c:pt>
                <c:pt idx="1078">
                  <c:v>15.621000289916999</c:v>
                </c:pt>
                <c:pt idx="1079">
                  <c:v>13.913999557495099</c:v>
                </c:pt>
                <c:pt idx="1080">
                  <c:v>13.300000190734901</c:v>
                </c:pt>
                <c:pt idx="1081">
                  <c:v>13.8120002746582</c:v>
                </c:pt>
                <c:pt idx="1082">
                  <c:v>13.385999679565399</c:v>
                </c:pt>
                <c:pt idx="1083">
                  <c:v>12.385999679565399</c:v>
                </c:pt>
                <c:pt idx="1084">
                  <c:v>13.4160003662109</c:v>
                </c:pt>
                <c:pt idx="1085">
                  <c:v>12.668999671936</c:v>
                </c:pt>
                <c:pt idx="1086">
                  <c:v>13.8109998703003</c:v>
                </c:pt>
                <c:pt idx="1087">
                  <c:v>12.9689998626709</c:v>
                </c:pt>
                <c:pt idx="1088">
                  <c:v>13.458000183105501</c:v>
                </c:pt>
                <c:pt idx="1089">
                  <c:v>13.5939998626709</c:v>
                </c:pt>
                <c:pt idx="1090">
                  <c:v>13.6079998016357</c:v>
                </c:pt>
                <c:pt idx="1091">
                  <c:v>13.569999694824199</c:v>
                </c:pt>
                <c:pt idx="1092">
                  <c:v>13.569999694824199</c:v>
                </c:pt>
                <c:pt idx="1093">
                  <c:v>16.4379997253418</c:v>
                </c:pt>
                <c:pt idx="1094">
                  <c:v>15.012000083923301</c:v>
                </c:pt>
                <c:pt idx="1095">
                  <c:v>14.28600025177</c:v>
                </c:pt>
                <c:pt idx="1096">
                  <c:v>13.8400001525879</c:v>
                </c:pt>
                <c:pt idx="1097">
                  <c:v>13.8400001525879</c:v>
                </c:pt>
                <c:pt idx="1098">
                  <c:v>14.006999969482401</c:v>
                </c:pt>
                <c:pt idx="1099">
                  <c:v>13.8269996643066</c:v>
                </c:pt>
                <c:pt idx="1100">
                  <c:v>13.6579999923706</c:v>
                </c:pt>
                <c:pt idx="1101">
                  <c:v>13.302000045776399</c:v>
                </c:pt>
                <c:pt idx="1102">
                  <c:v>13.185000419616699</c:v>
                </c:pt>
                <c:pt idx="1103">
                  <c:v>12.968000411987299</c:v>
                </c:pt>
                <c:pt idx="1104">
                  <c:v>13.0740003585815</c:v>
                </c:pt>
                <c:pt idx="1105">
                  <c:v>12.9390001296997</c:v>
                </c:pt>
                <c:pt idx="1106">
                  <c:v>12.9280004501343</c:v>
                </c:pt>
                <c:pt idx="1107">
                  <c:v>12.836000442504901</c:v>
                </c:pt>
                <c:pt idx="1108">
                  <c:v>12.536999702453601</c:v>
                </c:pt>
                <c:pt idx="1109">
                  <c:v>12.112999916076699</c:v>
                </c:pt>
                <c:pt idx="1110">
                  <c:v>11.949999809265099</c:v>
                </c:pt>
                <c:pt idx="1111">
                  <c:v>11.5299997329712</c:v>
                </c:pt>
                <c:pt idx="1112">
                  <c:v>11.831000328064</c:v>
                </c:pt>
                <c:pt idx="1113">
                  <c:v>11.9359998703003</c:v>
                </c:pt>
                <c:pt idx="1114">
                  <c:v>11.574999809265099</c:v>
                </c:pt>
                <c:pt idx="1115">
                  <c:v>11.2840003967285</c:v>
                </c:pt>
                <c:pt idx="1116">
                  <c:v>11.2239999771118</c:v>
                </c:pt>
                <c:pt idx="1117">
                  <c:v>10.456999778747599</c:v>
                </c:pt>
                <c:pt idx="1118">
                  <c:v>10.3140001296997</c:v>
                </c:pt>
                <c:pt idx="1119">
                  <c:v>10.1579999923706</c:v>
                </c:pt>
                <c:pt idx="1120">
                  <c:v>10.1549997329712</c:v>
                </c:pt>
                <c:pt idx="1121">
                  <c:v>9.4209995269775408</c:v>
                </c:pt>
                <c:pt idx="1122">
                  <c:v>9.5590000152587908</c:v>
                </c:pt>
                <c:pt idx="1123">
                  <c:v>9.4209995269775408</c:v>
                </c:pt>
                <c:pt idx="1124">
                  <c:v>9.2180004119872994</c:v>
                </c:pt>
                <c:pt idx="1125">
                  <c:v>8.7799997329711896</c:v>
                </c:pt>
                <c:pt idx="1126">
                  <c:v>8.0159997940063494</c:v>
                </c:pt>
                <c:pt idx="1127">
                  <c:v>7.7069997787475604</c:v>
                </c:pt>
                <c:pt idx="1128">
                  <c:v>7.8060002326965297</c:v>
                </c:pt>
                <c:pt idx="1129">
                  <c:v>7.8060002326965297</c:v>
                </c:pt>
                <c:pt idx="1130">
                  <c:v>7.2870001792907697</c:v>
                </c:pt>
                <c:pt idx="1131">
                  <c:v>7.4670000076293901</c:v>
                </c:pt>
                <c:pt idx="1132">
                  <c:v>8.9650001525878906</c:v>
                </c:pt>
                <c:pt idx="1133">
                  <c:v>7.8099999427795401</c:v>
                </c:pt>
                <c:pt idx="1134">
                  <c:v>8.2849998474121094</c:v>
                </c:pt>
                <c:pt idx="1135">
                  <c:v>8.52600002288818</c:v>
                </c:pt>
                <c:pt idx="1136">
                  <c:v>10.128999710083001</c:v>
                </c:pt>
                <c:pt idx="1137">
                  <c:v>9.7989997863769496</c:v>
                </c:pt>
                <c:pt idx="1138">
                  <c:v>11.4390001296997</c:v>
                </c:pt>
                <c:pt idx="1139">
                  <c:v>12.21399974823</c:v>
                </c:pt>
                <c:pt idx="1140">
                  <c:v>13.1829996109009</c:v>
                </c:pt>
                <c:pt idx="1141">
                  <c:v>11.2299995422363</c:v>
                </c:pt>
                <c:pt idx="1142">
                  <c:v>12.3879995346069</c:v>
                </c:pt>
                <c:pt idx="1143">
                  <c:v>11.8159999847412</c:v>
                </c:pt>
                <c:pt idx="1144">
                  <c:v>10.968000411987299</c:v>
                </c:pt>
                <c:pt idx="1145">
                  <c:v>10.383999824523899</c:v>
                </c:pt>
                <c:pt idx="1146">
                  <c:v>10.236000061035201</c:v>
                </c:pt>
                <c:pt idx="1147">
                  <c:v>11.08899974823</c:v>
                </c:pt>
                <c:pt idx="1148">
                  <c:v>10.83899974823</c:v>
                </c:pt>
                <c:pt idx="1149">
                  <c:v>10.83899974823</c:v>
                </c:pt>
                <c:pt idx="1150">
                  <c:v>10.873999595642101</c:v>
                </c:pt>
                <c:pt idx="1151">
                  <c:v>10.3269996643066</c:v>
                </c:pt>
                <c:pt idx="1152">
                  <c:v>10.7679996490479</c:v>
                </c:pt>
                <c:pt idx="1153">
                  <c:v>9.7469997406005895</c:v>
                </c:pt>
                <c:pt idx="1154">
                  <c:v>9.3819999694824201</c:v>
                </c:pt>
                <c:pt idx="1155">
                  <c:v>8.7019996643066406</c:v>
                </c:pt>
                <c:pt idx="1156">
                  <c:v>8.7469997406005895</c:v>
                </c:pt>
                <c:pt idx="1157">
                  <c:v>8.5699996948242205</c:v>
                </c:pt>
                <c:pt idx="1158">
                  <c:v>8.2790002822875994</c:v>
                </c:pt>
                <c:pt idx="1159">
                  <c:v>8.9320001602172905</c:v>
                </c:pt>
                <c:pt idx="1160">
                  <c:v>8.8599996566772496</c:v>
                </c:pt>
                <c:pt idx="1161">
                  <c:v>9.1700000762939506</c:v>
                </c:pt>
                <c:pt idx="1162">
                  <c:v>9.1899995803833008</c:v>
                </c:pt>
                <c:pt idx="1163">
                  <c:v>9.9390001296997106</c:v>
                </c:pt>
                <c:pt idx="1164">
                  <c:v>10.585000038146999</c:v>
                </c:pt>
                <c:pt idx="1165">
                  <c:v>9.5080003738403303</c:v>
                </c:pt>
                <c:pt idx="1166">
                  <c:v>9.1730003356933594</c:v>
                </c:pt>
                <c:pt idx="1167">
                  <c:v>9.1739997863769496</c:v>
                </c:pt>
                <c:pt idx="1168">
                  <c:v>9.1739997863769496</c:v>
                </c:pt>
                <c:pt idx="1169">
                  <c:v>8.7510004043579102</c:v>
                </c:pt>
                <c:pt idx="1170">
                  <c:v>9.2299995422363299</c:v>
                </c:pt>
                <c:pt idx="1171">
                  <c:v>9.7880001068115199</c:v>
                </c:pt>
                <c:pt idx="1172">
                  <c:v>9.3450002670288104</c:v>
                </c:pt>
                <c:pt idx="1173">
                  <c:v>9.8540000915527308</c:v>
                </c:pt>
                <c:pt idx="1174">
                  <c:v>9.9899997711181605</c:v>
                </c:pt>
                <c:pt idx="1175">
                  <c:v>12.8470001220703</c:v>
                </c:pt>
                <c:pt idx="1176">
                  <c:v>11.9899997711182</c:v>
                </c:pt>
                <c:pt idx="1177">
                  <c:v>11.373999595642101</c:v>
                </c:pt>
                <c:pt idx="1178">
                  <c:v>11.027000427246101</c:v>
                </c:pt>
                <c:pt idx="1179">
                  <c:v>12.468000411987299</c:v>
                </c:pt>
                <c:pt idx="1180">
                  <c:v>12.1000003814697</c:v>
                </c:pt>
                <c:pt idx="1181">
                  <c:v>11.7729997634888</c:v>
                </c:pt>
                <c:pt idx="1182">
                  <c:v>11.6219997406006</c:v>
                </c:pt>
                <c:pt idx="1183">
                  <c:v>13.0329999923706</c:v>
                </c:pt>
                <c:pt idx="1184">
                  <c:v>13.664999961853001</c:v>
                </c:pt>
                <c:pt idx="1185">
                  <c:v>11.711000442504901</c:v>
                </c:pt>
                <c:pt idx="1186">
                  <c:v>10.1599998474121</c:v>
                </c:pt>
                <c:pt idx="1187">
                  <c:v>10.996000289916999</c:v>
                </c:pt>
                <c:pt idx="1188">
                  <c:v>10.996000289916999</c:v>
                </c:pt>
                <c:pt idx="1189">
                  <c:v>11.1840000152588</c:v>
                </c:pt>
                <c:pt idx="1190">
                  <c:v>11.1840000152588</c:v>
                </c:pt>
                <c:pt idx="1191">
                  <c:v>11.3090000152588</c:v>
                </c:pt>
                <c:pt idx="1192">
                  <c:v>10.8369998931885</c:v>
                </c:pt>
                <c:pt idx="1193">
                  <c:v>9.7799997329711896</c:v>
                </c:pt>
                <c:pt idx="1194">
                  <c:v>10.296999931335399</c:v>
                </c:pt>
                <c:pt idx="1195">
                  <c:v>10.8579998016357</c:v>
                </c:pt>
                <c:pt idx="1196">
                  <c:v>11.3120002746582</c:v>
                </c:pt>
                <c:pt idx="1197">
                  <c:v>10.918000221252401</c:v>
                </c:pt>
                <c:pt idx="1198">
                  <c:v>11.6079998016357</c:v>
                </c:pt>
              </c:numCache>
            </c:numRef>
          </c:val>
          <c:smooth val="1"/>
          <c:extLst>
            <c:ext xmlns:c16="http://schemas.microsoft.com/office/drawing/2014/chart" uri="{C3380CC4-5D6E-409C-BE32-E72D297353CC}">
              <c16:uniqueId val="{00000002-CB0F-4EF7-A8F1-22306E322E7C}"/>
            </c:ext>
          </c:extLst>
        </c:ser>
        <c:dLbls>
          <c:showLegendKey val="0"/>
          <c:showVal val="0"/>
          <c:showCatName val="0"/>
          <c:showSerName val="0"/>
          <c:showPercent val="0"/>
          <c:showBubbleSize val="0"/>
        </c:dLbls>
        <c:smooth val="0"/>
        <c:axId val="1242319567"/>
        <c:axId val="1070369535"/>
      </c:lineChart>
      <c:dateAx>
        <c:axId val="1242319567"/>
        <c:scaling>
          <c:orientation val="minMax"/>
        </c:scaling>
        <c:delete val="0"/>
        <c:axPos val="b"/>
        <c:numFmt formatCode="[$-409]mmm\-yy;@" sourceLinked="0"/>
        <c:majorTickMark val="none"/>
        <c:minorTickMark val="none"/>
        <c:tickLblPos val="nextTo"/>
        <c:spPr>
          <a:noFill/>
          <a:ln w="9525" cap="flat" cmpd="sng" algn="ctr">
            <a:solidFill>
              <a:schemeClr val="tx1">
                <a:lumMod val="85000"/>
                <a:lumOff val="15000"/>
              </a:schemeClr>
            </a:solidFill>
            <a:round/>
          </a:ln>
          <a:effectLst/>
        </c:spPr>
        <c:txPr>
          <a:bodyPr rot="0" spcFirstLastPara="1" vertOverflow="ellipsis" wrap="square" anchor="ctr" anchorCtr="0"/>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1070369535"/>
        <c:crosses val="autoZero"/>
        <c:auto val="1"/>
        <c:lblOffset val="100"/>
        <c:baseTimeUnit val="days"/>
        <c:majorUnit val="12"/>
        <c:majorTimeUnit val="months"/>
      </c:dateAx>
      <c:valAx>
        <c:axId val="1070369535"/>
        <c:scaling>
          <c:orientation val="minMax"/>
        </c:scaling>
        <c:delete val="0"/>
        <c:axPos val="l"/>
        <c:numFmt formatCode="General" sourceLinked="1"/>
        <c:majorTickMark val="none"/>
        <c:minorTickMark val="none"/>
        <c:tickLblPos val="nextTo"/>
        <c:spPr>
          <a:noFill/>
          <a:ln>
            <a:solidFill>
              <a:schemeClr val="tx1">
                <a:lumMod val="85000"/>
                <a:lumOff val="15000"/>
              </a:schemeClr>
            </a:solid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crossAx val="1242319567"/>
        <c:crosses val="autoZero"/>
        <c:crossBetween val="midCat"/>
      </c:valAx>
      <c:spPr>
        <a:noFill/>
        <a:ln>
          <a:noFill/>
        </a:ln>
        <a:effectLst/>
      </c:spPr>
    </c:plotArea>
    <c:legend>
      <c:legendPos val="b"/>
      <c:layout>
        <c:manualLayout>
          <c:xMode val="edge"/>
          <c:yMode val="edge"/>
          <c:x val="0"/>
          <c:y val="0.92617938063864469"/>
          <c:w val="1"/>
          <c:h val="5.6327907991092947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Ubuntu" panose="020B0504030602030204" pitchFamily="34" charset="0"/>
              <a:ea typeface="+mn-ea"/>
              <a:cs typeface="+mn-cs"/>
            </a:defRPr>
          </a:pPr>
          <a:endParaRPr lang="en-US"/>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85000"/>
              <a:lumOff val="15000"/>
            </a:schemeClr>
          </a:solidFill>
          <a:latin typeface="Ubuntu" panose="020B0504030602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02E678-A66C-47CB-B8C1-15FC6529A55C}"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US"/>
        </a:p>
      </dgm:t>
    </dgm:pt>
    <dgm:pt modelId="{C2EACD5E-2B62-4DAD-A8F7-FF28B91C3CFE}">
      <dgm:prSet phldrT="[Text]"/>
      <dgm:spPr>
        <a:solidFill>
          <a:schemeClr val="tx2"/>
        </a:solidFill>
      </dgm:spPr>
      <dgm:t>
        <a:bodyPr/>
        <a:lstStyle/>
        <a:p>
          <a:r>
            <a:rPr lang="nb-NO"/>
            <a:t>...</a:t>
          </a:r>
          <a:endParaRPr lang="en-US"/>
        </a:p>
      </dgm:t>
    </dgm:pt>
    <dgm:pt modelId="{DA1D11B2-AD1A-42B5-A8BF-02C209C722B6}" type="parTrans" cxnId="{8E26C55D-4364-4FDE-B681-2958F3E28CBD}">
      <dgm:prSet/>
      <dgm:spPr/>
      <dgm:t>
        <a:bodyPr/>
        <a:lstStyle/>
        <a:p>
          <a:endParaRPr lang="en-US"/>
        </a:p>
      </dgm:t>
    </dgm:pt>
    <dgm:pt modelId="{593A9E36-F599-4798-A310-DE7F8A0BA78B}" type="sibTrans" cxnId="{8E26C55D-4364-4FDE-B681-2958F3E28CBD}">
      <dgm:prSet/>
      <dgm:spPr/>
      <dgm:t>
        <a:bodyPr/>
        <a:lstStyle/>
        <a:p>
          <a:endParaRPr lang="en-US"/>
        </a:p>
      </dgm:t>
    </dgm:pt>
    <dgm:pt modelId="{29F18C65-045F-46FA-9226-636DE54A7AFF}">
      <dgm:prSet phldrT="[Text]"/>
      <dgm:spPr>
        <a:solidFill>
          <a:schemeClr val="accent3"/>
        </a:solidFill>
      </dgm:spPr>
      <dgm:t>
        <a:bodyPr/>
        <a:lstStyle/>
        <a:p>
          <a:r>
            <a:rPr lang="nb-NO"/>
            <a:t>...</a:t>
          </a:r>
          <a:endParaRPr lang="en-US"/>
        </a:p>
      </dgm:t>
    </dgm:pt>
    <dgm:pt modelId="{BED5EB1B-6AB2-4AEC-AA0F-5E6F7B4E4E1F}" type="parTrans" cxnId="{444D56FA-29F0-413F-8493-31EC2DECC069}">
      <dgm:prSet/>
      <dgm:spPr/>
      <dgm:t>
        <a:bodyPr/>
        <a:lstStyle/>
        <a:p>
          <a:endParaRPr lang="en-US"/>
        </a:p>
      </dgm:t>
    </dgm:pt>
    <dgm:pt modelId="{FEE46B93-9E47-43F7-9182-12B77DC2C79E}" type="sibTrans" cxnId="{444D56FA-29F0-413F-8493-31EC2DECC069}">
      <dgm:prSet/>
      <dgm:spPr>
        <a:solidFill>
          <a:schemeClr val="accent3">
            <a:lumMod val="40000"/>
            <a:lumOff val="60000"/>
          </a:schemeClr>
        </a:solidFill>
      </dgm:spPr>
      <dgm:t>
        <a:bodyPr/>
        <a:lstStyle/>
        <a:p>
          <a:endParaRPr lang="en-US"/>
        </a:p>
      </dgm:t>
    </dgm:pt>
    <dgm:pt modelId="{3013A7E8-9077-4939-88E4-E4518EACD97B}">
      <dgm:prSet phldrT="[Text]"/>
      <dgm:spPr>
        <a:solidFill>
          <a:schemeClr val="accent3"/>
        </a:solidFill>
      </dgm:spPr>
      <dgm:t>
        <a:bodyPr/>
        <a:lstStyle/>
        <a:p>
          <a:r>
            <a:rPr lang="nb-NO"/>
            <a:t>...</a:t>
          </a:r>
          <a:endParaRPr lang="en-US"/>
        </a:p>
      </dgm:t>
    </dgm:pt>
    <dgm:pt modelId="{B74A9061-9A80-48A2-8A2A-914134E7941D}" type="parTrans" cxnId="{FD5D11E0-AF90-4809-B5B6-D0667A77F95F}">
      <dgm:prSet/>
      <dgm:spPr/>
      <dgm:t>
        <a:bodyPr/>
        <a:lstStyle/>
        <a:p>
          <a:endParaRPr lang="en-US"/>
        </a:p>
      </dgm:t>
    </dgm:pt>
    <dgm:pt modelId="{9C4C4603-BED9-4B7C-8306-41816EDB6238}" type="sibTrans" cxnId="{FD5D11E0-AF90-4809-B5B6-D0667A77F95F}">
      <dgm:prSet/>
      <dgm:spPr>
        <a:solidFill>
          <a:schemeClr val="accent3">
            <a:lumMod val="40000"/>
            <a:lumOff val="60000"/>
          </a:schemeClr>
        </a:solidFill>
      </dgm:spPr>
      <dgm:t>
        <a:bodyPr/>
        <a:lstStyle/>
        <a:p>
          <a:endParaRPr lang="en-US"/>
        </a:p>
      </dgm:t>
    </dgm:pt>
    <dgm:pt modelId="{8B3A8B51-A15C-4C05-9BA1-C6D8B3466B57}">
      <dgm:prSet phldrT="[Text]"/>
      <dgm:spPr>
        <a:solidFill>
          <a:schemeClr val="accent3"/>
        </a:solidFill>
      </dgm:spPr>
      <dgm:t>
        <a:bodyPr/>
        <a:lstStyle/>
        <a:p>
          <a:r>
            <a:rPr lang="nb-NO"/>
            <a:t>...</a:t>
          </a:r>
          <a:endParaRPr lang="en-US"/>
        </a:p>
      </dgm:t>
    </dgm:pt>
    <dgm:pt modelId="{9930A807-69E2-410C-ADCC-A28A6BFFF8E0}" type="parTrans" cxnId="{DFF7B6E4-3FF6-4CD5-92D8-8FB3E1C5F6BD}">
      <dgm:prSet/>
      <dgm:spPr/>
      <dgm:t>
        <a:bodyPr/>
        <a:lstStyle/>
        <a:p>
          <a:endParaRPr lang="en-US"/>
        </a:p>
      </dgm:t>
    </dgm:pt>
    <dgm:pt modelId="{4FC3FC31-BEB1-4FAF-9418-B93EDA73280B}" type="sibTrans" cxnId="{DFF7B6E4-3FF6-4CD5-92D8-8FB3E1C5F6BD}">
      <dgm:prSet/>
      <dgm:spPr/>
      <dgm:t>
        <a:bodyPr/>
        <a:lstStyle/>
        <a:p>
          <a:endParaRPr lang="en-US"/>
        </a:p>
      </dgm:t>
    </dgm:pt>
    <dgm:pt modelId="{5ABE35CD-9449-4B8D-8D39-CF11C0789ACE}">
      <dgm:prSet phldrT="[Text]"/>
      <dgm:spPr>
        <a:solidFill>
          <a:schemeClr val="accent3"/>
        </a:solidFill>
      </dgm:spPr>
      <dgm:t>
        <a:bodyPr/>
        <a:lstStyle/>
        <a:p>
          <a:r>
            <a:rPr lang="nb-NO"/>
            <a:t>...</a:t>
          </a:r>
          <a:endParaRPr lang="en-US"/>
        </a:p>
      </dgm:t>
    </dgm:pt>
    <dgm:pt modelId="{10E57A1D-F77E-496D-B371-61D5D3125128}" type="parTrans" cxnId="{E6D8B130-9247-4C61-8E38-92C8EC6FF76E}">
      <dgm:prSet/>
      <dgm:spPr/>
      <dgm:t>
        <a:bodyPr/>
        <a:lstStyle/>
        <a:p>
          <a:endParaRPr lang="en-US"/>
        </a:p>
      </dgm:t>
    </dgm:pt>
    <dgm:pt modelId="{FC60E53F-6AE7-40D7-81AE-8CBDB4471B91}" type="sibTrans" cxnId="{E6D8B130-9247-4C61-8E38-92C8EC6FF76E}">
      <dgm:prSet/>
      <dgm:spPr/>
      <dgm:t>
        <a:bodyPr/>
        <a:lstStyle/>
        <a:p>
          <a:endParaRPr lang="en-US"/>
        </a:p>
      </dgm:t>
    </dgm:pt>
    <dgm:pt modelId="{078BCA29-A001-401A-9DBF-B3C754B97105}">
      <dgm:prSet phldrT="[Text]"/>
      <dgm:spPr>
        <a:solidFill>
          <a:schemeClr val="accent3"/>
        </a:solidFill>
      </dgm:spPr>
      <dgm:t>
        <a:bodyPr/>
        <a:lstStyle/>
        <a:p>
          <a:r>
            <a:rPr lang="nb-NO"/>
            <a:t>...</a:t>
          </a:r>
          <a:endParaRPr lang="en-US"/>
        </a:p>
      </dgm:t>
    </dgm:pt>
    <dgm:pt modelId="{69F40537-B474-43A2-B057-FD4385F85B37}" type="parTrans" cxnId="{B3B05143-3D00-4618-B5AA-6CC3FC6C025B}">
      <dgm:prSet/>
      <dgm:spPr/>
      <dgm:t>
        <a:bodyPr/>
        <a:lstStyle/>
        <a:p>
          <a:endParaRPr lang="en-US"/>
        </a:p>
      </dgm:t>
    </dgm:pt>
    <dgm:pt modelId="{6CACFFBF-15FC-4816-B01D-DA21DCDD98FE}" type="sibTrans" cxnId="{B3B05143-3D00-4618-B5AA-6CC3FC6C025B}">
      <dgm:prSet/>
      <dgm:spPr/>
      <dgm:t>
        <a:bodyPr/>
        <a:lstStyle/>
        <a:p>
          <a:endParaRPr lang="en-US"/>
        </a:p>
      </dgm:t>
    </dgm:pt>
    <dgm:pt modelId="{A98F9D82-A041-4B77-B2D7-BCF674ADEB72}">
      <dgm:prSet phldrT="[Text]"/>
      <dgm:spPr>
        <a:solidFill>
          <a:schemeClr val="accent3"/>
        </a:solidFill>
      </dgm:spPr>
      <dgm:t>
        <a:bodyPr/>
        <a:lstStyle/>
        <a:p>
          <a:r>
            <a:rPr lang="nb-NO"/>
            <a:t>...</a:t>
          </a:r>
          <a:endParaRPr lang="en-US"/>
        </a:p>
      </dgm:t>
    </dgm:pt>
    <dgm:pt modelId="{636CB794-F799-4DC0-BCB5-AB36F2FBA4FD}" type="parTrans" cxnId="{3FF5AB40-56FA-44F3-92E4-33C8366F19C2}">
      <dgm:prSet/>
      <dgm:spPr/>
      <dgm:t>
        <a:bodyPr/>
        <a:lstStyle/>
        <a:p>
          <a:endParaRPr lang="en-US"/>
        </a:p>
      </dgm:t>
    </dgm:pt>
    <dgm:pt modelId="{1D423ECB-D7C8-4A1A-A31D-B9F2B1E0B2EF}" type="sibTrans" cxnId="{3FF5AB40-56FA-44F3-92E4-33C8366F19C2}">
      <dgm:prSet/>
      <dgm:spPr/>
      <dgm:t>
        <a:bodyPr/>
        <a:lstStyle/>
        <a:p>
          <a:endParaRPr lang="en-US"/>
        </a:p>
      </dgm:t>
    </dgm:pt>
    <dgm:pt modelId="{BB3345C1-36C3-4CDB-8F65-5B21ADE2889F}" type="pres">
      <dgm:prSet presAssocID="{4202E678-A66C-47CB-B8C1-15FC6529A55C}" presName="Name0" presStyleCnt="0">
        <dgm:presLayoutVars>
          <dgm:chMax val="1"/>
          <dgm:dir/>
          <dgm:animLvl val="ctr"/>
          <dgm:resizeHandles val="exact"/>
        </dgm:presLayoutVars>
      </dgm:prSet>
      <dgm:spPr/>
    </dgm:pt>
    <dgm:pt modelId="{A177929E-E273-4D10-AC1B-9F3964D4D147}" type="pres">
      <dgm:prSet presAssocID="{C2EACD5E-2B62-4DAD-A8F7-FF28B91C3CFE}" presName="centerShape" presStyleLbl="node0" presStyleIdx="0" presStyleCnt="1"/>
      <dgm:spPr/>
    </dgm:pt>
    <dgm:pt modelId="{213987C4-CBC7-4E7F-94C7-03ECA3770F60}" type="pres">
      <dgm:prSet presAssocID="{29F18C65-045F-46FA-9226-636DE54A7AFF}" presName="node" presStyleLbl="node1" presStyleIdx="0" presStyleCnt="6">
        <dgm:presLayoutVars>
          <dgm:bulletEnabled val="1"/>
        </dgm:presLayoutVars>
      </dgm:prSet>
      <dgm:spPr/>
    </dgm:pt>
    <dgm:pt modelId="{D80651AE-99BB-4724-9EE5-1605D5F599B9}" type="pres">
      <dgm:prSet presAssocID="{29F18C65-045F-46FA-9226-636DE54A7AFF}" presName="dummy" presStyleCnt="0"/>
      <dgm:spPr/>
    </dgm:pt>
    <dgm:pt modelId="{B5AAC2D6-B5FA-432E-8962-BE89E45DC358}" type="pres">
      <dgm:prSet presAssocID="{FEE46B93-9E47-43F7-9182-12B77DC2C79E}" presName="sibTrans" presStyleLbl="sibTrans2D1" presStyleIdx="0" presStyleCnt="6"/>
      <dgm:spPr/>
    </dgm:pt>
    <dgm:pt modelId="{AE2B3145-5D2C-4CD8-AB4E-852881F750B8}" type="pres">
      <dgm:prSet presAssocID="{3013A7E8-9077-4939-88E4-E4518EACD97B}" presName="node" presStyleLbl="node1" presStyleIdx="1" presStyleCnt="6">
        <dgm:presLayoutVars>
          <dgm:bulletEnabled val="1"/>
        </dgm:presLayoutVars>
      </dgm:prSet>
      <dgm:spPr/>
    </dgm:pt>
    <dgm:pt modelId="{A1B9B537-2C25-4B16-BAF7-411F9DB02266}" type="pres">
      <dgm:prSet presAssocID="{3013A7E8-9077-4939-88E4-E4518EACD97B}" presName="dummy" presStyleCnt="0"/>
      <dgm:spPr/>
    </dgm:pt>
    <dgm:pt modelId="{0BEA4C78-4D05-4671-B1CE-225AB92EF3EC}" type="pres">
      <dgm:prSet presAssocID="{9C4C4603-BED9-4B7C-8306-41816EDB6238}" presName="sibTrans" presStyleLbl="sibTrans2D1" presStyleIdx="1" presStyleCnt="6"/>
      <dgm:spPr/>
    </dgm:pt>
    <dgm:pt modelId="{F3D2581F-38CB-403B-B789-82F82B41D7A3}" type="pres">
      <dgm:prSet presAssocID="{8B3A8B51-A15C-4C05-9BA1-C6D8B3466B57}" presName="node" presStyleLbl="node1" presStyleIdx="2" presStyleCnt="6">
        <dgm:presLayoutVars>
          <dgm:bulletEnabled val="1"/>
        </dgm:presLayoutVars>
      </dgm:prSet>
      <dgm:spPr/>
    </dgm:pt>
    <dgm:pt modelId="{FCCA3E63-E2C6-4DAD-AB33-B71259174D27}" type="pres">
      <dgm:prSet presAssocID="{8B3A8B51-A15C-4C05-9BA1-C6D8B3466B57}" presName="dummy" presStyleCnt="0"/>
      <dgm:spPr/>
    </dgm:pt>
    <dgm:pt modelId="{78AB4B54-E504-43FD-A548-42BDD21FB601}" type="pres">
      <dgm:prSet presAssocID="{4FC3FC31-BEB1-4FAF-9418-B93EDA73280B}" presName="sibTrans" presStyleLbl="sibTrans2D1" presStyleIdx="2" presStyleCnt="6"/>
      <dgm:spPr/>
    </dgm:pt>
    <dgm:pt modelId="{EE86FADE-838B-49E4-895F-2E5E1FDCEDDE}" type="pres">
      <dgm:prSet presAssocID="{5ABE35CD-9449-4B8D-8D39-CF11C0789ACE}" presName="node" presStyleLbl="node1" presStyleIdx="3" presStyleCnt="6">
        <dgm:presLayoutVars>
          <dgm:bulletEnabled val="1"/>
        </dgm:presLayoutVars>
      </dgm:prSet>
      <dgm:spPr/>
    </dgm:pt>
    <dgm:pt modelId="{72B6432E-9B34-420E-9C81-680F9B9DBECE}" type="pres">
      <dgm:prSet presAssocID="{5ABE35CD-9449-4B8D-8D39-CF11C0789ACE}" presName="dummy" presStyleCnt="0"/>
      <dgm:spPr/>
    </dgm:pt>
    <dgm:pt modelId="{D328D59E-9E49-477D-BC0F-0D5BF1B724C5}" type="pres">
      <dgm:prSet presAssocID="{FC60E53F-6AE7-40D7-81AE-8CBDB4471B91}" presName="sibTrans" presStyleLbl="sibTrans2D1" presStyleIdx="3" presStyleCnt="6"/>
      <dgm:spPr/>
    </dgm:pt>
    <dgm:pt modelId="{70C49177-8AA6-4A98-B032-1B6E41CAD2D4}" type="pres">
      <dgm:prSet presAssocID="{078BCA29-A001-401A-9DBF-B3C754B97105}" presName="node" presStyleLbl="node1" presStyleIdx="4" presStyleCnt="6">
        <dgm:presLayoutVars>
          <dgm:bulletEnabled val="1"/>
        </dgm:presLayoutVars>
      </dgm:prSet>
      <dgm:spPr/>
    </dgm:pt>
    <dgm:pt modelId="{41194C10-C63A-4DE9-A31A-1BB30D3B4A44}" type="pres">
      <dgm:prSet presAssocID="{078BCA29-A001-401A-9DBF-B3C754B97105}" presName="dummy" presStyleCnt="0"/>
      <dgm:spPr/>
    </dgm:pt>
    <dgm:pt modelId="{CB5E14D3-4474-4AF1-A693-C996C3B172AE}" type="pres">
      <dgm:prSet presAssocID="{6CACFFBF-15FC-4816-B01D-DA21DCDD98FE}" presName="sibTrans" presStyleLbl="sibTrans2D1" presStyleIdx="4" presStyleCnt="6"/>
      <dgm:spPr/>
    </dgm:pt>
    <dgm:pt modelId="{17EB00D3-5976-4824-8117-7FF187C014D9}" type="pres">
      <dgm:prSet presAssocID="{A98F9D82-A041-4B77-B2D7-BCF674ADEB72}" presName="node" presStyleLbl="node1" presStyleIdx="5" presStyleCnt="6">
        <dgm:presLayoutVars>
          <dgm:bulletEnabled val="1"/>
        </dgm:presLayoutVars>
      </dgm:prSet>
      <dgm:spPr/>
    </dgm:pt>
    <dgm:pt modelId="{BDEE8182-4744-4935-95FE-57D5EBBCEF47}" type="pres">
      <dgm:prSet presAssocID="{A98F9D82-A041-4B77-B2D7-BCF674ADEB72}" presName="dummy" presStyleCnt="0"/>
      <dgm:spPr/>
    </dgm:pt>
    <dgm:pt modelId="{AA040FA1-47BD-41AF-BEEB-2E496012B0AC}" type="pres">
      <dgm:prSet presAssocID="{1D423ECB-D7C8-4A1A-A31D-B9F2B1E0B2EF}" presName="sibTrans" presStyleLbl="sibTrans2D1" presStyleIdx="5" presStyleCnt="6"/>
      <dgm:spPr/>
    </dgm:pt>
  </dgm:ptLst>
  <dgm:cxnLst>
    <dgm:cxn modelId="{7E7A8021-1151-4A4C-86F0-D929E069997B}" type="presOf" srcId="{4202E678-A66C-47CB-B8C1-15FC6529A55C}" destId="{BB3345C1-36C3-4CDB-8F65-5B21ADE2889F}" srcOrd="0" destOrd="0" presId="urn:microsoft.com/office/officeart/2005/8/layout/radial6"/>
    <dgm:cxn modelId="{E6D8B130-9247-4C61-8E38-92C8EC6FF76E}" srcId="{C2EACD5E-2B62-4DAD-A8F7-FF28B91C3CFE}" destId="{5ABE35CD-9449-4B8D-8D39-CF11C0789ACE}" srcOrd="3" destOrd="0" parTransId="{10E57A1D-F77E-496D-B371-61D5D3125128}" sibTransId="{FC60E53F-6AE7-40D7-81AE-8CBDB4471B91}"/>
    <dgm:cxn modelId="{3FF5AB40-56FA-44F3-92E4-33C8366F19C2}" srcId="{C2EACD5E-2B62-4DAD-A8F7-FF28B91C3CFE}" destId="{A98F9D82-A041-4B77-B2D7-BCF674ADEB72}" srcOrd="5" destOrd="0" parTransId="{636CB794-F799-4DC0-BCB5-AB36F2FBA4FD}" sibTransId="{1D423ECB-D7C8-4A1A-A31D-B9F2B1E0B2EF}"/>
    <dgm:cxn modelId="{7491785C-7147-4C18-965A-37AEA32FEC46}" type="presOf" srcId="{3013A7E8-9077-4939-88E4-E4518EACD97B}" destId="{AE2B3145-5D2C-4CD8-AB4E-852881F750B8}" srcOrd="0" destOrd="0" presId="urn:microsoft.com/office/officeart/2005/8/layout/radial6"/>
    <dgm:cxn modelId="{8E26C55D-4364-4FDE-B681-2958F3E28CBD}" srcId="{4202E678-A66C-47CB-B8C1-15FC6529A55C}" destId="{C2EACD5E-2B62-4DAD-A8F7-FF28B91C3CFE}" srcOrd="0" destOrd="0" parTransId="{DA1D11B2-AD1A-42B5-A8BF-02C209C722B6}" sibTransId="{593A9E36-F599-4798-A310-DE7F8A0BA78B}"/>
    <dgm:cxn modelId="{F7564461-C047-48DE-AE57-991417AC5AF6}" type="presOf" srcId="{078BCA29-A001-401A-9DBF-B3C754B97105}" destId="{70C49177-8AA6-4A98-B032-1B6E41CAD2D4}" srcOrd="0" destOrd="0" presId="urn:microsoft.com/office/officeart/2005/8/layout/radial6"/>
    <dgm:cxn modelId="{B3B05143-3D00-4618-B5AA-6CC3FC6C025B}" srcId="{C2EACD5E-2B62-4DAD-A8F7-FF28B91C3CFE}" destId="{078BCA29-A001-401A-9DBF-B3C754B97105}" srcOrd="4" destOrd="0" parTransId="{69F40537-B474-43A2-B057-FD4385F85B37}" sibTransId="{6CACFFBF-15FC-4816-B01D-DA21DCDD98FE}"/>
    <dgm:cxn modelId="{4D4BD544-CAF0-4137-B2FB-039B4952775E}" type="presOf" srcId="{5ABE35CD-9449-4B8D-8D39-CF11C0789ACE}" destId="{EE86FADE-838B-49E4-895F-2E5E1FDCEDDE}" srcOrd="0" destOrd="0" presId="urn:microsoft.com/office/officeart/2005/8/layout/radial6"/>
    <dgm:cxn modelId="{FAE4ED6A-1A49-4CB4-8121-0EC550D03D18}" type="presOf" srcId="{8B3A8B51-A15C-4C05-9BA1-C6D8B3466B57}" destId="{F3D2581F-38CB-403B-B789-82F82B41D7A3}" srcOrd="0" destOrd="0" presId="urn:microsoft.com/office/officeart/2005/8/layout/radial6"/>
    <dgm:cxn modelId="{76BD5A7B-3213-4BBD-A359-A33893FD2C93}" type="presOf" srcId="{FEE46B93-9E47-43F7-9182-12B77DC2C79E}" destId="{B5AAC2D6-B5FA-432E-8962-BE89E45DC358}" srcOrd="0" destOrd="0" presId="urn:microsoft.com/office/officeart/2005/8/layout/radial6"/>
    <dgm:cxn modelId="{5CFCD68B-6A9F-47AC-9F27-28C94E4418FE}" type="presOf" srcId="{29F18C65-045F-46FA-9226-636DE54A7AFF}" destId="{213987C4-CBC7-4E7F-94C7-03ECA3770F60}" srcOrd="0" destOrd="0" presId="urn:microsoft.com/office/officeart/2005/8/layout/radial6"/>
    <dgm:cxn modelId="{923F7EA6-9402-44DC-ACD2-0EA35CDD507F}" type="presOf" srcId="{FC60E53F-6AE7-40D7-81AE-8CBDB4471B91}" destId="{D328D59E-9E49-477D-BC0F-0D5BF1B724C5}" srcOrd="0" destOrd="0" presId="urn:microsoft.com/office/officeart/2005/8/layout/radial6"/>
    <dgm:cxn modelId="{6EA853AA-CB12-4F69-8583-75287A069E7B}" type="presOf" srcId="{9C4C4603-BED9-4B7C-8306-41816EDB6238}" destId="{0BEA4C78-4D05-4671-B1CE-225AB92EF3EC}" srcOrd="0" destOrd="0" presId="urn:microsoft.com/office/officeart/2005/8/layout/radial6"/>
    <dgm:cxn modelId="{E18CC0AD-48CE-4164-B22E-1E2433E53F79}" type="presOf" srcId="{6CACFFBF-15FC-4816-B01D-DA21DCDD98FE}" destId="{CB5E14D3-4474-4AF1-A693-C996C3B172AE}" srcOrd="0" destOrd="0" presId="urn:microsoft.com/office/officeart/2005/8/layout/radial6"/>
    <dgm:cxn modelId="{72A8E9CA-33CF-4243-A998-3669EDC9A6DD}" type="presOf" srcId="{C2EACD5E-2B62-4DAD-A8F7-FF28B91C3CFE}" destId="{A177929E-E273-4D10-AC1B-9F3964D4D147}" srcOrd="0" destOrd="0" presId="urn:microsoft.com/office/officeart/2005/8/layout/radial6"/>
    <dgm:cxn modelId="{EE9C49CD-1D94-4B00-87FB-FD535841C430}" type="presOf" srcId="{4FC3FC31-BEB1-4FAF-9418-B93EDA73280B}" destId="{78AB4B54-E504-43FD-A548-42BDD21FB601}" srcOrd="0" destOrd="0" presId="urn:microsoft.com/office/officeart/2005/8/layout/radial6"/>
    <dgm:cxn modelId="{313C95DD-A9DC-4208-94B5-CCBFD504D86A}" type="presOf" srcId="{A98F9D82-A041-4B77-B2D7-BCF674ADEB72}" destId="{17EB00D3-5976-4824-8117-7FF187C014D9}" srcOrd="0" destOrd="0" presId="urn:microsoft.com/office/officeart/2005/8/layout/radial6"/>
    <dgm:cxn modelId="{FD5D11E0-AF90-4809-B5B6-D0667A77F95F}" srcId="{C2EACD5E-2B62-4DAD-A8F7-FF28B91C3CFE}" destId="{3013A7E8-9077-4939-88E4-E4518EACD97B}" srcOrd="1" destOrd="0" parTransId="{B74A9061-9A80-48A2-8A2A-914134E7941D}" sibTransId="{9C4C4603-BED9-4B7C-8306-41816EDB6238}"/>
    <dgm:cxn modelId="{42509EE1-148A-4840-A347-28E4B5AD74A5}" type="presOf" srcId="{1D423ECB-D7C8-4A1A-A31D-B9F2B1E0B2EF}" destId="{AA040FA1-47BD-41AF-BEEB-2E496012B0AC}" srcOrd="0" destOrd="0" presId="urn:microsoft.com/office/officeart/2005/8/layout/radial6"/>
    <dgm:cxn modelId="{DFF7B6E4-3FF6-4CD5-92D8-8FB3E1C5F6BD}" srcId="{C2EACD5E-2B62-4DAD-A8F7-FF28B91C3CFE}" destId="{8B3A8B51-A15C-4C05-9BA1-C6D8B3466B57}" srcOrd="2" destOrd="0" parTransId="{9930A807-69E2-410C-ADCC-A28A6BFFF8E0}" sibTransId="{4FC3FC31-BEB1-4FAF-9418-B93EDA73280B}"/>
    <dgm:cxn modelId="{444D56FA-29F0-413F-8493-31EC2DECC069}" srcId="{C2EACD5E-2B62-4DAD-A8F7-FF28B91C3CFE}" destId="{29F18C65-045F-46FA-9226-636DE54A7AFF}" srcOrd="0" destOrd="0" parTransId="{BED5EB1B-6AB2-4AEC-AA0F-5E6F7B4E4E1F}" sibTransId="{FEE46B93-9E47-43F7-9182-12B77DC2C79E}"/>
    <dgm:cxn modelId="{E3655D9C-7CFF-4BB9-A9A3-930666BA9341}" type="presParOf" srcId="{BB3345C1-36C3-4CDB-8F65-5B21ADE2889F}" destId="{A177929E-E273-4D10-AC1B-9F3964D4D147}" srcOrd="0" destOrd="0" presId="urn:microsoft.com/office/officeart/2005/8/layout/radial6"/>
    <dgm:cxn modelId="{35F04013-4770-4E93-A7B3-15B55BECBD62}" type="presParOf" srcId="{BB3345C1-36C3-4CDB-8F65-5B21ADE2889F}" destId="{213987C4-CBC7-4E7F-94C7-03ECA3770F60}" srcOrd="1" destOrd="0" presId="urn:microsoft.com/office/officeart/2005/8/layout/radial6"/>
    <dgm:cxn modelId="{C03731FF-A849-4045-9EC6-4DAB477D30B2}" type="presParOf" srcId="{BB3345C1-36C3-4CDB-8F65-5B21ADE2889F}" destId="{D80651AE-99BB-4724-9EE5-1605D5F599B9}" srcOrd="2" destOrd="0" presId="urn:microsoft.com/office/officeart/2005/8/layout/radial6"/>
    <dgm:cxn modelId="{A468ADDD-0BCD-4627-9E12-949A197E586C}" type="presParOf" srcId="{BB3345C1-36C3-4CDB-8F65-5B21ADE2889F}" destId="{B5AAC2D6-B5FA-432E-8962-BE89E45DC358}" srcOrd="3" destOrd="0" presId="urn:microsoft.com/office/officeart/2005/8/layout/radial6"/>
    <dgm:cxn modelId="{7716E91E-A4E9-49DD-89F8-0F072816B2F1}" type="presParOf" srcId="{BB3345C1-36C3-4CDB-8F65-5B21ADE2889F}" destId="{AE2B3145-5D2C-4CD8-AB4E-852881F750B8}" srcOrd="4" destOrd="0" presId="urn:microsoft.com/office/officeart/2005/8/layout/radial6"/>
    <dgm:cxn modelId="{8F46A936-A7FF-4280-8B30-4DC05EF128D5}" type="presParOf" srcId="{BB3345C1-36C3-4CDB-8F65-5B21ADE2889F}" destId="{A1B9B537-2C25-4B16-BAF7-411F9DB02266}" srcOrd="5" destOrd="0" presId="urn:microsoft.com/office/officeart/2005/8/layout/radial6"/>
    <dgm:cxn modelId="{0B5CCEE5-4ED1-4324-8823-D6CFAC62DC61}" type="presParOf" srcId="{BB3345C1-36C3-4CDB-8F65-5B21ADE2889F}" destId="{0BEA4C78-4D05-4671-B1CE-225AB92EF3EC}" srcOrd="6" destOrd="0" presId="urn:microsoft.com/office/officeart/2005/8/layout/radial6"/>
    <dgm:cxn modelId="{897CCDC1-9FDE-4043-89D4-952727E2F533}" type="presParOf" srcId="{BB3345C1-36C3-4CDB-8F65-5B21ADE2889F}" destId="{F3D2581F-38CB-403B-B789-82F82B41D7A3}" srcOrd="7" destOrd="0" presId="urn:microsoft.com/office/officeart/2005/8/layout/radial6"/>
    <dgm:cxn modelId="{02CBF055-B596-415F-AD9A-BAE081F4BDF6}" type="presParOf" srcId="{BB3345C1-36C3-4CDB-8F65-5B21ADE2889F}" destId="{FCCA3E63-E2C6-4DAD-AB33-B71259174D27}" srcOrd="8" destOrd="0" presId="urn:microsoft.com/office/officeart/2005/8/layout/radial6"/>
    <dgm:cxn modelId="{CFC3FB4A-D1FA-464C-8081-E42E88EDA2E0}" type="presParOf" srcId="{BB3345C1-36C3-4CDB-8F65-5B21ADE2889F}" destId="{78AB4B54-E504-43FD-A548-42BDD21FB601}" srcOrd="9" destOrd="0" presId="urn:microsoft.com/office/officeart/2005/8/layout/radial6"/>
    <dgm:cxn modelId="{9586C2F8-C021-4F3C-A62D-C52B92728B9F}" type="presParOf" srcId="{BB3345C1-36C3-4CDB-8F65-5B21ADE2889F}" destId="{EE86FADE-838B-49E4-895F-2E5E1FDCEDDE}" srcOrd="10" destOrd="0" presId="urn:microsoft.com/office/officeart/2005/8/layout/radial6"/>
    <dgm:cxn modelId="{98816AF4-E28E-4E72-8464-C36CCB5F3325}" type="presParOf" srcId="{BB3345C1-36C3-4CDB-8F65-5B21ADE2889F}" destId="{72B6432E-9B34-420E-9C81-680F9B9DBECE}" srcOrd="11" destOrd="0" presId="urn:microsoft.com/office/officeart/2005/8/layout/radial6"/>
    <dgm:cxn modelId="{9D85D9F7-2D3A-4B36-9EDB-B573A9349586}" type="presParOf" srcId="{BB3345C1-36C3-4CDB-8F65-5B21ADE2889F}" destId="{D328D59E-9E49-477D-BC0F-0D5BF1B724C5}" srcOrd="12" destOrd="0" presId="urn:microsoft.com/office/officeart/2005/8/layout/radial6"/>
    <dgm:cxn modelId="{96C30402-150C-413D-999B-4887898BF862}" type="presParOf" srcId="{BB3345C1-36C3-4CDB-8F65-5B21ADE2889F}" destId="{70C49177-8AA6-4A98-B032-1B6E41CAD2D4}" srcOrd="13" destOrd="0" presId="urn:microsoft.com/office/officeart/2005/8/layout/radial6"/>
    <dgm:cxn modelId="{3D7CE374-874A-4168-B0A3-3F8AF31981BB}" type="presParOf" srcId="{BB3345C1-36C3-4CDB-8F65-5B21ADE2889F}" destId="{41194C10-C63A-4DE9-A31A-1BB30D3B4A44}" srcOrd="14" destOrd="0" presId="urn:microsoft.com/office/officeart/2005/8/layout/radial6"/>
    <dgm:cxn modelId="{CB048C8C-F332-4D3F-AE4F-5A98D49FF776}" type="presParOf" srcId="{BB3345C1-36C3-4CDB-8F65-5B21ADE2889F}" destId="{CB5E14D3-4474-4AF1-A693-C996C3B172AE}" srcOrd="15" destOrd="0" presId="urn:microsoft.com/office/officeart/2005/8/layout/radial6"/>
    <dgm:cxn modelId="{518A089A-C81F-4EA3-82A4-0B9769D5F8E4}" type="presParOf" srcId="{BB3345C1-36C3-4CDB-8F65-5B21ADE2889F}" destId="{17EB00D3-5976-4824-8117-7FF187C014D9}" srcOrd="16" destOrd="0" presId="urn:microsoft.com/office/officeart/2005/8/layout/radial6"/>
    <dgm:cxn modelId="{8FDA3E05-3FED-4E4F-83AC-7563CF70751F}" type="presParOf" srcId="{BB3345C1-36C3-4CDB-8F65-5B21ADE2889F}" destId="{BDEE8182-4744-4935-95FE-57D5EBBCEF47}" srcOrd="17" destOrd="0" presId="urn:microsoft.com/office/officeart/2005/8/layout/radial6"/>
    <dgm:cxn modelId="{FFAEB742-E9C1-419F-A27A-8BF840AA011D}" type="presParOf" srcId="{BB3345C1-36C3-4CDB-8F65-5B21ADE2889F}" destId="{AA040FA1-47BD-41AF-BEEB-2E496012B0AC}" srcOrd="18"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89DD95B-9370-4CFC-ABD8-79AE95D680AB}" type="doc">
      <dgm:prSet loTypeId="urn:microsoft.com/office/officeart/2011/layout/HexagonRadial" loCatId="officeonline" qsTypeId="urn:microsoft.com/office/officeart/2005/8/quickstyle/simple1" qsCatId="simple" csTypeId="urn:microsoft.com/office/officeart/2005/8/colors/accent3_2" csCatId="accent3" phldr="1"/>
      <dgm:spPr/>
      <dgm:t>
        <a:bodyPr/>
        <a:lstStyle/>
        <a:p>
          <a:endParaRPr lang="en-US"/>
        </a:p>
      </dgm:t>
    </dgm:pt>
    <dgm:pt modelId="{16A93C0D-A53A-44A8-8EC3-91F11BAC3FF0}">
      <dgm:prSet phldrT="[Text]" phldr="1"/>
      <dgm:spPr/>
      <dgm:t>
        <a:bodyPr/>
        <a:lstStyle/>
        <a:p>
          <a:endParaRPr lang="en-US"/>
        </a:p>
      </dgm:t>
    </dgm:pt>
    <dgm:pt modelId="{A0280E0E-AB95-454F-A60B-0173BF22D202}" type="parTrans" cxnId="{46F06FF4-E340-4AAE-B445-F52B2C92D1C7}">
      <dgm:prSet/>
      <dgm:spPr/>
      <dgm:t>
        <a:bodyPr/>
        <a:lstStyle/>
        <a:p>
          <a:endParaRPr lang="en-US"/>
        </a:p>
      </dgm:t>
    </dgm:pt>
    <dgm:pt modelId="{29D9F9DC-7A68-49E8-A398-AB2B2BD85EC3}" type="sibTrans" cxnId="{46F06FF4-E340-4AAE-B445-F52B2C92D1C7}">
      <dgm:prSet/>
      <dgm:spPr/>
      <dgm:t>
        <a:bodyPr/>
        <a:lstStyle/>
        <a:p>
          <a:endParaRPr lang="en-US"/>
        </a:p>
      </dgm:t>
    </dgm:pt>
    <dgm:pt modelId="{8F935CBD-51CE-4C50-BCA1-8581923EAC1E}">
      <dgm:prSet phldrT="[Text]" phldr="1"/>
      <dgm:spPr/>
      <dgm:t>
        <a:bodyPr/>
        <a:lstStyle/>
        <a:p>
          <a:endParaRPr lang="en-US"/>
        </a:p>
      </dgm:t>
    </dgm:pt>
    <dgm:pt modelId="{B551D5F6-C990-4F28-B2A0-CBA918EE6D9A}" type="parTrans" cxnId="{D0A3FCBF-AD30-4FFA-9CAA-A418A1B49DD1}">
      <dgm:prSet/>
      <dgm:spPr/>
      <dgm:t>
        <a:bodyPr/>
        <a:lstStyle/>
        <a:p>
          <a:endParaRPr lang="en-US"/>
        </a:p>
      </dgm:t>
    </dgm:pt>
    <dgm:pt modelId="{CF2E9C7E-7E5E-491A-8C4A-1F5B4676D7A9}" type="sibTrans" cxnId="{D0A3FCBF-AD30-4FFA-9CAA-A418A1B49DD1}">
      <dgm:prSet/>
      <dgm:spPr/>
      <dgm:t>
        <a:bodyPr/>
        <a:lstStyle/>
        <a:p>
          <a:endParaRPr lang="en-US"/>
        </a:p>
      </dgm:t>
    </dgm:pt>
    <dgm:pt modelId="{60B08CAF-5BA1-4F8D-96E9-6794384E1E06}">
      <dgm:prSet phldrT="[Text]" phldr="1"/>
      <dgm:spPr/>
      <dgm:t>
        <a:bodyPr/>
        <a:lstStyle/>
        <a:p>
          <a:endParaRPr lang="en-US"/>
        </a:p>
      </dgm:t>
    </dgm:pt>
    <dgm:pt modelId="{C386BF82-7224-4034-88C8-07B8A24BDDBF}" type="parTrans" cxnId="{D2301225-BFFC-4EDB-BF1A-B67A6536BC96}">
      <dgm:prSet/>
      <dgm:spPr/>
      <dgm:t>
        <a:bodyPr/>
        <a:lstStyle/>
        <a:p>
          <a:endParaRPr lang="en-US"/>
        </a:p>
      </dgm:t>
    </dgm:pt>
    <dgm:pt modelId="{161C0317-C433-4E54-BF22-4E32684D0F4C}" type="sibTrans" cxnId="{D2301225-BFFC-4EDB-BF1A-B67A6536BC96}">
      <dgm:prSet/>
      <dgm:spPr/>
      <dgm:t>
        <a:bodyPr/>
        <a:lstStyle/>
        <a:p>
          <a:endParaRPr lang="en-US"/>
        </a:p>
      </dgm:t>
    </dgm:pt>
    <dgm:pt modelId="{DF0B30BF-023E-410A-947F-7A6EA636C578}">
      <dgm:prSet phldrT="[Text]" phldr="1"/>
      <dgm:spPr/>
      <dgm:t>
        <a:bodyPr/>
        <a:lstStyle/>
        <a:p>
          <a:endParaRPr lang="en-US"/>
        </a:p>
      </dgm:t>
    </dgm:pt>
    <dgm:pt modelId="{4A3D01D4-B688-44B1-A4C7-7347E5A002F2}" type="parTrans" cxnId="{064259C0-4C9E-451A-9227-333841FD0407}">
      <dgm:prSet/>
      <dgm:spPr/>
      <dgm:t>
        <a:bodyPr/>
        <a:lstStyle/>
        <a:p>
          <a:endParaRPr lang="en-US"/>
        </a:p>
      </dgm:t>
    </dgm:pt>
    <dgm:pt modelId="{46FE3FBF-102E-451F-ADE9-085C9E3E2D36}" type="sibTrans" cxnId="{064259C0-4C9E-451A-9227-333841FD0407}">
      <dgm:prSet/>
      <dgm:spPr/>
      <dgm:t>
        <a:bodyPr/>
        <a:lstStyle/>
        <a:p>
          <a:endParaRPr lang="en-US"/>
        </a:p>
      </dgm:t>
    </dgm:pt>
    <dgm:pt modelId="{DB8C2E97-A126-4E55-A549-B7751A53D2C6}">
      <dgm:prSet phldrT="[Text]" phldr="1"/>
      <dgm:spPr/>
      <dgm:t>
        <a:bodyPr/>
        <a:lstStyle/>
        <a:p>
          <a:endParaRPr lang="en-US"/>
        </a:p>
      </dgm:t>
    </dgm:pt>
    <dgm:pt modelId="{25D8967E-AC82-40C8-808F-779EC3324F7D}" type="parTrans" cxnId="{CF88E49B-FA4C-4750-84FF-02E3E468B73D}">
      <dgm:prSet/>
      <dgm:spPr/>
      <dgm:t>
        <a:bodyPr/>
        <a:lstStyle/>
        <a:p>
          <a:endParaRPr lang="en-US"/>
        </a:p>
      </dgm:t>
    </dgm:pt>
    <dgm:pt modelId="{538CF1BB-54AB-4527-B102-118D3F8AF272}" type="sibTrans" cxnId="{CF88E49B-FA4C-4750-84FF-02E3E468B73D}">
      <dgm:prSet/>
      <dgm:spPr/>
      <dgm:t>
        <a:bodyPr/>
        <a:lstStyle/>
        <a:p>
          <a:endParaRPr lang="en-US"/>
        </a:p>
      </dgm:t>
    </dgm:pt>
    <dgm:pt modelId="{4B077963-176A-42B3-BA08-12DA3F4346ED}">
      <dgm:prSet phldrT="[Text]" phldr="1"/>
      <dgm:spPr/>
      <dgm:t>
        <a:bodyPr/>
        <a:lstStyle/>
        <a:p>
          <a:endParaRPr lang="en-US"/>
        </a:p>
      </dgm:t>
    </dgm:pt>
    <dgm:pt modelId="{77ED212C-A56B-45BD-9744-FC243CAAB718}" type="parTrans" cxnId="{C01FC5D1-97BB-4EB9-B89F-B91512442724}">
      <dgm:prSet/>
      <dgm:spPr/>
      <dgm:t>
        <a:bodyPr/>
        <a:lstStyle/>
        <a:p>
          <a:endParaRPr lang="en-US"/>
        </a:p>
      </dgm:t>
    </dgm:pt>
    <dgm:pt modelId="{E074BB61-EA41-4507-8C23-AAAECDE3C0E2}" type="sibTrans" cxnId="{C01FC5D1-97BB-4EB9-B89F-B91512442724}">
      <dgm:prSet/>
      <dgm:spPr/>
      <dgm:t>
        <a:bodyPr/>
        <a:lstStyle/>
        <a:p>
          <a:endParaRPr lang="en-US"/>
        </a:p>
      </dgm:t>
    </dgm:pt>
    <dgm:pt modelId="{AC7BC283-044D-472E-A3E8-C235CA0F7606}">
      <dgm:prSet phldrT="[Text]" phldr="1"/>
      <dgm:spPr/>
      <dgm:t>
        <a:bodyPr/>
        <a:lstStyle/>
        <a:p>
          <a:endParaRPr lang="en-US"/>
        </a:p>
      </dgm:t>
    </dgm:pt>
    <dgm:pt modelId="{D525722A-B560-4099-AFBD-272582144E4C}" type="parTrans" cxnId="{02E16F25-1514-45E5-8D59-BC08AB9E3C87}">
      <dgm:prSet/>
      <dgm:spPr/>
      <dgm:t>
        <a:bodyPr/>
        <a:lstStyle/>
        <a:p>
          <a:endParaRPr lang="en-US"/>
        </a:p>
      </dgm:t>
    </dgm:pt>
    <dgm:pt modelId="{6342654B-E3AA-4482-B16E-9369914A43A2}" type="sibTrans" cxnId="{02E16F25-1514-45E5-8D59-BC08AB9E3C87}">
      <dgm:prSet/>
      <dgm:spPr/>
      <dgm:t>
        <a:bodyPr/>
        <a:lstStyle/>
        <a:p>
          <a:endParaRPr lang="en-US"/>
        </a:p>
      </dgm:t>
    </dgm:pt>
    <dgm:pt modelId="{B720B2F8-E2F3-451C-97BC-7A2149D6F4C8}" type="pres">
      <dgm:prSet presAssocID="{489DD95B-9370-4CFC-ABD8-79AE95D680AB}" presName="Name0" presStyleCnt="0">
        <dgm:presLayoutVars>
          <dgm:chMax val="1"/>
          <dgm:chPref val="1"/>
          <dgm:dir/>
          <dgm:animOne val="branch"/>
          <dgm:animLvl val="lvl"/>
        </dgm:presLayoutVars>
      </dgm:prSet>
      <dgm:spPr/>
    </dgm:pt>
    <dgm:pt modelId="{9162E8BA-B2EC-4381-83F6-91CB6CB00E3B}" type="pres">
      <dgm:prSet presAssocID="{16A93C0D-A53A-44A8-8EC3-91F11BAC3FF0}" presName="Parent" presStyleLbl="node0" presStyleIdx="0" presStyleCnt="1">
        <dgm:presLayoutVars>
          <dgm:chMax val="6"/>
          <dgm:chPref val="6"/>
        </dgm:presLayoutVars>
      </dgm:prSet>
      <dgm:spPr/>
    </dgm:pt>
    <dgm:pt modelId="{6ADB9541-18C4-41FE-A4B7-5582F66902FC}" type="pres">
      <dgm:prSet presAssocID="{8F935CBD-51CE-4C50-BCA1-8581923EAC1E}" presName="Accent1" presStyleCnt="0"/>
      <dgm:spPr/>
    </dgm:pt>
    <dgm:pt modelId="{90984635-B2E4-4476-B5EC-D0F759D9D93B}" type="pres">
      <dgm:prSet presAssocID="{8F935CBD-51CE-4C50-BCA1-8581923EAC1E}" presName="Accent" presStyleLbl="bgShp" presStyleIdx="0" presStyleCnt="6"/>
      <dgm:spPr/>
    </dgm:pt>
    <dgm:pt modelId="{692CB49C-DDF1-4896-B924-9FCB757893F3}" type="pres">
      <dgm:prSet presAssocID="{8F935CBD-51CE-4C50-BCA1-8581923EAC1E}" presName="Child1" presStyleLbl="node1" presStyleIdx="0" presStyleCnt="6">
        <dgm:presLayoutVars>
          <dgm:chMax val="0"/>
          <dgm:chPref val="0"/>
          <dgm:bulletEnabled val="1"/>
        </dgm:presLayoutVars>
      </dgm:prSet>
      <dgm:spPr/>
    </dgm:pt>
    <dgm:pt modelId="{2839C5C1-1AC9-4D4F-ADDC-83B22E07415B}" type="pres">
      <dgm:prSet presAssocID="{60B08CAF-5BA1-4F8D-96E9-6794384E1E06}" presName="Accent2" presStyleCnt="0"/>
      <dgm:spPr/>
    </dgm:pt>
    <dgm:pt modelId="{90DC43C4-BCB1-4EDD-8333-9B9C554657F7}" type="pres">
      <dgm:prSet presAssocID="{60B08CAF-5BA1-4F8D-96E9-6794384E1E06}" presName="Accent" presStyleLbl="bgShp" presStyleIdx="1" presStyleCnt="6"/>
      <dgm:spPr/>
    </dgm:pt>
    <dgm:pt modelId="{25D77772-E1D2-48BA-B4BC-2597F72CE3F5}" type="pres">
      <dgm:prSet presAssocID="{60B08CAF-5BA1-4F8D-96E9-6794384E1E06}" presName="Child2" presStyleLbl="node1" presStyleIdx="1" presStyleCnt="6">
        <dgm:presLayoutVars>
          <dgm:chMax val="0"/>
          <dgm:chPref val="0"/>
          <dgm:bulletEnabled val="1"/>
        </dgm:presLayoutVars>
      </dgm:prSet>
      <dgm:spPr/>
    </dgm:pt>
    <dgm:pt modelId="{1768BE5A-1E16-432F-B56D-05397FEC511B}" type="pres">
      <dgm:prSet presAssocID="{DF0B30BF-023E-410A-947F-7A6EA636C578}" presName="Accent3" presStyleCnt="0"/>
      <dgm:spPr/>
    </dgm:pt>
    <dgm:pt modelId="{9223C5E2-2F75-4AFF-88BF-21AAB6E9AFDD}" type="pres">
      <dgm:prSet presAssocID="{DF0B30BF-023E-410A-947F-7A6EA636C578}" presName="Accent" presStyleLbl="bgShp" presStyleIdx="2" presStyleCnt="6"/>
      <dgm:spPr/>
    </dgm:pt>
    <dgm:pt modelId="{D2735B36-D5F1-4CB1-A615-1BD2550FA76E}" type="pres">
      <dgm:prSet presAssocID="{DF0B30BF-023E-410A-947F-7A6EA636C578}" presName="Child3" presStyleLbl="node1" presStyleIdx="2" presStyleCnt="6">
        <dgm:presLayoutVars>
          <dgm:chMax val="0"/>
          <dgm:chPref val="0"/>
          <dgm:bulletEnabled val="1"/>
        </dgm:presLayoutVars>
      </dgm:prSet>
      <dgm:spPr/>
    </dgm:pt>
    <dgm:pt modelId="{C496290E-4FD6-49AB-BF80-86005F891F41}" type="pres">
      <dgm:prSet presAssocID="{DB8C2E97-A126-4E55-A549-B7751A53D2C6}" presName="Accent4" presStyleCnt="0"/>
      <dgm:spPr/>
    </dgm:pt>
    <dgm:pt modelId="{EFE51E6E-A85C-404B-99A9-703DC4A53276}" type="pres">
      <dgm:prSet presAssocID="{DB8C2E97-A126-4E55-A549-B7751A53D2C6}" presName="Accent" presStyleLbl="bgShp" presStyleIdx="3" presStyleCnt="6"/>
      <dgm:spPr/>
    </dgm:pt>
    <dgm:pt modelId="{3F3D81A3-7636-4174-8B67-99DAD8BA22C8}" type="pres">
      <dgm:prSet presAssocID="{DB8C2E97-A126-4E55-A549-B7751A53D2C6}" presName="Child4" presStyleLbl="node1" presStyleIdx="3" presStyleCnt="6">
        <dgm:presLayoutVars>
          <dgm:chMax val="0"/>
          <dgm:chPref val="0"/>
          <dgm:bulletEnabled val="1"/>
        </dgm:presLayoutVars>
      </dgm:prSet>
      <dgm:spPr/>
    </dgm:pt>
    <dgm:pt modelId="{7D4D017C-7E2A-4D1C-B6B5-A525AA0B7E45}" type="pres">
      <dgm:prSet presAssocID="{4B077963-176A-42B3-BA08-12DA3F4346ED}" presName="Accent5" presStyleCnt="0"/>
      <dgm:spPr/>
    </dgm:pt>
    <dgm:pt modelId="{4B8B4C6E-65BE-4EA8-8C4C-79768600F3FD}" type="pres">
      <dgm:prSet presAssocID="{4B077963-176A-42B3-BA08-12DA3F4346ED}" presName="Accent" presStyleLbl="bgShp" presStyleIdx="4" presStyleCnt="6"/>
      <dgm:spPr/>
    </dgm:pt>
    <dgm:pt modelId="{88FA8AA0-DDFC-4368-93ED-490AC4B495F8}" type="pres">
      <dgm:prSet presAssocID="{4B077963-176A-42B3-BA08-12DA3F4346ED}" presName="Child5" presStyleLbl="node1" presStyleIdx="4" presStyleCnt="6">
        <dgm:presLayoutVars>
          <dgm:chMax val="0"/>
          <dgm:chPref val="0"/>
          <dgm:bulletEnabled val="1"/>
        </dgm:presLayoutVars>
      </dgm:prSet>
      <dgm:spPr/>
    </dgm:pt>
    <dgm:pt modelId="{F5C0B2F4-893A-43B1-AEE9-181C3E5026BE}" type="pres">
      <dgm:prSet presAssocID="{AC7BC283-044D-472E-A3E8-C235CA0F7606}" presName="Accent6" presStyleCnt="0"/>
      <dgm:spPr/>
    </dgm:pt>
    <dgm:pt modelId="{5BA93D46-F6AC-4854-8E16-A6E28A0AF1CB}" type="pres">
      <dgm:prSet presAssocID="{AC7BC283-044D-472E-A3E8-C235CA0F7606}" presName="Accent" presStyleLbl="bgShp" presStyleIdx="5" presStyleCnt="6"/>
      <dgm:spPr/>
    </dgm:pt>
    <dgm:pt modelId="{945705A2-58AF-4BB9-B49A-A9D15EEE5528}" type="pres">
      <dgm:prSet presAssocID="{AC7BC283-044D-472E-A3E8-C235CA0F7606}" presName="Child6" presStyleLbl="node1" presStyleIdx="5" presStyleCnt="6">
        <dgm:presLayoutVars>
          <dgm:chMax val="0"/>
          <dgm:chPref val="0"/>
          <dgm:bulletEnabled val="1"/>
        </dgm:presLayoutVars>
      </dgm:prSet>
      <dgm:spPr/>
    </dgm:pt>
  </dgm:ptLst>
  <dgm:cxnLst>
    <dgm:cxn modelId="{23588908-CAC6-4D87-98CF-3CEBF97EA498}" type="presOf" srcId="{8F935CBD-51CE-4C50-BCA1-8581923EAC1E}" destId="{692CB49C-DDF1-4896-B924-9FCB757893F3}" srcOrd="0" destOrd="0" presId="urn:microsoft.com/office/officeart/2011/layout/HexagonRadial"/>
    <dgm:cxn modelId="{D2301225-BFFC-4EDB-BF1A-B67A6536BC96}" srcId="{16A93C0D-A53A-44A8-8EC3-91F11BAC3FF0}" destId="{60B08CAF-5BA1-4F8D-96E9-6794384E1E06}" srcOrd="1" destOrd="0" parTransId="{C386BF82-7224-4034-88C8-07B8A24BDDBF}" sibTransId="{161C0317-C433-4E54-BF22-4E32684D0F4C}"/>
    <dgm:cxn modelId="{02E16F25-1514-45E5-8D59-BC08AB9E3C87}" srcId="{16A93C0D-A53A-44A8-8EC3-91F11BAC3FF0}" destId="{AC7BC283-044D-472E-A3E8-C235CA0F7606}" srcOrd="5" destOrd="0" parTransId="{D525722A-B560-4099-AFBD-272582144E4C}" sibTransId="{6342654B-E3AA-4482-B16E-9369914A43A2}"/>
    <dgm:cxn modelId="{0CE29D6A-C90B-4852-B0A3-76239B1D4F7A}" type="presOf" srcId="{60B08CAF-5BA1-4F8D-96E9-6794384E1E06}" destId="{25D77772-E1D2-48BA-B4BC-2597F72CE3F5}" srcOrd="0" destOrd="0" presId="urn:microsoft.com/office/officeart/2011/layout/HexagonRadial"/>
    <dgm:cxn modelId="{72BCA46B-F0E9-452B-B76A-19CC12D81D1C}" type="presOf" srcId="{4B077963-176A-42B3-BA08-12DA3F4346ED}" destId="{88FA8AA0-DDFC-4368-93ED-490AC4B495F8}" srcOrd="0" destOrd="0" presId="urn:microsoft.com/office/officeart/2011/layout/HexagonRadial"/>
    <dgm:cxn modelId="{B3BD7A53-594F-447F-84FA-5721E9ECD930}" type="presOf" srcId="{489DD95B-9370-4CFC-ABD8-79AE95D680AB}" destId="{B720B2F8-E2F3-451C-97BC-7A2149D6F4C8}" srcOrd="0" destOrd="0" presId="urn:microsoft.com/office/officeart/2011/layout/HexagonRadial"/>
    <dgm:cxn modelId="{8B35FD7D-6F75-4FCC-A213-3EE75BFD7F7E}" type="presOf" srcId="{DF0B30BF-023E-410A-947F-7A6EA636C578}" destId="{D2735B36-D5F1-4CB1-A615-1BD2550FA76E}" srcOrd="0" destOrd="0" presId="urn:microsoft.com/office/officeart/2011/layout/HexagonRadial"/>
    <dgm:cxn modelId="{340A158C-156F-4AB5-9CAF-1846D7E977CF}" type="presOf" srcId="{16A93C0D-A53A-44A8-8EC3-91F11BAC3FF0}" destId="{9162E8BA-B2EC-4381-83F6-91CB6CB00E3B}" srcOrd="0" destOrd="0" presId="urn:microsoft.com/office/officeart/2011/layout/HexagonRadial"/>
    <dgm:cxn modelId="{CF88E49B-FA4C-4750-84FF-02E3E468B73D}" srcId="{16A93C0D-A53A-44A8-8EC3-91F11BAC3FF0}" destId="{DB8C2E97-A126-4E55-A549-B7751A53D2C6}" srcOrd="3" destOrd="0" parTransId="{25D8967E-AC82-40C8-808F-779EC3324F7D}" sibTransId="{538CF1BB-54AB-4527-B102-118D3F8AF272}"/>
    <dgm:cxn modelId="{AF5F1AB5-ADC7-4865-9AB5-BDA95D8B76FF}" type="presOf" srcId="{AC7BC283-044D-472E-A3E8-C235CA0F7606}" destId="{945705A2-58AF-4BB9-B49A-A9D15EEE5528}" srcOrd="0" destOrd="0" presId="urn:microsoft.com/office/officeart/2011/layout/HexagonRadial"/>
    <dgm:cxn modelId="{16B2E5B6-ECF2-435D-B5C9-836A072BF928}" type="presOf" srcId="{DB8C2E97-A126-4E55-A549-B7751A53D2C6}" destId="{3F3D81A3-7636-4174-8B67-99DAD8BA22C8}" srcOrd="0" destOrd="0" presId="urn:microsoft.com/office/officeart/2011/layout/HexagonRadial"/>
    <dgm:cxn modelId="{D0A3FCBF-AD30-4FFA-9CAA-A418A1B49DD1}" srcId="{16A93C0D-A53A-44A8-8EC3-91F11BAC3FF0}" destId="{8F935CBD-51CE-4C50-BCA1-8581923EAC1E}" srcOrd="0" destOrd="0" parTransId="{B551D5F6-C990-4F28-B2A0-CBA918EE6D9A}" sibTransId="{CF2E9C7E-7E5E-491A-8C4A-1F5B4676D7A9}"/>
    <dgm:cxn modelId="{064259C0-4C9E-451A-9227-333841FD0407}" srcId="{16A93C0D-A53A-44A8-8EC3-91F11BAC3FF0}" destId="{DF0B30BF-023E-410A-947F-7A6EA636C578}" srcOrd="2" destOrd="0" parTransId="{4A3D01D4-B688-44B1-A4C7-7347E5A002F2}" sibTransId="{46FE3FBF-102E-451F-ADE9-085C9E3E2D36}"/>
    <dgm:cxn modelId="{C01FC5D1-97BB-4EB9-B89F-B91512442724}" srcId="{16A93C0D-A53A-44A8-8EC3-91F11BAC3FF0}" destId="{4B077963-176A-42B3-BA08-12DA3F4346ED}" srcOrd="4" destOrd="0" parTransId="{77ED212C-A56B-45BD-9744-FC243CAAB718}" sibTransId="{E074BB61-EA41-4507-8C23-AAAECDE3C0E2}"/>
    <dgm:cxn modelId="{46F06FF4-E340-4AAE-B445-F52B2C92D1C7}" srcId="{489DD95B-9370-4CFC-ABD8-79AE95D680AB}" destId="{16A93C0D-A53A-44A8-8EC3-91F11BAC3FF0}" srcOrd="0" destOrd="0" parTransId="{A0280E0E-AB95-454F-A60B-0173BF22D202}" sibTransId="{29D9F9DC-7A68-49E8-A398-AB2B2BD85EC3}"/>
    <dgm:cxn modelId="{7B14E799-B5F5-418B-8E42-B1FABFC30818}" type="presParOf" srcId="{B720B2F8-E2F3-451C-97BC-7A2149D6F4C8}" destId="{9162E8BA-B2EC-4381-83F6-91CB6CB00E3B}" srcOrd="0" destOrd="0" presId="urn:microsoft.com/office/officeart/2011/layout/HexagonRadial"/>
    <dgm:cxn modelId="{02CDBAD1-E51F-4A89-9463-E8C8E996E410}" type="presParOf" srcId="{B720B2F8-E2F3-451C-97BC-7A2149D6F4C8}" destId="{6ADB9541-18C4-41FE-A4B7-5582F66902FC}" srcOrd="1" destOrd="0" presId="urn:microsoft.com/office/officeart/2011/layout/HexagonRadial"/>
    <dgm:cxn modelId="{4EEBED59-4C5E-4EF8-88BA-A4097202469B}" type="presParOf" srcId="{6ADB9541-18C4-41FE-A4B7-5582F66902FC}" destId="{90984635-B2E4-4476-B5EC-D0F759D9D93B}" srcOrd="0" destOrd="0" presId="urn:microsoft.com/office/officeart/2011/layout/HexagonRadial"/>
    <dgm:cxn modelId="{8C7E4D21-B790-4FD8-928F-CF0E802CEABD}" type="presParOf" srcId="{B720B2F8-E2F3-451C-97BC-7A2149D6F4C8}" destId="{692CB49C-DDF1-4896-B924-9FCB757893F3}" srcOrd="2" destOrd="0" presId="urn:microsoft.com/office/officeart/2011/layout/HexagonRadial"/>
    <dgm:cxn modelId="{29E5513C-C587-4E9A-ADCB-247D2C890F4C}" type="presParOf" srcId="{B720B2F8-E2F3-451C-97BC-7A2149D6F4C8}" destId="{2839C5C1-1AC9-4D4F-ADDC-83B22E07415B}" srcOrd="3" destOrd="0" presId="urn:microsoft.com/office/officeart/2011/layout/HexagonRadial"/>
    <dgm:cxn modelId="{DC98D883-B92E-42A9-93AF-5247D35586CD}" type="presParOf" srcId="{2839C5C1-1AC9-4D4F-ADDC-83B22E07415B}" destId="{90DC43C4-BCB1-4EDD-8333-9B9C554657F7}" srcOrd="0" destOrd="0" presId="urn:microsoft.com/office/officeart/2011/layout/HexagonRadial"/>
    <dgm:cxn modelId="{28966E45-2891-45EF-8A22-EED7EEA33758}" type="presParOf" srcId="{B720B2F8-E2F3-451C-97BC-7A2149D6F4C8}" destId="{25D77772-E1D2-48BA-B4BC-2597F72CE3F5}" srcOrd="4" destOrd="0" presId="urn:microsoft.com/office/officeart/2011/layout/HexagonRadial"/>
    <dgm:cxn modelId="{B62E2A6E-4E4D-405C-BE54-5FF262864373}" type="presParOf" srcId="{B720B2F8-E2F3-451C-97BC-7A2149D6F4C8}" destId="{1768BE5A-1E16-432F-B56D-05397FEC511B}" srcOrd="5" destOrd="0" presId="urn:microsoft.com/office/officeart/2011/layout/HexagonRadial"/>
    <dgm:cxn modelId="{E36C1CAF-32EE-4284-92AE-BDEA25E2DE2B}" type="presParOf" srcId="{1768BE5A-1E16-432F-B56D-05397FEC511B}" destId="{9223C5E2-2F75-4AFF-88BF-21AAB6E9AFDD}" srcOrd="0" destOrd="0" presId="urn:microsoft.com/office/officeart/2011/layout/HexagonRadial"/>
    <dgm:cxn modelId="{6E4063C6-4038-441A-AAA7-DDFE36CD4C58}" type="presParOf" srcId="{B720B2F8-E2F3-451C-97BC-7A2149D6F4C8}" destId="{D2735B36-D5F1-4CB1-A615-1BD2550FA76E}" srcOrd="6" destOrd="0" presId="urn:microsoft.com/office/officeart/2011/layout/HexagonRadial"/>
    <dgm:cxn modelId="{0C9DE034-CA75-4E40-9419-C3B0218C9244}" type="presParOf" srcId="{B720B2F8-E2F3-451C-97BC-7A2149D6F4C8}" destId="{C496290E-4FD6-49AB-BF80-86005F891F41}" srcOrd="7" destOrd="0" presId="urn:microsoft.com/office/officeart/2011/layout/HexagonRadial"/>
    <dgm:cxn modelId="{C1C1C51C-1361-4F59-BCFF-2EAB7884B5A4}" type="presParOf" srcId="{C496290E-4FD6-49AB-BF80-86005F891F41}" destId="{EFE51E6E-A85C-404B-99A9-703DC4A53276}" srcOrd="0" destOrd="0" presId="urn:microsoft.com/office/officeart/2011/layout/HexagonRadial"/>
    <dgm:cxn modelId="{E2FD72BC-4AD3-45AE-8BDB-C2B0376E29CF}" type="presParOf" srcId="{B720B2F8-E2F3-451C-97BC-7A2149D6F4C8}" destId="{3F3D81A3-7636-4174-8B67-99DAD8BA22C8}" srcOrd="8" destOrd="0" presId="urn:microsoft.com/office/officeart/2011/layout/HexagonRadial"/>
    <dgm:cxn modelId="{77FC3A45-F9F1-4425-82A7-33D79FA6296D}" type="presParOf" srcId="{B720B2F8-E2F3-451C-97BC-7A2149D6F4C8}" destId="{7D4D017C-7E2A-4D1C-B6B5-A525AA0B7E45}" srcOrd="9" destOrd="0" presId="urn:microsoft.com/office/officeart/2011/layout/HexagonRadial"/>
    <dgm:cxn modelId="{D9484F0A-7CAC-49E8-86D6-C0CBB8535A9F}" type="presParOf" srcId="{7D4D017C-7E2A-4D1C-B6B5-A525AA0B7E45}" destId="{4B8B4C6E-65BE-4EA8-8C4C-79768600F3FD}" srcOrd="0" destOrd="0" presId="urn:microsoft.com/office/officeart/2011/layout/HexagonRadial"/>
    <dgm:cxn modelId="{C76C2F54-64C6-4709-98E6-26F7D79571A6}" type="presParOf" srcId="{B720B2F8-E2F3-451C-97BC-7A2149D6F4C8}" destId="{88FA8AA0-DDFC-4368-93ED-490AC4B495F8}" srcOrd="10" destOrd="0" presId="urn:microsoft.com/office/officeart/2011/layout/HexagonRadial"/>
    <dgm:cxn modelId="{B369788A-08F8-4732-BA9B-B476D930F21C}" type="presParOf" srcId="{B720B2F8-E2F3-451C-97BC-7A2149D6F4C8}" destId="{F5C0B2F4-893A-43B1-AEE9-181C3E5026BE}" srcOrd="11" destOrd="0" presId="urn:microsoft.com/office/officeart/2011/layout/HexagonRadial"/>
    <dgm:cxn modelId="{82C7D45B-A922-43D0-96A4-43572E84A570}" type="presParOf" srcId="{F5C0B2F4-893A-43B1-AEE9-181C3E5026BE}" destId="{5BA93D46-F6AC-4854-8E16-A6E28A0AF1CB}" srcOrd="0" destOrd="0" presId="urn:microsoft.com/office/officeart/2011/layout/HexagonRadial"/>
    <dgm:cxn modelId="{EB50CADD-BE6D-4C20-A5FF-CB055DC238EF}" type="presParOf" srcId="{B720B2F8-E2F3-451C-97BC-7A2149D6F4C8}" destId="{945705A2-58AF-4BB9-B49A-A9D15EEE5528}" srcOrd="12" destOrd="0" presId="urn:microsoft.com/office/officeart/2011/layout/HexagonRadial"/>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040FA1-47BD-41AF-BEEB-2E496012B0AC}">
      <dsp:nvSpPr>
        <dsp:cNvPr id="0" name=""/>
        <dsp:cNvSpPr/>
      </dsp:nvSpPr>
      <dsp:spPr>
        <a:xfrm>
          <a:off x="894774" y="317870"/>
          <a:ext cx="2190441" cy="2190441"/>
        </a:xfrm>
        <a:prstGeom prst="blockArc">
          <a:avLst>
            <a:gd name="adj1" fmla="val 12600000"/>
            <a:gd name="adj2" fmla="val 16200000"/>
            <a:gd name="adj3" fmla="val 4498"/>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B5E14D3-4474-4AF1-A693-C996C3B172AE}">
      <dsp:nvSpPr>
        <dsp:cNvPr id="0" name=""/>
        <dsp:cNvSpPr/>
      </dsp:nvSpPr>
      <dsp:spPr>
        <a:xfrm>
          <a:off x="894774" y="317870"/>
          <a:ext cx="2190441" cy="2190441"/>
        </a:xfrm>
        <a:prstGeom prst="blockArc">
          <a:avLst>
            <a:gd name="adj1" fmla="val 9000000"/>
            <a:gd name="adj2" fmla="val 12600000"/>
            <a:gd name="adj3" fmla="val 4498"/>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328D59E-9E49-477D-BC0F-0D5BF1B724C5}">
      <dsp:nvSpPr>
        <dsp:cNvPr id="0" name=""/>
        <dsp:cNvSpPr/>
      </dsp:nvSpPr>
      <dsp:spPr>
        <a:xfrm>
          <a:off x="894774" y="317870"/>
          <a:ext cx="2190441" cy="2190441"/>
        </a:xfrm>
        <a:prstGeom prst="blockArc">
          <a:avLst>
            <a:gd name="adj1" fmla="val 5400000"/>
            <a:gd name="adj2" fmla="val 9000000"/>
            <a:gd name="adj3" fmla="val 4498"/>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8AB4B54-E504-43FD-A548-42BDD21FB601}">
      <dsp:nvSpPr>
        <dsp:cNvPr id="0" name=""/>
        <dsp:cNvSpPr/>
      </dsp:nvSpPr>
      <dsp:spPr>
        <a:xfrm>
          <a:off x="894774" y="317870"/>
          <a:ext cx="2190441" cy="2190441"/>
        </a:xfrm>
        <a:prstGeom prst="blockArc">
          <a:avLst>
            <a:gd name="adj1" fmla="val 1800000"/>
            <a:gd name="adj2" fmla="val 5400000"/>
            <a:gd name="adj3" fmla="val 4498"/>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BEA4C78-4D05-4671-B1CE-225AB92EF3EC}">
      <dsp:nvSpPr>
        <dsp:cNvPr id="0" name=""/>
        <dsp:cNvSpPr/>
      </dsp:nvSpPr>
      <dsp:spPr>
        <a:xfrm>
          <a:off x="894774" y="317870"/>
          <a:ext cx="2190441" cy="2190441"/>
        </a:xfrm>
        <a:prstGeom prst="blockArc">
          <a:avLst>
            <a:gd name="adj1" fmla="val 19800000"/>
            <a:gd name="adj2" fmla="val 1800000"/>
            <a:gd name="adj3" fmla="val 4498"/>
          </a:avLst>
        </a:prstGeom>
        <a:solidFill>
          <a:schemeClr val="accent3">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sp>
    <dsp:sp modelId="{B5AAC2D6-B5FA-432E-8962-BE89E45DC358}">
      <dsp:nvSpPr>
        <dsp:cNvPr id="0" name=""/>
        <dsp:cNvSpPr/>
      </dsp:nvSpPr>
      <dsp:spPr>
        <a:xfrm>
          <a:off x="894774" y="317870"/>
          <a:ext cx="2190441" cy="2190441"/>
        </a:xfrm>
        <a:prstGeom prst="blockArc">
          <a:avLst>
            <a:gd name="adj1" fmla="val 16200000"/>
            <a:gd name="adj2" fmla="val 19800000"/>
            <a:gd name="adj3" fmla="val 4498"/>
          </a:avLst>
        </a:prstGeom>
        <a:solidFill>
          <a:schemeClr val="accent3">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sp>
    <dsp:sp modelId="{A177929E-E273-4D10-AC1B-9F3964D4D147}">
      <dsp:nvSpPr>
        <dsp:cNvPr id="0" name=""/>
        <dsp:cNvSpPr/>
      </dsp:nvSpPr>
      <dsp:spPr>
        <a:xfrm>
          <a:off x="1501241" y="924337"/>
          <a:ext cx="977507" cy="977507"/>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70" tIns="52070" rIns="52070" bIns="52070" numCol="1" spcCol="1270" anchor="ctr" anchorCtr="0">
          <a:noAutofit/>
        </a:bodyPr>
        <a:lstStyle/>
        <a:p>
          <a:pPr marL="0" lvl="0" indent="0" algn="ctr" defTabSz="1822450">
            <a:lnSpc>
              <a:spcPct val="90000"/>
            </a:lnSpc>
            <a:spcBef>
              <a:spcPct val="0"/>
            </a:spcBef>
            <a:spcAft>
              <a:spcPct val="35000"/>
            </a:spcAft>
            <a:buNone/>
          </a:pPr>
          <a:r>
            <a:rPr lang="nb-NO" sz="4100" kern="1200"/>
            <a:t>...</a:t>
          </a:r>
          <a:endParaRPr lang="en-US" sz="4100" kern="1200"/>
        </a:p>
      </dsp:txBody>
      <dsp:txXfrm>
        <a:off x="1644394" y="1067490"/>
        <a:ext cx="691201" cy="691201"/>
      </dsp:txXfrm>
    </dsp:sp>
    <dsp:sp modelId="{213987C4-CBC7-4E7F-94C7-03ECA3770F60}">
      <dsp:nvSpPr>
        <dsp:cNvPr id="0" name=""/>
        <dsp:cNvSpPr/>
      </dsp:nvSpPr>
      <dsp:spPr>
        <a:xfrm>
          <a:off x="1647867" y="376"/>
          <a:ext cx="684255" cy="684255"/>
        </a:xfrm>
        <a:prstGeom prst="ellipse">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r>
            <a:rPr lang="nb-NO" sz="2900" kern="1200"/>
            <a:t>...</a:t>
          </a:r>
          <a:endParaRPr lang="en-US" sz="2900" kern="1200"/>
        </a:p>
      </dsp:txBody>
      <dsp:txXfrm>
        <a:off x="1748074" y="100583"/>
        <a:ext cx="483841" cy="483841"/>
      </dsp:txXfrm>
    </dsp:sp>
    <dsp:sp modelId="{AE2B3145-5D2C-4CD8-AB4E-852881F750B8}">
      <dsp:nvSpPr>
        <dsp:cNvPr id="0" name=""/>
        <dsp:cNvSpPr/>
      </dsp:nvSpPr>
      <dsp:spPr>
        <a:xfrm>
          <a:off x="2575023" y="535669"/>
          <a:ext cx="684255" cy="684255"/>
        </a:xfrm>
        <a:prstGeom prst="ellipse">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r>
            <a:rPr lang="nb-NO" sz="2900" kern="1200"/>
            <a:t>...</a:t>
          </a:r>
          <a:endParaRPr lang="en-US" sz="2900" kern="1200"/>
        </a:p>
      </dsp:txBody>
      <dsp:txXfrm>
        <a:off x="2675230" y="635876"/>
        <a:ext cx="483841" cy="483841"/>
      </dsp:txXfrm>
    </dsp:sp>
    <dsp:sp modelId="{F3D2581F-38CB-403B-B789-82F82B41D7A3}">
      <dsp:nvSpPr>
        <dsp:cNvPr id="0" name=""/>
        <dsp:cNvSpPr/>
      </dsp:nvSpPr>
      <dsp:spPr>
        <a:xfrm>
          <a:off x="2575023" y="1606257"/>
          <a:ext cx="684255" cy="684255"/>
        </a:xfrm>
        <a:prstGeom prst="ellipse">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r>
            <a:rPr lang="nb-NO" sz="2900" kern="1200"/>
            <a:t>...</a:t>
          </a:r>
          <a:endParaRPr lang="en-US" sz="2900" kern="1200"/>
        </a:p>
      </dsp:txBody>
      <dsp:txXfrm>
        <a:off x="2675230" y="1706464"/>
        <a:ext cx="483841" cy="483841"/>
      </dsp:txXfrm>
    </dsp:sp>
    <dsp:sp modelId="{EE86FADE-838B-49E4-895F-2E5E1FDCEDDE}">
      <dsp:nvSpPr>
        <dsp:cNvPr id="0" name=""/>
        <dsp:cNvSpPr/>
      </dsp:nvSpPr>
      <dsp:spPr>
        <a:xfrm>
          <a:off x="1647867" y="2141550"/>
          <a:ext cx="684255" cy="684255"/>
        </a:xfrm>
        <a:prstGeom prst="ellipse">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r>
            <a:rPr lang="nb-NO" sz="2900" kern="1200"/>
            <a:t>...</a:t>
          </a:r>
          <a:endParaRPr lang="en-US" sz="2900" kern="1200"/>
        </a:p>
      </dsp:txBody>
      <dsp:txXfrm>
        <a:off x="1748074" y="2241757"/>
        <a:ext cx="483841" cy="483841"/>
      </dsp:txXfrm>
    </dsp:sp>
    <dsp:sp modelId="{70C49177-8AA6-4A98-B032-1B6E41CAD2D4}">
      <dsp:nvSpPr>
        <dsp:cNvPr id="0" name=""/>
        <dsp:cNvSpPr/>
      </dsp:nvSpPr>
      <dsp:spPr>
        <a:xfrm>
          <a:off x="720711" y="1606257"/>
          <a:ext cx="684255" cy="684255"/>
        </a:xfrm>
        <a:prstGeom prst="ellipse">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r>
            <a:rPr lang="nb-NO" sz="2900" kern="1200"/>
            <a:t>...</a:t>
          </a:r>
          <a:endParaRPr lang="en-US" sz="2900" kern="1200"/>
        </a:p>
      </dsp:txBody>
      <dsp:txXfrm>
        <a:off x="820918" y="1706464"/>
        <a:ext cx="483841" cy="483841"/>
      </dsp:txXfrm>
    </dsp:sp>
    <dsp:sp modelId="{17EB00D3-5976-4824-8117-7FF187C014D9}">
      <dsp:nvSpPr>
        <dsp:cNvPr id="0" name=""/>
        <dsp:cNvSpPr/>
      </dsp:nvSpPr>
      <dsp:spPr>
        <a:xfrm>
          <a:off x="720711" y="535669"/>
          <a:ext cx="684255" cy="684255"/>
        </a:xfrm>
        <a:prstGeom prst="ellipse">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r>
            <a:rPr lang="nb-NO" sz="2900" kern="1200"/>
            <a:t>...</a:t>
          </a:r>
          <a:endParaRPr lang="en-US" sz="2900" kern="1200"/>
        </a:p>
      </dsp:txBody>
      <dsp:txXfrm>
        <a:off x="820918" y="635876"/>
        <a:ext cx="483841" cy="4838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62E8BA-B2EC-4381-83F6-91CB6CB00E3B}">
      <dsp:nvSpPr>
        <dsp:cNvPr id="0" name=""/>
        <dsp:cNvSpPr/>
      </dsp:nvSpPr>
      <dsp:spPr>
        <a:xfrm>
          <a:off x="2130490" y="967703"/>
          <a:ext cx="1229992" cy="1063993"/>
        </a:xfrm>
        <a:prstGeom prst="hexagon">
          <a:avLst>
            <a:gd name="adj" fmla="val 28570"/>
            <a:gd name="vf" fmla="val 11547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endParaRPr lang="en-US" sz="2600" kern="1200"/>
        </a:p>
      </dsp:txBody>
      <dsp:txXfrm>
        <a:off x="2334317" y="1144022"/>
        <a:ext cx="822338" cy="711355"/>
      </dsp:txXfrm>
    </dsp:sp>
    <dsp:sp modelId="{90DC43C4-BCB1-4EDD-8333-9B9C554657F7}">
      <dsp:nvSpPr>
        <dsp:cNvPr id="0" name=""/>
        <dsp:cNvSpPr/>
      </dsp:nvSpPr>
      <dsp:spPr>
        <a:xfrm>
          <a:off x="2900701" y="458654"/>
          <a:ext cx="464072" cy="399860"/>
        </a:xfrm>
        <a:prstGeom prst="hexagon">
          <a:avLst>
            <a:gd name="adj" fmla="val 28900"/>
            <a:gd name="vf" fmla="val 11547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92CB49C-DDF1-4896-B924-9FCB757893F3}">
      <dsp:nvSpPr>
        <dsp:cNvPr id="0" name=""/>
        <dsp:cNvSpPr/>
      </dsp:nvSpPr>
      <dsp:spPr>
        <a:xfrm>
          <a:off x="2243790" y="0"/>
          <a:ext cx="1007970" cy="872012"/>
        </a:xfrm>
        <a:prstGeom prst="hexagon">
          <a:avLst>
            <a:gd name="adj" fmla="val 28570"/>
            <a:gd name="vf" fmla="val 11547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2410832" y="144511"/>
        <a:ext cx="673886" cy="582990"/>
      </dsp:txXfrm>
    </dsp:sp>
    <dsp:sp modelId="{9223C5E2-2F75-4AFF-88BF-21AAB6E9AFDD}">
      <dsp:nvSpPr>
        <dsp:cNvPr id="0" name=""/>
        <dsp:cNvSpPr/>
      </dsp:nvSpPr>
      <dsp:spPr>
        <a:xfrm>
          <a:off x="3442310" y="1206179"/>
          <a:ext cx="464072" cy="399860"/>
        </a:xfrm>
        <a:prstGeom prst="hexagon">
          <a:avLst>
            <a:gd name="adj" fmla="val 28900"/>
            <a:gd name="vf" fmla="val 11547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5D77772-E1D2-48BA-B4BC-2597F72CE3F5}">
      <dsp:nvSpPr>
        <dsp:cNvPr id="0" name=""/>
        <dsp:cNvSpPr/>
      </dsp:nvSpPr>
      <dsp:spPr>
        <a:xfrm>
          <a:off x="3168216" y="536346"/>
          <a:ext cx="1007970" cy="872012"/>
        </a:xfrm>
        <a:prstGeom prst="hexagon">
          <a:avLst>
            <a:gd name="adj" fmla="val 28570"/>
            <a:gd name="vf" fmla="val 11547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3335258" y="680857"/>
        <a:ext cx="673886" cy="582990"/>
      </dsp:txXfrm>
    </dsp:sp>
    <dsp:sp modelId="{EFE51E6E-A85C-404B-99A9-703DC4A53276}">
      <dsp:nvSpPr>
        <dsp:cNvPr id="0" name=""/>
        <dsp:cNvSpPr/>
      </dsp:nvSpPr>
      <dsp:spPr>
        <a:xfrm>
          <a:off x="3066074" y="2049994"/>
          <a:ext cx="464072" cy="399860"/>
        </a:xfrm>
        <a:prstGeom prst="hexagon">
          <a:avLst>
            <a:gd name="adj" fmla="val 28900"/>
            <a:gd name="vf" fmla="val 11547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2735B36-D5F1-4CB1-A615-1BD2550FA76E}">
      <dsp:nvSpPr>
        <dsp:cNvPr id="0" name=""/>
        <dsp:cNvSpPr/>
      </dsp:nvSpPr>
      <dsp:spPr>
        <a:xfrm>
          <a:off x="3168216" y="1590740"/>
          <a:ext cx="1007970" cy="872012"/>
        </a:xfrm>
        <a:prstGeom prst="hexagon">
          <a:avLst>
            <a:gd name="adj" fmla="val 28570"/>
            <a:gd name="vf" fmla="val 11547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3335258" y="1735251"/>
        <a:ext cx="673886" cy="582990"/>
      </dsp:txXfrm>
    </dsp:sp>
    <dsp:sp modelId="{4B8B4C6E-65BE-4EA8-8C4C-79768600F3FD}">
      <dsp:nvSpPr>
        <dsp:cNvPr id="0" name=""/>
        <dsp:cNvSpPr/>
      </dsp:nvSpPr>
      <dsp:spPr>
        <a:xfrm>
          <a:off x="2132778" y="2137586"/>
          <a:ext cx="464072" cy="399860"/>
        </a:xfrm>
        <a:prstGeom prst="hexagon">
          <a:avLst>
            <a:gd name="adj" fmla="val 28900"/>
            <a:gd name="vf" fmla="val 11547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F3D81A3-7636-4174-8B67-99DAD8BA22C8}">
      <dsp:nvSpPr>
        <dsp:cNvPr id="0" name=""/>
        <dsp:cNvSpPr/>
      </dsp:nvSpPr>
      <dsp:spPr>
        <a:xfrm>
          <a:off x="2243790" y="2127687"/>
          <a:ext cx="1007970" cy="872012"/>
        </a:xfrm>
        <a:prstGeom prst="hexagon">
          <a:avLst>
            <a:gd name="adj" fmla="val 28570"/>
            <a:gd name="vf" fmla="val 11547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2410832" y="2272198"/>
        <a:ext cx="673886" cy="582990"/>
      </dsp:txXfrm>
    </dsp:sp>
    <dsp:sp modelId="{5BA93D46-F6AC-4854-8E16-A6E28A0AF1CB}">
      <dsp:nvSpPr>
        <dsp:cNvPr id="0" name=""/>
        <dsp:cNvSpPr/>
      </dsp:nvSpPr>
      <dsp:spPr>
        <a:xfrm>
          <a:off x="1582300" y="1390360"/>
          <a:ext cx="464072" cy="399860"/>
        </a:xfrm>
        <a:prstGeom prst="hexagon">
          <a:avLst>
            <a:gd name="adj" fmla="val 28900"/>
            <a:gd name="vf" fmla="val 11547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8FA8AA0-DDFC-4368-93ED-490AC4B495F8}">
      <dsp:nvSpPr>
        <dsp:cNvPr id="0" name=""/>
        <dsp:cNvSpPr/>
      </dsp:nvSpPr>
      <dsp:spPr>
        <a:xfrm>
          <a:off x="1315072" y="1591340"/>
          <a:ext cx="1007970" cy="872012"/>
        </a:xfrm>
        <a:prstGeom prst="hexagon">
          <a:avLst>
            <a:gd name="adj" fmla="val 28570"/>
            <a:gd name="vf" fmla="val 11547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1482114" y="1735851"/>
        <a:ext cx="673886" cy="582990"/>
      </dsp:txXfrm>
    </dsp:sp>
    <dsp:sp modelId="{945705A2-58AF-4BB9-B49A-A9D15EEE5528}">
      <dsp:nvSpPr>
        <dsp:cNvPr id="0" name=""/>
        <dsp:cNvSpPr/>
      </dsp:nvSpPr>
      <dsp:spPr>
        <a:xfrm>
          <a:off x="1315072" y="535146"/>
          <a:ext cx="1007970" cy="872012"/>
        </a:xfrm>
        <a:prstGeom prst="hexagon">
          <a:avLst>
            <a:gd name="adj" fmla="val 28570"/>
            <a:gd name="vf" fmla="val 11547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1482114" y="679657"/>
        <a:ext cx="673886" cy="582990"/>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Ubuntu" panose="020B050403060203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Ubuntu" panose="020B0504030602030204" pitchFamily="34" charset="0"/>
              </a:defRPr>
            </a:lvl1pPr>
          </a:lstStyle>
          <a:p>
            <a:fld id="{A56D7723-5BC8-431C-89B2-2567D7167119}" type="datetimeFigureOut">
              <a:rPr lang="en-GB" smtClean="0"/>
              <a:pPr/>
              <a:t>25/10/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Ubuntu" panose="020B050403060203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Ubuntu" panose="020B0504030602030204" pitchFamily="34" charset="0"/>
              </a:defRPr>
            </a:lvl1pPr>
          </a:lstStyle>
          <a:p>
            <a:fld id="{A15CFF78-DE0E-4D14-8C6D-EB5D6EBC994F}" type="slidenum">
              <a:rPr lang="en-GB" smtClean="0"/>
              <a:pPr/>
              <a:t>‹#›</a:t>
            </a:fld>
            <a:endParaRPr lang="en-GB"/>
          </a:p>
        </p:txBody>
      </p:sp>
    </p:spTree>
    <p:extLst>
      <p:ext uri="{BB962C8B-B14F-4D97-AF65-F5344CB8AC3E}">
        <p14:creationId xmlns:p14="http://schemas.microsoft.com/office/powerpoint/2010/main" val="2047373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Ubuntu" panose="020B0504030602030204" pitchFamily="34" charset="0"/>
        <a:ea typeface="+mn-ea"/>
        <a:cs typeface="+mn-cs"/>
      </a:defRPr>
    </a:lvl1pPr>
    <a:lvl2pPr marL="457200" algn="l" defTabSz="914400" rtl="0" eaLnBrk="1" latinLnBrk="0" hangingPunct="1">
      <a:defRPr sz="1200" kern="1200">
        <a:solidFill>
          <a:schemeClr val="tx1"/>
        </a:solidFill>
        <a:latin typeface="Ubuntu" panose="020B0504030602030204" pitchFamily="34" charset="0"/>
        <a:ea typeface="+mn-ea"/>
        <a:cs typeface="+mn-cs"/>
      </a:defRPr>
    </a:lvl2pPr>
    <a:lvl3pPr marL="914400" algn="l" defTabSz="914400" rtl="0" eaLnBrk="1" latinLnBrk="0" hangingPunct="1">
      <a:defRPr sz="1200" kern="1200">
        <a:solidFill>
          <a:schemeClr val="tx1"/>
        </a:solidFill>
        <a:latin typeface="Ubuntu" panose="020B0504030602030204" pitchFamily="34" charset="0"/>
        <a:ea typeface="+mn-ea"/>
        <a:cs typeface="+mn-cs"/>
      </a:defRPr>
    </a:lvl3pPr>
    <a:lvl4pPr marL="1371600" algn="l" defTabSz="914400" rtl="0" eaLnBrk="1" latinLnBrk="0" hangingPunct="1">
      <a:defRPr sz="1200" kern="1200">
        <a:solidFill>
          <a:schemeClr val="tx1"/>
        </a:solidFill>
        <a:latin typeface="Ubuntu" panose="020B0504030602030204" pitchFamily="34" charset="0"/>
        <a:ea typeface="+mn-ea"/>
        <a:cs typeface="+mn-cs"/>
      </a:defRPr>
    </a:lvl4pPr>
    <a:lvl5pPr marL="1828800" algn="l" defTabSz="914400" rtl="0" eaLnBrk="1" latinLnBrk="0" hangingPunct="1">
      <a:defRPr sz="1200" kern="1200">
        <a:solidFill>
          <a:schemeClr val="tx1"/>
        </a:solidFill>
        <a:latin typeface="Ubuntu" panose="020B0504030602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15CFF78-DE0E-4D14-8C6D-EB5D6EBC994F}" type="slidenum">
              <a:rPr lang="en-GB" smtClean="0"/>
              <a:pPr/>
              <a:t>1</a:t>
            </a:fld>
            <a:endParaRPr lang="en-GB"/>
          </a:p>
        </p:txBody>
      </p:sp>
    </p:spTree>
    <p:extLst>
      <p:ext uri="{BB962C8B-B14F-4D97-AF65-F5344CB8AC3E}">
        <p14:creationId xmlns:p14="http://schemas.microsoft.com/office/powerpoint/2010/main" val="2610143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15CFF78-DE0E-4D14-8C6D-EB5D6EBC994F}" type="slidenum">
              <a:rPr lang="en-GB" smtClean="0"/>
              <a:pPr/>
              <a:t>2</a:t>
            </a:fld>
            <a:endParaRPr lang="en-GB"/>
          </a:p>
        </p:txBody>
      </p:sp>
    </p:spTree>
    <p:extLst>
      <p:ext uri="{BB962C8B-B14F-4D97-AF65-F5344CB8AC3E}">
        <p14:creationId xmlns:p14="http://schemas.microsoft.com/office/powerpoint/2010/main" val="2310713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15CFF78-DE0E-4D14-8C6D-EB5D6EBC994F}" type="slidenum">
              <a:rPr lang="en-GB" smtClean="0"/>
              <a:pPr/>
              <a:t>3</a:t>
            </a:fld>
            <a:endParaRPr lang="en-GB"/>
          </a:p>
        </p:txBody>
      </p:sp>
    </p:spTree>
    <p:extLst>
      <p:ext uri="{BB962C8B-B14F-4D97-AF65-F5344CB8AC3E}">
        <p14:creationId xmlns:p14="http://schemas.microsoft.com/office/powerpoint/2010/main" val="2806988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A15CFF78-DE0E-4D14-8C6D-EB5D6EBC994F}" type="slidenum">
              <a:rPr lang="en-GB" smtClean="0"/>
              <a:pPr/>
              <a:t>8</a:t>
            </a:fld>
            <a:endParaRPr lang="en-GB"/>
          </a:p>
        </p:txBody>
      </p:sp>
    </p:spTree>
    <p:extLst>
      <p:ext uri="{BB962C8B-B14F-4D97-AF65-F5344CB8AC3E}">
        <p14:creationId xmlns:p14="http://schemas.microsoft.com/office/powerpoint/2010/main" val="28461723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15CFF78-DE0E-4D14-8C6D-EB5D6EBC994F}" type="slidenum">
              <a:rPr lang="en-GB" smtClean="0"/>
              <a:pPr/>
              <a:t>9</a:t>
            </a:fld>
            <a:endParaRPr lang="en-GB"/>
          </a:p>
        </p:txBody>
      </p:sp>
    </p:spTree>
    <p:extLst>
      <p:ext uri="{BB962C8B-B14F-4D97-AF65-F5344CB8AC3E}">
        <p14:creationId xmlns:p14="http://schemas.microsoft.com/office/powerpoint/2010/main" val="12106028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13.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8.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17.png"/><Relationship Id="rId7"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8.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image" Target="../media/image18.sv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image" Target="../media/image17.png"/><Relationship Id="rId16" Type="http://schemas.openxmlformats.org/officeDocument/2006/relationships/image" Target="../media/image33.png"/><Relationship Id="rId1" Type="http://schemas.openxmlformats.org/officeDocument/2006/relationships/slideMaster" Target="../slideMasters/slideMaster1.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9.png"/><Relationship Id="rId3" Type="http://schemas.openxmlformats.org/officeDocument/2006/relationships/image" Target="../media/image9.png"/><Relationship Id="rId21" Type="http://schemas.openxmlformats.org/officeDocument/2006/relationships/hyperlink" Target="https://rystadenergy0.sharepoint.com/:f:/r/sites/rystadenergy.com/Common/Consulting/Templates/Rystad%20Energy%20PowerPoint%20HackPack/2023%20RE%20Consulting%20template%20and%20hackpack/2.%20RE%20libraries/Logos/RE%20logos?csf=1&amp;web=1&amp;e=f7uXtW" TargetMode="External"/><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image" Target="../media/image34.png"/><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Master" Target="../slideMasters/slideMaster1.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image" Target="../media/image46.png"/><Relationship Id="rId10" Type="http://schemas.openxmlformats.org/officeDocument/2006/relationships/image" Target="../media/image41.png"/><Relationship Id="rId19" Type="http://schemas.openxmlformats.org/officeDocument/2006/relationships/image" Target="../media/image50.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 Id="rId22" Type="http://schemas.openxmlformats.org/officeDocument/2006/relationships/hyperlink" Target="https://rystadenergy0.sharepoint.com/:f:/r/sites/rystadenergy.com/Common/Consulting/Templates/Rystad%20Energy%20PowerPoint%20HackPack/2023%20RE%20Consulting%20template%20and%20hackpack/2.%20RE%20libraries/RE%20photos/RE%20visual%20elements%20-%20Waves%20and%20secondary?csf=1&amp;web=1&amp;e=GFCq5q" TargetMode="Externa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3" Type="http://schemas.openxmlformats.org/officeDocument/2006/relationships/image" Target="../media/image64.png"/><Relationship Id="rId18" Type="http://schemas.openxmlformats.org/officeDocument/2006/relationships/image" Target="../media/image69.png"/><Relationship Id="rId26" Type="http://schemas.openxmlformats.org/officeDocument/2006/relationships/image" Target="../media/image77.png"/><Relationship Id="rId39" Type="http://schemas.openxmlformats.org/officeDocument/2006/relationships/image" Target="../media/image90.png"/><Relationship Id="rId21" Type="http://schemas.openxmlformats.org/officeDocument/2006/relationships/image" Target="../media/image72.png"/><Relationship Id="rId34" Type="http://schemas.openxmlformats.org/officeDocument/2006/relationships/image" Target="../media/image85.png"/><Relationship Id="rId42" Type="http://schemas.openxmlformats.org/officeDocument/2006/relationships/image" Target="../media/image93.png"/><Relationship Id="rId47" Type="http://schemas.openxmlformats.org/officeDocument/2006/relationships/image" Target="../media/image98.png"/><Relationship Id="rId50" Type="http://schemas.openxmlformats.org/officeDocument/2006/relationships/image" Target="../media/image101.png"/><Relationship Id="rId55" Type="http://schemas.openxmlformats.org/officeDocument/2006/relationships/image" Target="../media/image106.png"/><Relationship Id="rId7" Type="http://schemas.openxmlformats.org/officeDocument/2006/relationships/image" Target="../media/image58.png"/><Relationship Id="rId12" Type="http://schemas.openxmlformats.org/officeDocument/2006/relationships/image" Target="../media/image63.png"/><Relationship Id="rId17" Type="http://schemas.openxmlformats.org/officeDocument/2006/relationships/image" Target="../media/image68.png"/><Relationship Id="rId25" Type="http://schemas.openxmlformats.org/officeDocument/2006/relationships/image" Target="../media/image76.png"/><Relationship Id="rId33" Type="http://schemas.openxmlformats.org/officeDocument/2006/relationships/image" Target="../media/image84.png"/><Relationship Id="rId38" Type="http://schemas.openxmlformats.org/officeDocument/2006/relationships/image" Target="../media/image89.png"/><Relationship Id="rId46" Type="http://schemas.openxmlformats.org/officeDocument/2006/relationships/image" Target="../media/image97.png"/><Relationship Id="rId59" Type="http://schemas.openxmlformats.org/officeDocument/2006/relationships/hyperlink" Target="https://rystadenergy0.sharepoint.com/:f:/r/sites/rystadenergy.com/Common/Consulting/Templates/Rystad%20Energy%20PowerPoint%20HackPack/2023%20RE%20Consulting%20template%20and%20hackpack/2.%20RE%20libraries/RE%20icons?csf=1&amp;web=1&amp;e=tzbBzI" TargetMode="External"/><Relationship Id="rId2" Type="http://schemas.openxmlformats.org/officeDocument/2006/relationships/image" Target="../media/image53.png"/><Relationship Id="rId16" Type="http://schemas.openxmlformats.org/officeDocument/2006/relationships/image" Target="../media/image67.png"/><Relationship Id="rId20" Type="http://schemas.openxmlformats.org/officeDocument/2006/relationships/image" Target="../media/image71.png"/><Relationship Id="rId29" Type="http://schemas.openxmlformats.org/officeDocument/2006/relationships/image" Target="../media/image80.png"/><Relationship Id="rId41" Type="http://schemas.openxmlformats.org/officeDocument/2006/relationships/image" Target="../media/image92.png"/><Relationship Id="rId54" Type="http://schemas.openxmlformats.org/officeDocument/2006/relationships/image" Target="../media/image105.png"/><Relationship Id="rId1" Type="http://schemas.openxmlformats.org/officeDocument/2006/relationships/slideMaster" Target="../slideMasters/slideMaster1.xml"/><Relationship Id="rId6" Type="http://schemas.openxmlformats.org/officeDocument/2006/relationships/image" Target="../media/image57.png"/><Relationship Id="rId11" Type="http://schemas.openxmlformats.org/officeDocument/2006/relationships/image" Target="../media/image62.png"/><Relationship Id="rId24" Type="http://schemas.openxmlformats.org/officeDocument/2006/relationships/image" Target="../media/image75.png"/><Relationship Id="rId32" Type="http://schemas.openxmlformats.org/officeDocument/2006/relationships/image" Target="../media/image83.png"/><Relationship Id="rId37" Type="http://schemas.openxmlformats.org/officeDocument/2006/relationships/image" Target="../media/image88.png"/><Relationship Id="rId40" Type="http://schemas.openxmlformats.org/officeDocument/2006/relationships/image" Target="../media/image91.png"/><Relationship Id="rId45" Type="http://schemas.openxmlformats.org/officeDocument/2006/relationships/image" Target="../media/image96.png"/><Relationship Id="rId53" Type="http://schemas.openxmlformats.org/officeDocument/2006/relationships/image" Target="../media/image104.png"/><Relationship Id="rId58" Type="http://schemas.openxmlformats.org/officeDocument/2006/relationships/image" Target="../media/image109.png"/><Relationship Id="rId5" Type="http://schemas.openxmlformats.org/officeDocument/2006/relationships/image" Target="../media/image56.png"/><Relationship Id="rId15" Type="http://schemas.openxmlformats.org/officeDocument/2006/relationships/image" Target="../media/image66.png"/><Relationship Id="rId23" Type="http://schemas.openxmlformats.org/officeDocument/2006/relationships/image" Target="../media/image74.png"/><Relationship Id="rId28" Type="http://schemas.openxmlformats.org/officeDocument/2006/relationships/image" Target="../media/image79.png"/><Relationship Id="rId36" Type="http://schemas.openxmlformats.org/officeDocument/2006/relationships/image" Target="../media/image87.png"/><Relationship Id="rId49" Type="http://schemas.openxmlformats.org/officeDocument/2006/relationships/image" Target="../media/image100.png"/><Relationship Id="rId57" Type="http://schemas.openxmlformats.org/officeDocument/2006/relationships/image" Target="../media/image108.png"/><Relationship Id="rId10" Type="http://schemas.openxmlformats.org/officeDocument/2006/relationships/image" Target="../media/image61.png"/><Relationship Id="rId19" Type="http://schemas.openxmlformats.org/officeDocument/2006/relationships/image" Target="../media/image70.png"/><Relationship Id="rId31" Type="http://schemas.openxmlformats.org/officeDocument/2006/relationships/image" Target="../media/image82.png"/><Relationship Id="rId44" Type="http://schemas.openxmlformats.org/officeDocument/2006/relationships/image" Target="../media/image95.png"/><Relationship Id="rId52" Type="http://schemas.openxmlformats.org/officeDocument/2006/relationships/image" Target="../media/image103.png"/><Relationship Id="rId4" Type="http://schemas.openxmlformats.org/officeDocument/2006/relationships/image" Target="../media/image55.png"/><Relationship Id="rId9" Type="http://schemas.openxmlformats.org/officeDocument/2006/relationships/image" Target="../media/image60.png"/><Relationship Id="rId14" Type="http://schemas.openxmlformats.org/officeDocument/2006/relationships/image" Target="../media/image65.png"/><Relationship Id="rId22" Type="http://schemas.openxmlformats.org/officeDocument/2006/relationships/image" Target="../media/image73.png"/><Relationship Id="rId27" Type="http://schemas.openxmlformats.org/officeDocument/2006/relationships/image" Target="../media/image78.png"/><Relationship Id="rId30" Type="http://schemas.openxmlformats.org/officeDocument/2006/relationships/image" Target="../media/image81.png"/><Relationship Id="rId35" Type="http://schemas.openxmlformats.org/officeDocument/2006/relationships/image" Target="../media/image86.png"/><Relationship Id="rId43" Type="http://schemas.openxmlformats.org/officeDocument/2006/relationships/image" Target="../media/image94.png"/><Relationship Id="rId48" Type="http://schemas.openxmlformats.org/officeDocument/2006/relationships/image" Target="../media/image99.png"/><Relationship Id="rId56" Type="http://schemas.openxmlformats.org/officeDocument/2006/relationships/image" Target="../media/image107.png"/><Relationship Id="rId8" Type="http://schemas.openxmlformats.org/officeDocument/2006/relationships/image" Target="../media/image59.png"/><Relationship Id="rId51" Type="http://schemas.openxmlformats.org/officeDocument/2006/relationships/image" Target="../media/image102.png"/><Relationship Id="rId3" Type="http://schemas.openxmlformats.org/officeDocument/2006/relationships/image" Target="../media/image54.png"/></Relationships>
</file>

<file path=ppt/slideLayouts/_rels/slideLayout58.xml.rels><?xml version="1.0" encoding="UTF-8" standalone="yes"?>
<Relationships xmlns="http://schemas.openxmlformats.org/package/2006/relationships"><Relationship Id="rId13" Type="http://schemas.openxmlformats.org/officeDocument/2006/relationships/image" Target="../media/image64.png"/><Relationship Id="rId18" Type="http://schemas.openxmlformats.org/officeDocument/2006/relationships/image" Target="../media/image69.png"/><Relationship Id="rId26" Type="http://schemas.openxmlformats.org/officeDocument/2006/relationships/image" Target="../media/image77.png"/><Relationship Id="rId39" Type="http://schemas.openxmlformats.org/officeDocument/2006/relationships/image" Target="../media/image90.png"/><Relationship Id="rId21" Type="http://schemas.openxmlformats.org/officeDocument/2006/relationships/image" Target="../media/image72.png"/><Relationship Id="rId34" Type="http://schemas.openxmlformats.org/officeDocument/2006/relationships/image" Target="../media/image85.png"/><Relationship Id="rId42" Type="http://schemas.openxmlformats.org/officeDocument/2006/relationships/image" Target="../media/image93.png"/><Relationship Id="rId47" Type="http://schemas.openxmlformats.org/officeDocument/2006/relationships/image" Target="../media/image98.png"/><Relationship Id="rId50" Type="http://schemas.openxmlformats.org/officeDocument/2006/relationships/image" Target="../media/image101.png"/><Relationship Id="rId55" Type="http://schemas.openxmlformats.org/officeDocument/2006/relationships/image" Target="../media/image106.png"/><Relationship Id="rId7" Type="http://schemas.openxmlformats.org/officeDocument/2006/relationships/image" Target="../media/image58.png"/><Relationship Id="rId12" Type="http://schemas.openxmlformats.org/officeDocument/2006/relationships/image" Target="../media/image63.png"/><Relationship Id="rId17" Type="http://schemas.openxmlformats.org/officeDocument/2006/relationships/image" Target="../media/image68.png"/><Relationship Id="rId25" Type="http://schemas.openxmlformats.org/officeDocument/2006/relationships/image" Target="../media/image76.png"/><Relationship Id="rId33" Type="http://schemas.openxmlformats.org/officeDocument/2006/relationships/image" Target="../media/image84.png"/><Relationship Id="rId38" Type="http://schemas.openxmlformats.org/officeDocument/2006/relationships/image" Target="../media/image89.png"/><Relationship Id="rId46" Type="http://schemas.openxmlformats.org/officeDocument/2006/relationships/image" Target="../media/image97.png"/><Relationship Id="rId59" Type="http://schemas.openxmlformats.org/officeDocument/2006/relationships/hyperlink" Target="https://rystadenergy0.sharepoint.com/:f:/r/sites/rystadenergy.com/Common/Consulting/Templates/Rystad%20Energy%20PowerPoint%20HackPack/2023%20RE%20Consulting%20template%20and%20hackpack/2.%20RE%20libraries/RE%20icons?csf=1&amp;web=1&amp;e=tzbBzI" TargetMode="External"/><Relationship Id="rId2" Type="http://schemas.openxmlformats.org/officeDocument/2006/relationships/image" Target="../media/image53.png"/><Relationship Id="rId16" Type="http://schemas.openxmlformats.org/officeDocument/2006/relationships/image" Target="../media/image67.png"/><Relationship Id="rId20" Type="http://schemas.openxmlformats.org/officeDocument/2006/relationships/image" Target="../media/image71.png"/><Relationship Id="rId29" Type="http://schemas.openxmlformats.org/officeDocument/2006/relationships/image" Target="../media/image80.png"/><Relationship Id="rId41" Type="http://schemas.openxmlformats.org/officeDocument/2006/relationships/image" Target="../media/image92.png"/><Relationship Id="rId54" Type="http://schemas.openxmlformats.org/officeDocument/2006/relationships/image" Target="../media/image105.png"/><Relationship Id="rId1" Type="http://schemas.openxmlformats.org/officeDocument/2006/relationships/slideMaster" Target="../slideMasters/slideMaster1.xml"/><Relationship Id="rId6" Type="http://schemas.openxmlformats.org/officeDocument/2006/relationships/image" Target="../media/image57.png"/><Relationship Id="rId11" Type="http://schemas.openxmlformats.org/officeDocument/2006/relationships/image" Target="../media/image62.png"/><Relationship Id="rId24" Type="http://schemas.openxmlformats.org/officeDocument/2006/relationships/image" Target="../media/image75.png"/><Relationship Id="rId32" Type="http://schemas.openxmlformats.org/officeDocument/2006/relationships/image" Target="../media/image83.png"/><Relationship Id="rId37" Type="http://schemas.openxmlformats.org/officeDocument/2006/relationships/image" Target="../media/image88.png"/><Relationship Id="rId40" Type="http://schemas.openxmlformats.org/officeDocument/2006/relationships/image" Target="../media/image91.png"/><Relationship Id="rId45" Type="http://schemas.openxmlformats.org/officeDocument/2006/relationships/image" Target="../media/image96.png"/><Relationship Id="rId53" Type="http://schemas.openxmlformats.org/officeDocument/2006/relationships/image" Target="../media/image104.png"/><Relationship Id="rId58" Type="http://schemas.openxmlformats.org/officeDocument/2006/relationships/image" Target="../media/image109.png"/><Relationship Id="rId5" Type="http://schemas.openxmlformats.org/officeDocument/2006/relationships/image" Target="../media/image56.png"/><Relationship Id="rId15" Type="http://schemas.openxmlformats.org/officeDocument/2006/relationships/image" Target="../media/image66.png"/><Relationship Id="rId23" Type="http://schemas.openxmlformats.org/officeDocument/2006/relationships/image" Target="../media/image74.png"/><Relationship Id="rId28" Type="http://schemas.openxmlformats.org/officeDocument/2006/relationships/image" Target="../media/image79.png"/><Relationship Id="rId36" Type="http://schemas.openxmlformats.org/officeDocument/2006/relationships/image" Target="../media/image87.png"/><Relationship Id="rId49" Type="http://schemas.openxmlformats.org/officeDocument/2006/relationships/image" Target="../media/image100.png"/><Relationship Id="rId57" Type="http://schemas.openxmlformats.org/officeDocument/2006/relationships/image" Target="../media/image108.png"/><Relationship Id="rId10" Type="http://schemas.openxmlformats.org/officeDocument/2006/relationships/image" Target="../media/image61.png"/><Relationship Id="rId19" Type="http://schemas.openxmlformats.org/officeDocument/2006/relationships/image" Target="../media/image70.png"/><Relationship Id="rId31" Type="http://schemas.openxmlformats.org/officeDocument/2006/relationships/image" Target="../media/image82.png"/><Relationship Id="rId44" Type="http://schemas.openxmlformats.org/officeDocument/2006/relationships/image" Target="../media/image95.png"/><Relationship Id="rId52" Type="http://schemas.openxmlformats.org/officeDocument/2006/relationships/image" Target="../media/image103.png"/><Relationship Id="rId4" Type="http://schemas.openxmlformats.org/officeDocument/2006/relationships/image" Target="../media/image55.png"/><Relationship Id="rId9" Type="http://schemas.openxmlformats.org/officeDocument/2006/relationships/image" Target="../media/image60.png"/><Relationship Id="rId14" Type="http://schemas.openxmlformats.org/officeDocument/2006/relationships/image" Target="../media/image65.png"/><Relationship Id="rId22" Type="http://schemas.openxmlformats.org/officeDocument/2006/relationships/image" Target="../media/image73.png"/><Relationship Id="rId27" Type="http://schemas.openxmlformats.org/officeDocument/2006/relationships/image" Target="../media/image78.png"/><Relationship Id="rId30" Type="http://schemas.openxmlformats.org/officeDocument/2006/relationships/image" Target="../media/image81.png"/><Relationship Id="rId35" Type="http://schemas.openxmlformats.org/officeDocument/2006/relationships/image" Target="../media/image86.png"/><Relationship Id="rId43" Type="http://schemas.openxmlformats.org/officeDocument/2006/relationships/image" Target="../media/image94.png"/><Relationship Id="rId48" Type="http://schemas.openxmlformats.org/officeDocument/2006/relationships/image" Target="../media/image99.png"/><Relationship Id="rId56" Type="http://schemas.openxmlformats.org/officeDocument/2006/relationships/image" Target="../media/image107.png"/><Relationship Id="rId8" Type="http://schemas.openxmlformats.org/officeDocument/2006/relationships/image" Target="../media/image59.png"/><Relationship Id="rId51" Type="http://schemas.openxmlformats.org/officeDocument/2006/relationships/image" Target="../media/image102.png"/><Relationship Id="rId3" Type="http://schemas.openxmlformats.org/officeDocument/2006/relationships/image" Target="../media/image54.png"/></Relationships>
</file>

<file path=ppt/slideLayouts/_rels/slideLayout59.xml.rels><?xml version="1.0" encoding="UTF-8" standalone="yes"?>
<Relationships xmlns="http://schemas.openxmlformats.org/package/2006/relationships"><Relationship Id="rId13" Type="http://schemas.openxmlformats.org/officeDocument/2006/relationships/image" Target="../media/image64.png"/><Relationship Id="rId18" Type="http://schemas.openxmlformats.org/officeDocument/2006/relationships/image" Target="../media/image69.png"/><Relationship Id="rId26" Type="http://schemas.openxmlformats.org/officeDocument/2006/relationships/image" Target="../media/image77.png"/><Relationship Id="rId39" Type="http://schemas.openxmlformats.org/officeDocument/2006/relationships/image" Target="../media/image90.png"/><Relationship Id="rId21" Type="http://schemas.openxmlformats.org/officeDocument/2006/relationships/image" Target="../media/image72.png"/><Relationship Id="rId34" Type="http://schemas.openxmlformats.org/officeDocument/2006/relationships/image" Target="../media/image85.png"/><Relationship Id="rId42" Type="http://schemas.openxmlformats.org/officeDocument/2006/relationships/image" Target="../media/image93.png"/><Relationship Id="rId47" Type="http://schemas.openxmlformats.org/officeDocument/2006/relationships/image" Target="../media/image98.png"/><Relationship Id="rId50" Type="http://schemas.openxmlformats.org/officeDocument/2006/relationships/image" Target="../media/image101.png"/><Relationship Id="rId55" Type="http://schemas.openxmlformats.org/officeDocument/2006/relationships/image" Target="../media/image106.png"/><Relationship Id="rId7" Type="http://schemas.openxmlformats.org/officeDocument/2006/relationships/image" Target="../media/image58.png"/><Relationship Id="rId12" Type="http://schemas.openxmlformats.org/officeDocument/2006/relationships/image" Target="../media/image63.png"/><Relationship Id="rId17" Type="http://schemas.openxmlformats.org/officeDocument/2006/relationships/image" Target="../media/image68.png"/><Relationship Id="rId25" Type="http://schemas.openxmlformats.org/officeDocument/2006/relationships/image" Target="../media/image76.png"/><Relationship Id="rId33" Type="http://schemas.openxmlformats.org/officeDocument/2006/relationships/image" Target="../media/image84.png"/><Relationship Id="rId38" Type="http://schemas.openxmlformats.org/officeDocument/2006/relationships/image" Target="../media/image89.png"/><Relationship Id="rId46" Type="http://schemas.openxmlformats.org/officeDocument/2006/relationships/image" Target="../media/image97.png"/><Relationship Id="rId59" Type="http://schemas.openxmlformats.org/officeDocument/2006/relationships/hyperlink" Target="https://rystadenergy0.sharepoint.com/:f:/r/sites/rystadenergy.com/Common/Consulting/Templates/Rystad%20Energy%20PowerPoint%20HackPack/2023%20RE%20Consulting%20template%20and%20hackpack/2.%20RE%20libraries/RE%20icons?csf=1&amp;web=1&amp;e=tzbBzI" TargetMode="External"/><Relationship Id="rId2" Type="http://schemas.openxmlformats.org/officeDocument/2006/relationships/image" Target="../media/image53.png"/><Relationship Id="rId16" Type="http://schemas.openxmlformats.org/officeDocument/2006/relationships/image" Target="../media/image67.png"/><Relationship Id="rId20" Type="http://schemas.openxmlformats.org/officeDocument/2006/relationships/image" Target="../media/image71.png"/><Relationship Id="rId29" Type="http://schemas.openxmlformats.org/officeDocument/2006/relationships/image" Target="../media/image80.png"/><Relationship Id="rId41" Type="http://schemas.openxmlformats.org/officeDocument/2006/relationships/image" Target="../media/image92.png"/><Relationship Id="rId54" Type="http://schemas.openxmlformats.org/officeDocument/2006/relationships/image" Target="../media/image105.png"/><Relationship Id="rId1" Type="http://schemas.openxmlformats.org/officeDocument/2006/relationships/slideMaster" Target="../slideMasters/slideMaster1.xml"/><Relationship Id="rId6" Type="http://schemas.openxmlformats.org/officeDocument/2006/relationships/image" Target="../media/image57.png"/><Relationship Id="rId11" Type="http://schemas.openxmlformats.org/officeDocument/2006/relationships/image" Target="../media/image62.png"/><Relationship Id="rId24" Type="http://schemas.openxmlformats.org/officeDocument/2006/relationships/image" Target="../media/image75.png"/><Relationship Id="rId32" Type="http://schemas.openxmlformats.org/officeDocument/2006/relationships/image" Target="../media/image83.png"/><Relationship Id="rId37" Type="http://schemas.openxmlformats.org/officeDocument/2006/relationships/image" Target="../media/image88.png"/><Relationship Id="rId40" Type="http://schemas.openxmlformats.org/officeDocument/2006/relationships/image" Target="../media/image91.png"/><Relationship Id="rId45" Type="http://schemas.openxmlformats.org/officeDocument/2006/relationships/image" Target="../media/image96.png"/><Relationship Id="rId53" Type="http://schemas.openxmlformats.org/officeDocument/2006/relationships/image" Target="../media/image104.png"/><Relationship Id="rId58" Type="http://schemas.openxmlformats.org/officeDocument/2006/relationships/image" Target="../media/image109.png"/><Relationship Id="rId5" Type="http://schemas.openxmlformats.org/officeDocument/2006/relationships/image" Target="../media/image56.png"/><Relationship Id="rId15" Type="http://schemas.openxmlformats.org/officeDocument/2006/relationships/image" Target="../media/image66.png"/><Relationship Id="rId23" Type="http://schemas.openxmlformats.org/officeDocument/2006/relationships/image" Target="../media/image74.png"/><Relationship Id="rId28" Type="http://schemas.openxmlformats.org/officeDocument/2006/relationships/image" Target="../media/image79.png"/><Relationship Id="rId36" Type="http://schemas.openxmlformats.org/officeDocument/2006/relationships/image" Target="../media/image87.png"/><Relationship Id="rId49" Type="http://schemas.openxmlformats.org/officeDocument/2006/relationships/image" Target="../media/image100.png"/><Relationship Id="rId57" Type="http://schemas.openxmlformats.org/officeDocument/2006/relationships/image" Target="../media/image108.png"/><Relationship Id="rId10" Type="http://schemas.openxmlformats.org/officeDocument/2006/relationships/image" Target="../media/image61.png"/><Relationship Id="rId19" Type="http://schemas.openxmlformats.org/officeDocument/2006/relationships/image" Target="../media/image70.png"/><Relationship Id="rId31" Type="http://schemas.openxmlformats.org/officeDocument/2006/relationships/image" Target="../media/image82.png"/><Relationship Id="rId44" Type="http://schemas.openxmlformats.org/officeDocument/2006/relationships/image" Target="../media/image95.png"/><Relationship Id="rId52" Type="http://schemas.openxmlformats.org/officeDocument/2006/relationships/image" Target="../media/image103.png"/><Relationship Id="rId4" Type="http://schemas.openxmlformats.org/officeDocument/2006/relationships/image" Target="../media/image55.png"/><Relationship Id="rId9" Type="http://schemas.openxmlformats.org/officeDocument/2006/relationships/image" Target="../media/image60.png"/><Relationship Id="rId14" Type="http://schemas.openxmlformats.org/officeDocument/2006/relationships/image" Target="../media/image65.png"/><Relationship Id="rId22" Type="http://schemas.openxmlformats.org/officeDocument/2006/relationships/image" Target="../media/image73.png"/><Relationship Id="rId27" Type="http://schemas.openxmlformats.org/officeDocument/2006/relationships/image" Target="../media/image78.png"/><Relationship Id="rId30" Type="http://schemas.openxmlformats.org/officeDocument/2006/relationships/image" Target="../media/image81.png"/><Relationship Id="rId35" Type="http://schemas.openxmlformats.org/officeDocument/2006/relationships/image" Target="../media/image86.png"/><Relationship Id="rId43" Type="http://schemas.openxmlformats.org/officeDocument/2006/relationships/image" Target="../media/image94.png"/><Relationship Id="rId48" Type="http://schemas.openxmlformats.org/officeDocument/2006/relationships/image" Target="../media/image99.png"/><Relationship Id="rId56" Type="http://schemas.openxmlformats.org/officeDocument/2006/relationships/image" Target="../media/image107.png"/><Relationship Id="rId8" Type="http://schemas.openxmlformats.org/officeDocument/2006/relationships/image" Target="../media/image59.png"/><Relationship Id="rId51" Type="http://schemas.openxmlformats.org/officeDocument/2006/relationships/image" Target="../media/image102.png"/><Relationship Id="rId3" Type="http://schemas.openxmlformats.org/officeDocument/2006/relationships/image" Target="../media/image5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3" Type="http://schemas.openxmlformats.org/officeDocument/2006/relationships/image" Target="../media/image64.png"/><Relationship Id="rId18" Type="http://schemas.openxmlformats.org/officeDocument/2006/relationships/image" Target="../media/image69.png"/><Relationship Id="rId26" Type="http://schemas.openxmlformats.org/officeDocument/2006/relationships/image" Target="../media/image77.png"/><Relationship Id="rId39" Type="http://schemas.openxmlformats.org/officeDocument/2006/relationships/image" Target="../media/image90.png"/><Relationship Id="rId21" Type="http://schemas.openxmlformats.org/officeDocument/2006/relationships/image" Target="../media/image72.png"/><Relationship Id="rId34" Type="http://schemas.openxmlformats.org/officeDocument/2006/relationships/image" Target="../media/image85.png"/><Relationship Id="rId42" Type="http://schemas.openxmlformats.org/officeDocument/2006/relationships/image" Target="../media/image93.png"/><Relationship Id="rId47" Type="http://schemas.openxmlformats.org/officeDocument/2006/relationships/image" Target="../media/image98.png"/><Relationship Id="rId50" Type="http://schemas.openxmlformats.org/officeDocument/2006/relationships/image" Target="../media/image101.png"/><Relationship Id="rId55" Type="http://schemas.openxmlformats.org/officeDocument/2006/relationships/image" Target="../media/image106.png"/><Relationship Id="rId7" Type="http://schemas.openxmlformats.org/officeDocument/2006/relationships/image" Target="../media/image58.png"/><Relationship Id="rId12" Type="http://schemas.openxmlformats.org/officeDocument/2006/relationships/image" Target="../media/image63.png"/><Relationship Id="rId17" Type="http://schemas.openxmlformats.org/officeDocument/2006/relationships/image" Target="../media/image68.png"/><Relationship Id="rId25" Type="http://schemas.openxmlformats.org/officeDocument/2006/relationships/image" Target="../media/image76.png"/><Relationship Id="rId33" Type="http://schemas.openxmlformats.org/officeDocument/2006/relationships/image" Target="../media/image84.png"/><Relationship Id="rId38" Type="http://schemas.openxmlformats.org/officeDocument/2006/relationships/image" Target="../media/image89.png"/><Relationship Id="rId46" Type="http://schemas.openxmlformats.org/officeDocument/2006/relationships/image" Target="../media/image97.png"/><Relationship Id="rId59" Type="http://schemas.openxmlformats.org/officeDocument/2006/relationships/hyperlink" Target="https://rystadenergy0.sharepoint.com/:f:/r/sites/rystadenergy.com/Common/Consulting/Templates/Rystad%20Energy%20PowerPoint%20HackPack/2023%20RE%20Consulting%20template%20and%20hackpack/2.%20RE%20libraries/RE%20icons?csf=1&amp;web=1&amp;e=tzbBzI" TargetMode="External"/><Relationship Id="rId2" Type="http://schemas.openxmlformats.org/officeDocument/2006/relationships/image" Target="../media/image53.png"/><Relationship Id="rId16" Type="http://schemas.openxmlformats.org/officeDocument/2006/relationships/image" Target="../media/image67.png"/><Relationship Id="rId20" Type="http://schemas.openxmlformats.org/officeDocument/2006/relationships/image" Target="../media/image71.png"/><Relationship Id="rId29" Type="http://schemas.openxmlformats.org/officeDocument/2006/relationships/image" Target="../media/image80.png"/><Relationship Id="rId41" Type="http://schemas.openxmlformats.org/officeDocument/2006/relationships/image" Target="../media/image92.png"/><Relationship Id="rId54" Type="http://schemas.openxmlformats.org/officeDocument/2006/relationships/image" Target="../media/image105.png"/><Relationship Id="rId1" Type="http://schemas.openxmlformats.org/officeDocument/2006/relationships/slideMaster" Target="../slideMasters/slideMaster1.xml"/><Relationship Id="rId6" Type="http://schemas.openxmlformats.org/officeDocument/2006/relationships/image" Target="../media/image57.png"/><Relationship Id="rId11" Type="http://schemas.openxmlformats.org/officeDocument/2006/relationships/image" Target="../media/image62.png"/><Relationship Id="rId24" Type="http://schemas.openxmlformats.org/officeDocument/2006/relationships/image" Target="../media/image75.png"/><Relationship Id="rId32" Type="http://schemas.openxmlformats.org/officeDocument/2006/relationships/image" Target="../media/image83.png"/><Relationship Id="rId37" Type="http://schemas.openxmlformats.org/officeDocument/2006/relationships/image" Target="../media/image88.png"/><Relationship Id="rId40" Type="http://schemas.openxmlformats.org/officeDocument/2006/relationships/image" Target="../media/image91.png"/><Relationship Id="rId45" Type="http://schemas.openxmlformats.org/officeDocument/2006/relationships/image" Target="../media/image96.png"/><Relationship Id="rId53" Type="http://schemas.openxmlformats.org/officeDocument/2006/relationships/image" Target="../media/image104.png"/><Relationship Id="rId58" Type="http://schemas.openxmlformats.org/officeDocument/2006/relationships/image" Target="../media/image109.png"/><Relationship Id="rId5" Type="http://schemas.openxmlformats.org/officeDocument/2006/relationships/image" Target="../media/image56.png"/><Relationship Id="rId15" Type="http://schemas.openxmlformats.org/officeDocument/2006/relationships/image" Target="../media/image66.png"/><Relationship Id="rId23" Type="http://schemas.openxmlformats.org/officeDocument/2006/relationships/image" Target="../media/image74.png"/><Relationship Id="rId28" Type="http://schemas.openxmlformats.org/officeDocument/2006/relationships/image" Target="../media/image79.png"/><Relationship Id="rId36" Type="http://schemas.openxmlformats.org/officeDocument/2006/relationships/image" Target="../media/image87.png"/><Relationship Id="rId49" Type="http://schemas.openxmlformats.org/officeDocument/2006/relationships/image" Target="../media/image100.png"/><Relationship Id="rId57" Type="http://schemas.openxmlformats.org/officeDocument/2006/relationships/image" Target="../media/image108.png"/><Relationship Id="rId10" Type="http://schemas.openxmlformats.org/officeDocument/2006/relationships/image" Target="../media/image61.png"/><Relationship Id="rId19" Type="http://schemas.openxmlformats.org/officeDocument/2006/relationships/image" Target="../media/image70.png"/><Relationship Id="rId31" Type="http://schemas.openxmlformats.org/officeDocument/2006/relationships/image" Target="../media/image82.png"/><Relationship Id="rId44" Type="http://schemas.openxmlformats.org/officeDocument/2006/relationships/image" Target="../media/image95.png"/><Relationship Id="rId52" Type="http://schemas.openxmlformats.org/officeDocument/2006/relationships/image" Target="../media/image103.png"/><Relationship Id="rId4" Type="http://schemas.openxmlformats.org/officeDocument/2006/relationships/image" Target="../media/image55.png"/><Relationship Id="rId9" Type="http://schemas.openxmlformats.org/officeDocument/2006/relationships/image" Target="../media/image60.png"/><Relationship Id="rId14" Type="http://schemas.openxmlformats.org/officeDocument/2006/relationships/image" Target="../media/image65.png"/><Relationship Id="rId22" Type="http://schemas.openxmlformats.org/officeDocument/2006/relationships/image" Target="../media/image73.png"/><Relationship Id="rId27" Type="http://schemas.openxmlformats.org/officeDocument/2006/relationships/image" Target="../media/image78.png"/><Relationship Id="rId30" Type="http://schemas.openxmlformats.org/officeDocument/2006/relationships/image" Target="../media/image81.png"/><Relationship Id="rId35" Type="http://schemas.openxmlformats.org/officeDocument/2006/relationships/image" Target="../media/image86.png"/><Relationship Id="rId43" Type="http://schemas.openxmlformats.org/officeDocument/2006/relationships/image" Target="../media/image94.png"/><Relationship Id="rId48" Type="http://schemas.openxmlformats.org/officeDocument/2006/relationships/image" Target="../media/image99.png"/><Relationship Id="rId56" Type="http://schemas.openxmlformats.org/officeDocument/2006/relationships/image" Target="../media/image107.png"/><Relationship Id="rId8" Type="http://schemas.openxmlformats.org/officeDocument/2006/relationships/image" Target="../media/image59.png"/><Relationship Id="rId51" Type="http://schemas.openxmlformats.org/officeDocument/2006/relationships/image" Target="../media/image102.png"/><Relationship Id="rId3" Type="http://schemas.openxmlformats.org/officeDocument/2006/relationships/image" Target="../media/image54.png"/></Relationships>
</file>

<file path=ppt/slideLayouts/_rels/slideLayout61.xml.rels><?xml version="1.0" encoding="UTF-8" standalone="yes"?>
<Relationships xmlns="http://schemas.openxmlformats.org/package/2006/relationships"><Relationship Id="rId3" Type="http://schemas.openxmlformats.org/officeDocument/2006/relationships/hyperlink" Target="https://rystadenergy0.sharepoint.com/:f:/r/sites/rystadenergy.com/Common/Consulting/Templates/Rystad%20Energy%20PowerPoint%20HackPack/2023%20RE%20Consulting%20template%20and%20hackpack/2.%20RE%20libraries/RE%20photos/Maps?csf=1&amp;web=1&amp;e=yZTetT" TargetMode="External"/><Relationship Id="rId2" Type="http://schemas.openxmlformats.org/officeDocument/2006/relationships/image" Target="../media/image110.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hyperlink" Target="https://rystadenergy0.sharepoint.com/:f:/r/sites/rystadenergy.com/Common/Consulting/Templates/Rystad%20Energy%20PowerPoint%20HackPack/2023%20RE%20Consulting%20template%20and%20hackpack/2.%20RE%20libraries/RE%20photos/Maps?csf=1&amp;web=1&amp;e=yZTetT" TargetMode="External"/><Relationship Id="rId2" Type="http://schemas.openxmlformats.org/officeDocument/2006/relationships/image" Target="../media/image111.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Master" Target="../slideMasters/slideMaster1.xml"/><Relationship Id="rId4" Type="http://schemas.openxmlformats.org/officeDocument/2006/relationships/chart" Target="../charts/chart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8.sv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image" Target="../media/image112.png"/><Relationship Id="rId1" Type="http://schemas.openxmlformats.org/officeDocument/2006/relationships/slideMaster" Target="../slideMasters/slideMaster1.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Front page">
    <p:bg>
      <p:bgRef idx="1001">
        <a:schemeClr val="bg1"/>
      </p:bgRef>
    </p:bg>
    <p:spTree>
      <p:nvGrpSpPr>
        <p:cNvPr id="1" name=""/>
        <p:cNvGrpSpPr/>
        <p:nvPr/>
      </p:nvGrpSpPr>
      <p:grpSpPr>
        <a:xfrm>
          <a:off x="0" y="0"/>
          <a:ext cx="0" cy="0"/>
          <a:chOff x="0" y="0"/>
          <a:chExt cx="0" cy="0"/>
        </a:xfrm>
      </p:grpSpPr>
      <p:sp>
        <p:nvSpPr>
          <p:cNvPr id="7" name="cover_dark_blue">
            <a:extLst>
              <a:ext uri="{FF2B5EF4-FFF2-40B4-BE49-F238E27FC236}">
                <a16:creationId xmlns:a16="http://schemas.microsoft.com/office/drawing/2014/main" id="{474F42C8-F458-2441-EE29-CA4EB5C9927F}"/>
              </a:ext>
            </a:extLst>
          </p:cNvPr>
          <p:cNvSpPr>
            <a:spLocks/>
          </p:cNvSpPr>
          <p:nvPr/>
        </p:nvSpPr>
        <p:spPr>
          <a:xfrm>
            <a:off x="0" y="0"/>
            <a:ext cx="12192000" cy="6858000"/>
          </a:xfrm>
          <a:prstGeom prst="rect">
            <a:avLst/>
          </a:prstGeom>
          <a:gradFill flip="none" rotWithShape="1">
            <a:gsLst>
              <a:gs pos="62000">
                <a:srgbClr val="1A2C58"/>
              </a:gs>
              <a:gs pos="0">
                <a:srgbClr val="03132B"/>
              </a:gs>
            </a:gsLst>
            <a:lin ang="13500000" scaled="1"/>
            <a:tileRect/>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accent6"/>
              </a:solidFill>
              <a:latin typeface="Ubuntu" panose="020B0504030602030204" pitchFamily="34" charset="0"/>
            </a:endParaRPr>
          </a:p>
        </p:txBody>
      </p:sp>
      <p:pic>
        <p:nvPicPr>
          <p:cNvPr id="6" name="Graphic 5">
            <a:extLst>
              <a:ext uri="{FF2B5EF4-FFF2-40B4-BE49-F238E27FC236}">
                <a16:creationId xmlns:a16="http://schemas.microsoft.com/office/drawing/2014/main" id="{EBB2F791-2B72-FDDD-52E1-20364AB52E9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4" name="Graphic 3">
            <a:extLst>
              <a:ext uri="{FF2B5EF4-FFF2-40B4-BE49-F238E27FC236}">
                <a16:creationId xmlns:a16="http://schemas.microsoft.com/office/drawing/2014/main" id="{1D49F61D-BFC1-8B81-724B-F86A56FEB3F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11" name="cover_orange" hidden="1">
            <a:extLst>
              <a:ext uri="{FF2B5EF4-FFF2-40B4-BE49-F238E27FC236}">
                <a16:creationId xmlns:a16="http://schemas.microsoft.com/office/drawing/2014/main" id="{DCC0C175-F2A0-AD68-7083-EEB86A5E6F20}"/>
              </a:ext>
            </a:extLst>
          </p:cNvPr>
          <p:cNvSpPr/>
          <p:nvPr/>
        </p:nvSpPr>
        <p:spPr>
          <a:xfrm>
            <a:off x="0" y="0"/>
            <a:ext cx="12192000" cy="6858000"/>
          </a:xfrm>
          <a:prstGeom prst="rect">
            <a:avLst/>
          </a:prstGeom>
          <a:gradFill flip="none" rotWithShape="1">
            <a:gsLst>
              <a:gs pos="0">
                <a:srgbClr val="E58843"/>
              </a:gs>
              <a:gs pos="23000">
                <a:srgbClr val="93603F"/>
              </a:gs>
              <a:gs pos="58000">
                <a:srgbClr val="041938"/>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2" name="cover_blue" hidden="1">
            <a:extLst>
              <a:ext uri="{FF2B5EF4-FFF2-40B4-BE49-F238E27FC236}">
                <a16:creationId xmlns:a16="http://schemas.microsoft.com/office/drawing/2014/main" id="{4C332827-3028-710A-50B7-5467D25700A9}"/>
              </a:ext>
            </a:extLst>
          </p:cNvPr>
          <p:cNvSpPr/>
          <p:nvPr/>
        </p:nvSpPr>
        <p:spPr>
          <a:xfrm>
            <a:off x="0" y="0"/>
            <a:ext cx="12192000" cy="6858000"/>
          </a:xfrm>
          <a:prstGeom prst="rect">
            <a:avLst/>
          </a:prstGeom>
          <a:gradFill flip="none" rotWithShape="1">
            <a:gsLst>
              <a:gs pos="23000">
                <a:srgbClr val="497E9E"/>
              </a:gs>
              <a:gs pos="0">
                <a:srgbClr val="67AACB"/>
              </a:gs>
              <a:gs pos="58000">
                <a:srgbClr val="041938"/>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9" name="cover_green" hidden="1">
            <a:extLst>
              <a:ext uri="{FF2B5EF4-FFF2-40B4-BE49-F238E27FC236}">
                <a16:creationId xmlns:a16="http://schemas.microsoft.com/office/drawing/2014/main" id="{E86AEC8B-8467-8511-1D2E-03122177C329}"/>
              </a:ext>
            </a:extLst>
          </p:cNvPr>
          <p:cNvSpPr/>
          <p:nvPr/>
        </p:nvSpPr>
        <p:spPr>
          <a:xfrm>
            <a:off x="0" y="0"/>
            <a:ext cx="12192000" cy="6858000"/>
          </a:xfrm>
          <a:prstGeom prst="rect">
            <a:avLst/>
          </a:prstGeom>
          <a:gradFill flip="none" rotWithShape="1">
            <a:gsLst>
              <a:gs pos="23000">
                <a:srgbClr val="748367"/>
              </a:gs>
              <a:gs pos="0">
                <a:srgbClr val="DCE692"/>
              </a:gs>
              <a:gs pos="58000">
                <a:srgbClr val="041938"/>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25" name="Title 1">
            <a:extLst>
              <a:ext uri="{FF2B5EF4-FFF2-40B4-BE49-F238E27FC236}">
                <a16:creationId xmlns:a16="http://schemas.microsoft.com/office/drawing/2014/main" id="{896689C1-E7A9-4DFC-A32E-FE74168165BB}"/>
              </a:ext>
            </a:extLst>
          </p:cNvPr>
          <p:cNvSpPr>
            <a:spLocks noGrp="1"/>
          </p:cNvSpPr>
          <p:nvPr>
            <p:ph type="ctrTitle" hasCustomPrompt="1"/>
          </p:nvPr>
        </p:nvSpPr>
        <p:spPr>
          <a:xfrm>
            <a:off x="552244" y="1093632"/>
            <a:ext cx="11046276" cy="2335373"/>
          </a:xfrm>
          <a:prstGeom prst="rect">
            <a:avLst/>
          </a:prstGeom>
        </p:spPr>
        <p:txBody>
          <a:bodyPr anchor="b">
            <a:normAutofit/>
          </a:bodyPr>
          <a:lstStyle>
            <a:lvl1pPr algn="l">
              <a:defRPr sz="6000">
                <a:solidFill>
                  <a:schemeClr val="bg1"/>
                </a:solidFill>
                <a:latin typeface="Ubuntu" panose="020B0504030602030204" pitchFamily="34" charset="0"/>
                <a:cs typeface="Calibri Light" panose="020F0302020204030204" pitchFamily="34" charset="0"/>
              </a:defRPr>
            </a:lvl1pPr>
          </a:lstStyle>
          <a:p>
            <a:r>
              <a:rPr lang="en-US"/>
              <a:t>Click to Edit Report Title</a:t>
            </a:r>
          </a:p>
        </p:txBody>
      </p:sp>
      <p:sp>
        <p:nvSpPr>
          <p:cNvPr id="26" name="Subtitle 2">
            <a:extLst>
              <a:ext uri="{FF2B5EF4-FFF2-40B4-BE49-F238E27FC236}">
                <a16:creationId xmlns:a16="http://schemas.microsoft.com/office/drawing/2014/main" id="{F03857F0-C570-4C45-9543-8E15849E8BE4}"/>
              </a:ext>
            </a:extLst>
          </p:cNvPr>
          <p:cNvSpPr>
            <a:spLocks noGrp="1"/>
          </p:cNvSpPr>
          <p:nvPr>
            <p:ph type="subTitle" idx="1" hasCustomPrompt="1"/>
          </p:nvPr>
        </p:nvSpPr>
        <p:spPr>
          <a:xfrm>
            <a:off x="552244" y="3359049"/>
            <a:ext cx="11046276" cy="350162"/>
          </a:xfrm>
          <a:prstGeom prst="rect">
            <a:avLst/>
          </a:prstGeom>
        </p:spPr>
        <p:txBody>
          <a:bodyPr>
            <a:noAutofit/>
          </a:bodyPr>
          <a:lstStyle>
            <a:lvl1pPr marL="0" indent="0" algn="l">
              <a:buNone/>
              <a:defRPr sz="3000" b="0">
                <a:solidFill>
                  <a:srgbClr val="DC8E63"/>
                </a:solidFill>
                <a:latin typeface="Ubuntu" panose="020B0504030602030204" pitchFamily="34" charset="0"/>
                <a:cs typeface="Calibri Light" panose="020F0302020204030204" pitchFamily="34" charset="0"/>
              </a:defRPr>
            </a:lvl1pPr>
            <a:lvl2pPr marL="422051" indent="0" algn="ctr">
              <a:buNone/>
              <a:defRPr sz="1846"/>
            </a:lvl2pPr>
            <a:lvl3pPr marL="844104" indent="0" algn="ctr">
              <a:buNone/>
              <a:defRPr sz="1662"/>
            </a:lvl3pPr>
            <a:lvl4pPr marL="1266156" indent="0" algn="ctr">
              <a:buNone/>
              <a:defRPr sz="1477"/>
            </a:lvl4pPr>
            <a:lvl5pPr marL="1688207" indent="0" algn="ctr">
              <a:buNone/>
              <a:defRPr sz="1477"/>
            </a:lvl5pPr>
            <a:lvl6pPr marL="2110260" indent="0" algn="ctr">
              <a:buNone/>
              <a:defRPr sz="1477"/>
            </a:lvl6pPr>
            <a:lvl7pPr marL="2532312" indent="0" algn="ctr">
              <a:buNone/>
              <a:defRPr sz="1477"/>
            </a:lvl7pPr>
            <a:lvl8pPr marL="2954363" indent="0" algn="ctr">
              <a:buNone/>
              <a:defRPr sz="1477"/>
            </a:lvl8pPr>
            <a:lvl9pPr marL="3376415" indent="0" algn="ctr">
              <a:buNone/>
              <a:defRPr sz="1477"/>
            </a:lvl9pPr>
          </a:lstStyle>
          <a:p>
            <a:r>
              <a:rPr lang="en-US"/>
              <a:t>Click to edit Edition</a:t>
            </a:r>
          </a:p>
        </p:txBody>
      </p:sp>
      <p:sp>
        <p:nvSpPr>
          <p:cNvPr id="27" name="Text Placeholder 11">
            <a:extLst>
              <a:ext uri="{FF2B5EF4-FFF2-40B4-BE49-F238E27FC236}">
                <a16:creationId xmlns:a16="http://schemas.microsoft.com/office/drawing/2014/main" id="{16EA4C8E-A0B0-4C66-A696-815EF3CFC32C}"/>
              </a:ext>
            </a:extLst>
          </p:cNvPr>
          <p:cNvSpPr>
            <a:spLocks noGrp="1"/>
          </p:cNvSpPr>
          <p:nvPr>
            <p:ph type="body" sz="quarter" idx="10" hasCustomPrompt="1"/>
          </p:nvPr>
        </p:nvSpPr>
        <p:spPr>
          <a:xfrm>
            <a:off x="598358" y="5764373"/>
            <a:ext cx="6502400" cy="252344"/>
          </a:xfrm>
          <a:prstGeom prst="rect">
            <a:avLst/>
          </a:prstGeom>
        </p:spPr>
        <p:txBody>
          <a:bodyPr>
            <a:noAutofit/>
          </a:bodyPr>
          <a:lstStyle>
            <a:lvl1pPr marL="0" indent="0">
              <a:buNone/>
              <a:defRPr sz="1800" b="1">
                <a:solidFill>
                  <a:srgbClr val="DC8E63"/>
                </a:solidFill>
                <a:latin typeface="Ubuntu" panose="020B0504030602030204" pitchFamily="34" charset="0"/>
                <a:cs typeface="Calibri" panose="020F0502020204030204" pitchFamily="34" charset="0"/>
              </a:defRPr>
            </a:lvl1pPr>
          </a:lstStyle>
          <a:p>
            <a:pPr lvl="0"/>
            <a:r>
              <a:rPr lang="en-US"/>
              <a:t>Click to Edit Product Group</a:t>
            </a:r>
          </a:p>
        </p:txBody>
      </p:sp>
      <p:sp>
        <p:nvSpPr>
          <p:cNvPr id="28" name="Text Placeholder 11">
            <a:extLst>
              <a:ext uri="{FF2B5EF4-FFF2-40B4-BE49-F238E27FC236}">
                <a16:creationId xmlns:a16="http://schemas.microsoft.com/office/drawing/2014/main" id="{3014D09D-A936-4A9F-9A8E-397483710552}"/>
              </a:ext>
            </a:extLst>
          </p:cNvPr>
          <p:cNvSpPr>
            <a:spLocks noGrp="1"/>
          </p:cNvSpPr>
          <p:nvPr>
            <p:ph type="body" sz="quarter" idx="12" hasCustomPrompt="1"/>
          </p:nvPr>
        </p:nvSpPr>
        <p:spPr>
          <a:xfrm>
            <a:off x="598358" y="6016717"/>
            <a:ext cx="6502400" cy="349250"/>
          </a:xfrm>
          <a:prstGeom prst="rect">
            <a:avLst/>
          </a:prstGeom>
        </p:spPr>
        <p:txBody>
          <a:bodyPr>
            <a:normAutofit/>
          </a:bodyPr>
          <a:lstStyle>
            <a:lvl1pPr marL="0" indent="0">
              <a:buNone/>
              <a:defRPr sz="1400" b="0">
                <a:solidFill>
                  <a:schemeClr val="bg1"/>
                </a:solidFill>
                <a:latin typeface="Ubuntu" panose="020B0504030602030204" pitchFamily="34" charset="0"/>
                <a:cs typeface="Calibri" panose="020F0502020204030204" pitchFamily="34" charset="0"/>
              </a:defRPr>
            </a:lvl1pPr>
          </a:lstStyle>
          <a:p>
            <a:pPr lvl="0"/>
            <a:r>
              <a:rPr lang="en-US"/>
              <a:t>Click to Edit Date</a:t>
            </a:r>
          </a:p>
        </p:txBody>
      </p:sp>
      <p:sp>
        <p:nvSpPr>
          <p:cNvPr id="29" name="Text Placeholder 4">
            <a:extLst>
              <a:ext uri="{FF2B5EF4-FFF2-40B4-BE49-F238E27FC236}">
                <a16:creationId xmlns:a16="http://schemas.microsoft.com/office/drawing/2014/main" id="{00FDF6E3-F93B-4EF3-971E-FF35FD95E179}"/>
              </a:ext>
            </a:extLst>
          </p:cNvPr>
          <p:cNvSpPr>
            <a:spLocks noGrp="1"/>
          </p:cNvSpPr>
          <p:nvPr>
            <p:ph type="body" sz="quarter" idx="13" hasCustomPrompt="1"/>
          </p:nvPr>
        </p:nvSpPr>
        <p:spPr>
          <a:xfrm>
            <a:off x="550459" y="4286095"/>
            <a:ext cx="11048059" cy="674687"/>
          </a:xfrm>
          <a:prstGeom prst="rect">
            <a:avLst/>
          </a:prstGeom>
        </p:spPr>
        <p:txBody>
          <a:bodyPr/>
          <a:lstStyle>
            <a:lvl1pPr marL="0" indent="0">
              <a:buNone/>
              <a:defRPr sz="2000">
                <a:solidFill>
                  <a:schemeClr val="bg1"/>
                </a:solidFill>
                <a:latin typeface="Ubuntu" panose="020B0504030602030204" pitchFamily="34" charset="0"/>
                <a:cs typeface="Calibri" panose="020F0502020204030204" pitchFamily="34" charset="0"/>
              </a:defRPr>
            </a:lvl1pPr>
          </a:lstStyle>
          <a:p>
            <a:pPr lvl="0"/>
            <a:r>
              <a:rPr lang="en-US"/>
              <a:t>Click to edit Sub-Head Text</a:t>
            </a:r>
          </a:p>
        </p:txBody>
      </p:sp>
      <p:sp>
        <p:nvSpPr>
          <p:cNvPr id="5" name="Picture Placeholder 4">
            <a:extLst>
              <a:ext uri="{FF2B5EF4-FFF2-40B4-BE49-F238E27FC236}">
                <a16:creationId xmlns:a16="http://schemas.microsoft.com/office/drawing/2014/main" id="{324FE1BE-6F25-FD93-F65D-D1E14094667A}"/>
              </a:ext>
            </a:extLst>
          </p:cNvPr>
          <p:cNvSpPr>
            <a:spLocks noGrp="1"/>
          </p:cNvSpPr>
          <p:nvPr>
            <p:ph type="pic" sz="quarter" idx="14" hasCustomPrompt="1"/>
          </p:nvPr>
        </p:nvSpPr>
        <p:spPr>
          <a:xfrm>
            <a:off x="10501442" y="5464750"/>
            <a:ext cx="1080000" cy="1080000"/>
          </a:xfrm>
          <a:prstGeom prst="rect">
            <a:avLst/>
          </a:prstGeom>
        </p:spPr>
        <p:txBody>
          <a:bodyPr>
            <a:normAutofit/>
          </a:bodyPr>
          <a:lstStyle>
            <a:lvl1pPr>
              <a:defRPr sz="1000">
                <a:solidFill>
                  <a:schemeClr val="bg1"/>
                </a:solidFill>
              </a:defRPr>
            </a:lvl1pPr>
          </a:lstStyle>
          <a:p>
            <a:r>
              <a:rPr lang="en-US"/>
              <a:t>Placeholder for client logo</a:t>
            </a:r>
            <a:endParaRPr lang="en-GB"/>
          </a:p>
        </p:txBody>
      </p:sp>
      <p:pic>
        <p:nvPicPr>
          <p:cNvPr id="15" name="Graphic 14">
            <a:extLst>
              <a:ext uri="{FF2B5EF4-FFF2-40B4-BE49-F238E27FC236}">
                <a16:creationId xmlns:a16="http://schemas.microsoft.com/office/drawing/2014/main" id="{11ABCE0E-01D0-D3E0-AF7D-ADB5CDB34D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60219" y="267272"/>
            <a:ext cx="2657064" cy="667944"/>
          </a:xfrm>
          <a:prstGeom prst="rect">
            <a:avLst/>
          </a:prstGeom>
        </p:spPr>
      </p:pic>
    </p:spTree>
    <p:extLst>
      <p:ext uri="{BB962C8B-B14F-4D97-AF65-F5344CB8AC3E}">
        <p14:creationId xmlns:p14="http://schemas.microsoft.com/office/powerpoint/2010/main" val="4125101839"/>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or divider page">
    <p:spTree>
      <p:nvGrpSpPr>
        <p:cNvPr id="1" name=""/>
        <p:cNvGrpSpPr/>
        <p:nvPr/>
      </p:nvGrpSpPr>
      <p:grpSpPr>
        <a:xfrm>
          <a:off x="0" y="0"/>
          <a:ext cx="0" cy="0"/>
          <a:chOff x="0" y="0"/>
          <a:chExt cx="0" cy="0"/>
        </a:xfrm>
      </p:grpSpPr>
      <p:sp>
        <p:nvSpPr>
          <p:cNvPr id="15" name="Text Placeholder 5">
            <a:extLst>
              <a:ext uri="{FF2B5EF4-FFF2-40B4-BE49-F238E27FC236}">
                <a16:creationId xmlns:a16="http://schemas.microsoft.com/office/drawing/2014/main" id="{AF9502B8-2B02-45D1-8ECE-ED30CBBD092A}"/>
              </a:ext>
            </a:extLst>
          </p:cNvPr>
          <p:cNvSpPr>
            <a:spLocks noGrp="1"/>
          </p:cNvSpPr>
          <p:nvPr>
            <p:ph type="body" sz="quarter" idx="11"/>
          </p:nvPr>
        </p:nvSpPr>
        <p:spPr>
          <a:xfrm>
            <a:off x="442912" y="1807023"/>
            <a:ext cx="11306175" cy="3260725"/>
          </a:xfrm>
          <a:prstGeom prst="rect">
            <a:avLst/>
          </a:prstGeom>
        </p:spPr>
        <p:txBody>
          <a:bodyPr vert="horz" lIns="91440" tIns="45720" rIns="91440" bIns="45720" rtlCol="0">
            <a:normAutofit/>
          </a:bodyPr>
          <a:lstStyle>
            <a:lvl1pPr marL="0" indent="0">
              <a:buNone/>
              <a:defRPr lang="en-US" sz="1800" smtClean="0">
                <a:latin typeface="Ubuntu" panose="020B0504030602030204" pitchFamily="34" charset="0"/>
                <a:cs typeface="Calibri Light" panose="020F0302020204030204" pitchFamily="34" charset="0"/>
              </a:defRPr>
            </a:lvl1pPr>
          </a:lstStyle>
          <a:p>
            <a:pPr marL="281368" lvl="0" indent="-281368">
              <a:spcBef>
                <a:spcPts val="0"/>
              </a:spcBef>
            </a:pPr>
            <a:r>
              <a:rPr lang="en-US"/>
              <a:t>Click to edit Master text styles</a:t>
            </a:r>
          </a:p>
        </p:txBody>
      </p:sp>
      <p:sp>
        <p:nvSpPr>
          <p:cNvPr id="8" name="Text Placeholder 12">
            <a:extLst>
              <a:ext uri="{FF2B5EF4-FFF2-40B4-BE49-F238E27FC236}">
                <a16:creationId xmlns:a16="http://schemas.microsoft.com/office/drawing/2014/main" id="{BC988602-03BE-6555-CFED-A6A22E753960}"/>
              </a:ext>
            </a:extLst>
          </p:cNvPr>
          <p:cNvSpPr>
            <a:spLocks noGrp="1"/>
          </p:cNvSpPr>
          <p:nvPr>
            <p:ph type="body" sz="quarter" idx="17"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6" name="Title 5">
            <a:extLst>
              <a:ext uri="{FF2B5EF4-FFF2-40B4-BE49-F238E27FC236}">
                <a16:creationId xmlns:a16="http://schemas.microsoft.com/office/drawing/2014/main" id="{E8E02985-9602-DFCE-8473-0874445B8B5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7969690"/>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9288307"/>
      </p:ext>
    </p:extLst>
  </p:cSld>
  <p:clrMapOvr>
    <a:masterClrMapping/>
  </p:clrMapOvr>
  <p:hf hdr="0" ft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ree format_blank">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43C445-975A-1D39-2473-0C5F71EB83F6}"/>
              </a:ext>
            </a:extLst>
          </p:cNvPr>
          <p:cNvSpPr>
            <a:spLocks noGrp="1"/>
          </p:cNvSpPr>
          <p:nvPr>
            <p:ph type="title"/>
          </p:nvPr>
        </p:nvSpPr>
        <p:spPr/>
        <p:txBody>
          <a:bodyPr/>
          <a:lstStyle/>
          <a:p>
            <a:r>
              <a:rPr lang="en-US"/>
              <a:t>Click to edit Master title style</a:t>
            </a:r>
          </a:p>
        </p:txBody>
      </p:sp>
      <p:sp>
        <p:nvSpPr>
          <p:cNvPr id="4" name="Text Placeholder 12">
            <a:extLst>
              <a:ext uri="{FF2B5EF4-FFF2-40B4-BE49-F238E27FC236}">
                <a16:creationId xmlns:a16="http://schemas.microsoft.com/office/drawing/2014/main" id="{D53FFE5B-BDAC-2E7B-E576-33FF0D802F9C}"/>
              </a:ext>
            </a:extLst>
          </p:cNvPr>
          <p:cNvSpPr>
            <a:spLocks noGrp="1"/>
          </p:cNvSpPr>
          <p:nvPr>
            <p:ph type="body" sz="quarter" idx="19"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Tree>
    <p:extLst>
      <p:ext uri="{BB962C8B-B14F-4D97-AF65-F5344CB8AC3E}">
        <p14:creationId xmlns:p14="http://schemas.microsoft.com/office/powerpoint/2010/main" val="324340226"/>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ree format_text box">
    <p:spTree>
      <p:nvGrpSpPr>
        <p:cNvPr id="1" name=""/>
        <p:cNvGrpSpPr/>
        <p:nvPr/>
      </p:nvGrpSpPr>
      <p:grpSpPr>
        <a:xfrm>
          <a:off x="0" y="0"/>
          <a:ext cx="0" cy="0"/>
          <a:chOff x="0" y="0"/>
          <a:chExt cx="0" cy="0"/>
        </a:xfrm>
      </p:grpSpPr>
      <p:sp>
        <p:nvSpPr>
          <p:cNvPr id="8" name="Text Placeholder 12">
            <a:extLst>
              <a:ext uri="{FF2B5EF4-FFF2-40B4-BE49-F238E27FC236}">
                <a16:creationId xmlns:a16="http://schemas.microsoft.com/office/drawing/2014/main" id="{971FB4D1-7A12-183F-0172-C5E8DEF3A27C}"/>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Rystad Energy research and analysis; Rystad Energy UCube… </a:t>
            </a:r>
            <a:r>
              <a:rPr lang="en-US" err="1"/>
              <a:t>etc</a:t>
            </a:r>
            <a:r>
              <a:rPr lang="en-US"/>
              <a:t>)</a:t>
            </a:r>
          </a:p>
        </p:txBody>
      </p:sp>
      <p:sp>
        <p:nvSpPr>
          <p:cNvPr id="12" name="Title 11">
            <a:extLst>
              <a:ext uri="{FF2B5EF4-FFF2-40B4-BE49-F238E27FC236}">
                <a16:creationId xmlns:a16="http://schemas.microsoft.com/office/drawing/2014/main" id="{5204C8B8-B575-2106-A191-384E70491551}"/>
              </a:ext>
            </a:extLst>
          </p:cNvPr>
          <p:cNvSpPr>
            <a:spLocks noGrp="1"/>
          </p:cNvSpPr>
          <p:nvPr>
            <p:ph type="title"/>
          </p:nvPr>
        </p:nvSpPr>
        <p:spPr/>
        <p:txBody>
          <a:bodyPr/>
          <a:lstStyle>
            <a:lvl1pPr>
              <a:defRPr>
                <a:latin typeface="Ubuntu" panose="020B0504030602030204" pitchFamily="34" charset="0"/>
              </a:defRPr>
            </a:lvl1pPr>
          </a:lstStyle>
          <a:p>
            <a:r>
              <a:rPr lang="en-US"/>
              <a:t>Click to edit Master title style</a:t>
            </a:r>
          </a:p>
        </p:txBody>
      </p:sp>
      <p:sp>
        <p:nvSpPr>
          <p:cNvPr id="14" name="Text Placeholder 13">
            <a:extLst>
              <a:ext uri="{FF2B5EF4-FFF2-40B4-BE49-F238E27FC236}">
                <a16:creationId xmlns:a16="http://schemas.microsoft.com/office/drawing/2014/main" id="{57D68F22-2C7B-7842-4429-402CFEDBADB6}"/>
              </a:ext>
            </a:extLst>
          </p:cNvPr>
          <p:cNvSpPr>
            <a:spLocks noGrp="1"/>
          </p:cNvSpPr>
          <p:nvPr>
            <p:ph type="body" sz="quarter" idx="19"/>
          </p:nvPr>
        </p:nvSpPr>
        <p:spPr>
          <a:xfrm>
            <a:off x="442913" y="1125537"/>
            <a:ext cx="11306174" cy="4751388"/>
          </a:xfrm>
        </p:spPr>
        <p:txBody>
          <a:bodyPr>
            <a:noAutofit/>
          </a:bodyPr>
          <a:lstStyle>
            <a:lvl1pPr>
              <a:defRPr sz="1600">
                <a:latin typeface="Ubuntu" panose="020B0504030602030204" pitchFamily="34" charset="0"/>
              </a:defRPr>
            </a:lvl1pPr>
            <a:lvl2pPr>
              <a:defRPr sz="1400">
                <a:latin typeface="Ubuntu" panose="020B0504030602030204" pitchFamily="34" charset="0"/>
              </a:defRPr>
            </a:lvl2pPr>
            <a:lvl3pPr>
              <a:defRPr sz="1200">
                <a:latin typeface="Ubuntu" panose="020B0504030602030204" pitchFamily="34" charset="0"/>
              </a:defRPr>
            </a:lvl3pPr>
            <a:lvl4pPr>
              <a:defRPr sz="1100">
                <a:latin typeface="Ubuntu" panose="020B0504030602030204" pitchFamily="34" charset="0"/>
              </a:defRPr>
            </a:lvl4pPr>
            <a:lvl5pPr>
              <a:defRPr sz="1050">
                <a:latin typeface="Ubuntu" panose="020B05040306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7961838"/>
      </p:ext>
    </p:extLst>
  </p:cSld>
  <p:clrMapOvr>
    <a:masterClrMapping/>
  </p:clrMapOvr>
  <p:hf hdr="0" ft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ree format_graphics">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339BD1C2-EDD1-4097-8018-8B2F3799CB17}"/>
              </a:ext>
            </a:extLst>
          </p:cNvPr>
          <p:cNvSpPr>
            <a:spLocks noGrp="1"/>
          </p:cNvSpPr>
          <p:nvPr>
            <p:ph sz="quarter" idx="11" hasCustomPrompt="1"/>
          </p:nvPr>
        </p:nvSpPr>
        <p:spPr>
          <a:xfrm>
            <a:off x="442912" y="1125538"/>
            <a:ext cx="11306176" cy="4751387"/>
          </a:xfrm>
          <a:prstGeom prst="rect">
            <a:avLst/>
          </a:prstGeom>
        </p:spPr>
        <p:txBody>
          <a:bodyPr vert="horz" lIns="91440" tIns="45720" rIns="91440" bIns="45720" rtlCol="0">
            <a:normAutofit/>
          </a:bodyPr>
          <a:lstStyle>
            <a:lvl1pPr marL="0" indent="0">
              <a:buNone/>
              <a:defRPr lang="en-US" sz="1200" i="0" smtClean="0">
                <a:latin typeface="Ubuntu" panose="020B0504030602030204" pitchFamily="34" charset="0"/>
                <a:cs typeface="Calibri" panose="020F0502020204030204" pitchFamily="34" charset="0"/>
              </a:defRPr>
            </a:lvl1pPr>
          </a:lstStyle>
          <a:p>
            <a:pPr marL="281368" lvl="0" indent="-281368">
              <a:spcBef>
                <a:spcPts val="0"/>
              </a:spcBef>
            </a:pPr>
            <a:r>
              <a:rPr lang="en-US"/>
              <a:t>CUBEOUT chart to be placed here</a:t>
            </a:r>
          </a:p>
        </p:txBody>
      </p:sp>
      <p:sp>
        <p:nvSpPr>
          <p:cNvPr id="9" name="Text Placeholder 12">
            <a:extLst>
              <a:ext uri="{FF2B5EF4-FFF2-40B4-BE49-F238E27FC236}">
                <a16:creationId xmlns:a16="http://schemas.microsoft.com/office/drawing/2014/main" id="{88754198-D758-3A57-B6AC-BC6945A95B55}"/>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10" name="Title 9">
            <a:extLst>
              <a:ext uri="{FF2B5EF4-FFF2-40B4-BE49-F238E27FC236}">
                <a16:creationId xmlns:a16="http://schemas.microsoft.com/office/drawing/2014/main" id="{C820F6E6-4787-5B30-FC6D-E90A4EF8440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148997"/>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ight grey 1_text right">
    <p:spTree>
      <p:nvGrpSpPr>
        <p:cNvPr id="1" name=""/>
        <p:cNvGrpSpPr/>
        <p:nvPr/>
      </p:nvGrpSpPr>
      <p:grpSpPr>
        <a:xfrm>
          <a:off x="0" y="0"/>
          <a:ext cx="0" cy="0"/>
          <a:chOff x="0" y="0"/>
          <a:chExt cx="0" cy="0"/>
        </a:xfrm>
      </p:grpSpPr>
      <p:sp>
        <p:nvSpPr>
          <p:cNvPr id="2" name="Content Placeholder 7">
            <a:extLst>
              <a:ext uri="{FF2B5EF4-FFF2-40B4-BE49-F238E27FC236}">
                <a16:creationId xmlns:a16="http://schemas.microsoft.com/office/drawing/2014/main" id="{16C77508-74EA-169F-06E3-8EBB5CD8A532}"/>
              </a:ext>
            </a:extLst>
          </p:cNvPr>
          <p:cNvSpPr>
            <a:spLocks noGrp="1"/>
          </p:cNvSpPr>
          <p:nvPr>
            <p:ph sz="quarter" idx="11" hasCustomPrompt="1"/>
          </p:nvPr>
        </p:nvSpPr>
        <p:spPr>
          <a:xfrm>
            <a:off x="442912" y="1665288"/>
            <a:ext cx="8113077" cy="4211638"/>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6" name="Title 5">
            <a:extLst>
              <a:ext uri="{FF2B5EF4-FFF2-40B4-BE49-F238E27FC236}">
                <a16:creationId xmlns:a16="http://schemas.microsoft.com/office/drawing/2014/main" id="{D320BE97-46BB-FFDC-1BB8-E9DDDD62EBCD}"/>
              </a:ext>
            </a:extLst>
          </p:cNvPr>
          <p:cNvSpPr>
            <a:spLocks noGrp="1"/>
          </p:cNvSpPr>
          <p:nvPr>
            <p:ph type="title"/>
          </p:nvPr>
        </p:nvSpPr>
        <p:spPr/>
        <p:txBody>
          <a:bodyPr/>
          <a:lstStyle/>
          <a:p>
            <a:r>
              <a:rPr lang="en-US"/>
              <a:t>Click to edit Master title style</a:t>
            </a:r>
          </a:p>
        </p:txBody>
      </p:sp>
      <p:sp>
        <p:nvSpPr>
          <p:cNvPr id="7" name="Text Placeholder 12">
            <a:extLst>
              <a:ext uri="{FF2B5EF4-FFF2-40B4-BE49-F238E27FC236}">
                <a16:creationId xmlns:a16="http://schemas.microsoft.com/office/drawing/2014/main" id="{B8A22E37-3C14-A400-66E7-87AA7401D7C0}"/>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8" name="Text Placeholder 12">
            <a:extLst>
              <a:ext uri="{FF2B5EF4-FFF2-40B4-BE49-F238E27FC236}">
                <a16:creationId xmlns:a16="http://schemas.microsoft.com/office/drawing/2014/main" id="{164A3EE0-532A-95F4-B053-368E7DE0C0A5}"/>
              </a:ext>
            </a:extLst>
          </p:cNvPr>
          <p:cNvSpPr>
            <a:spLocks noGrp="1"/>
          </p:cNvSpPr>
          <p:nvPr>
            <p:ph type="body" sz="quarter" idx="39" hasCustomPrompt="1"/>
          </p:nvPr>
        </p:nvSpPr>
        <p:spPr>
          <a:xfrm>
            <a:off x="442912" y="1125537"/>
            <a:ext cx="11306175" cy="389812"/>
          </a:xfrm>
          <a:prstGeom prst="rect">
            <a:avLst/>
          </a:prstGeom>
          <a:solidFill>
            <a:schemeClr val="bg2"/>
          </a:solid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10" name="Text Placeholder 9">
            <a:extLst>
              <a:ext uri="{FF2B5EF4-FFF2-40B4-BE49-F238E27FC236}">
                <a16:creationId xmlns:a16="http://schemas.microsoft.com/office/drawing/2014/main" id="{3A1E2C0D-817D-6732-3D34-C1EBAE2B3043}"/>
              </a:ext>
            </a:extLst>
          </p:cNvPr>
          <p:cNvSpPr>
            <a:spLocks noGrp="1"/>
          </p:cNvSpPr>
          <p:nvPr>
            <p:ph type="body" sz="quarter" idx="40"/>
          </p:nvPr>
        </p:nvSpPr>
        <p:spPr>
          <a:xfrm>
            <a:off x="8832850" y="1665288"/>
            <a:ext cx="2916238" cy="4211637"/>
          </a:xfrm>
          <a:solidFill>
            <a:schemeClr val="bg2"/>
          </a:solidFill>
        </p:spPr>
        <p:txBody>
          <a:bodyPr rIns="180000"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42976291"/>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ight grey 2_subheader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320BE97-46BB-FFDC-1BB8-E9DDDD62EBCD}"/>
              </a:ext>
            </a:extLst>
          </p:cNvPr>
          <p:cNvSpPr>
            <a:spLocks noGrp="1"/>
          </p:cNvSpPr>
          <p:nvPr>
            <p:ph type="title"/>
          </p:nvPr>
        </p:nvSpPr>
        <p:spPr/>
        <p:txBody>
          <a:bodyPr/>
          <a:lstStyle/>
          <a:p>
            <a:r>
              <a:rPr lang="en-US"/>
              <a:t>Click to edit Master title style</a:t>
            </a:r>
          </a:p>
        </p:txBody>
      </p:sp>
      <p:sp>
        <p:nvSpPr>
          <p:cNvPr id="7" name="Text Placeholder 12">
            <a:extLst>
              <a:ext uri="{FF2B5EF4-FFF2-40B4-BE49-F238E27FC236}">
                <a16:creationId xmlns:a16="http://schemas.microsoft.com/office/drawing/2014/main" id="{B8A22E37-3C14-A400-66E7-87AA7401D7C0}"/>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8" name="Text Placeholder 12">
            <a:extLst>
              <a:ext uri="{FF2B5EF4-FFF2-40B4-BE49-F238E27FC236}">
                <a16:creationId xmlns:a16="http://schemas.microsoft.com/office/drawing/2014/main" id="{164A3EE0-532A-95F4-B053-368E7DE0C0A5}"/>
              </a:ext>
            </a:extLst>
          </p:cNvPr>
          <p:cNvSpPr>
            <a:spLocks noGrp="1"/>
          </p:cNvSpPr>
          <p:nvPr>
            <p:ph type="body" sz="quarter" idx="39" hasCustomPrompt="1"/>
          </p:nvPr>
        </p:nvSpPr>
        <p:spPr>
          <a:xfrm>
            <a:off x="442912" y="1125537"/>
            <a:ext cx="11306175" cy="389812"/>
          </a:xfrm>
          <a:prstGeom prst="rect">
            <a:avLst/>
          </a:prstGeom>
          <a:solidFill>
            <a:schemeClr val="bg2"/>
          </a:solid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Tree>
    <p:extLst>
      <p:ext uri="{BB962C8B-B14F-4D97-AF65-F5344CB8AC3E}">
        <p14:creationId xmlns:p14="http://schemas.microsoft.com/office/powerpoint/2010/main" val="358807731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ight grey 3_text bottom">
    <p:spTree>
      <p:nvGrpSpPr>
        <p:cNvPr id="1" name=""/>
        <p:cNvGrpSpPr/>
        <p:nvPr/>
      </p:nvGrpSpPr>
      <p:grpSpPr>
        <a:xfrm>
          <a:off x="0" y="0"/>
          <a:ext cx="0" cy="0"/>
          <a:chOff x="0" y="0"/>
          <a:chExt cx="0" cy="0"/>
        </a:xfrm>
      </p:grpSpPr>
      <p:sp>
        <p:nvSpPr>
          <p:cNvPr id="23" name="Content Placeholder 7">
            <a:extLst>
              <a:ext uri="{FF2B5EF4-FFF2-40B4-BE49-F238E27FC236}">
                <a16:creationId xmlns:a16="http://schemas.microsoft.com/office/drawing/2014/main" id="{3A625853-F133-42D4-9ED4-B8929A2AB7E5}"/>
              </a:ext>
            </a:extLst>
          </p:cNvPr>
          <p:cNvSpPr>
            <a:spLocks noGrp="1"/>
          </p:cNvSpPr>
          <p:nvPr>
            <p:ph sz="quarter" idx="11" hasCustomPrompt="1"/>
          </p:nvPr>
        </p:nvSpPr>
        <p:spPr>
          <a:xfrm>
            <a:off x="442911" y="1665288"/>
            <a:ext cx="11306177"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2" name="Title 1">
            <a:extLst>
              <a:ext uri="{FF2B5EF4-FFF2-40B4-BE49-F238E27FC236}">
                <a16:creationId xmlns:a16="http://schemas.microsoft.com/office/drawing/2014/main" id="{587BF979-557A-AC54-8EED-E4F0528BE451}"/>
              </a:ext>
            </a:extLst>
          </p:cNvPr>
          <p:cNvSpPr>
            <a:spLocks noGrp="1"/>
          </p:cNvSpPr>
          <p:nvPr>
            <p:ph type="title"/>
          </p:nvPr>
        </p:nvSpPr>
        <p:spPr/>
        <p:txBody>
          <a:bodyPr/>
          <a:lstStyle/>
          <a:p>
            <a:r>
              <a:rPr lang="en-US"/>
              <a:t>Click to edit Master title style</a:t>
            </a:r>
          </a:p>
        </p:txBody>
      </p:sp>
      <p:sp>
        <p:nvSpPr>
          <p:cNvPr id="6" name="Text Placeholder 12">
            <a:extLst>
              <a:ext uri="{FF2B5EF4-FFF2-40B4-BE49-F238E27FC236}">
                <a16:creationId xmlns:a16="http://schemas.microsoft.com/office/drawing/2014/main" id="{70B52B18-19AD-6E88-EA87-2728CD762852}"/>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7" name="Text Placeholder 12">
            <a:extLst>
              <a:ext uri="{FF2B5EF4-FFF2-40B4-BE49-F238E27FC236}">
                <a16:creationId xmlns:a16="http://schemas.microsoft.com/office/drawing/2014/main" id="{BCDB814C-35CE-FD98-CB83-19715DBD2914}"/>
              </a:ext>
            </a:extLst>
          </p:cNvPr>
          <p:cNvSpPr>
            <a:spLocks noGrp="1"/>
          </p:cNvSpPr>
          <p:nvPr>
            <p:ph type="body" sz="quarter" idx="39" hasCustomPrompt="1"/>
          </p:nvPr>
        </p:nvSpPr>
        <p:spPr>
          <a:xfrm>
            <a:off x="442912" y="1125537"/>
            <a:ext cx="11306176" cy="389812"/>
          </a:xfrm>
          <a:prstGeom prst="rect">
            <a:avLst/>
          </a:prstGeom>
          <a:solidFill>
            <a:schemeClr val="bg2"/>
          </a:solid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8" name="Text Placeholder 9">
            <a:extLst>
              <a:ext uri="{FF2B5EF4-FFF2-40B4-BE49-F238E27FC236}">
                <a16:creationId xmlns:a16="http://schemas.microsoft.com/office/drawing/2014/main" id="{64E0658C-2D9F-E87D-E6AC-DD364463298A}"/>
              </a:ext>
            </a:extLst>
          </p:cNvPr>
          <p:cNvSpPr>
            <a:spLocks noGrp="1"/>
          </p:cNvSpPr>
          <p:nvPr>
            <p:ph type="body" sz="quarter" idx="40"/>
          </p:nvPr>
        </p:nvSpPr>
        <p:spPr>
          <a:xfrm>
            <a:off x="442912" y="4788815"/>
            <a:ext cx="11306175"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68181483"/>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ight grey 4_two chart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BF979-557A-AC54-8EED-E4F0528BE451}"/>
              </a:ext>
            </a:extLst>
          </p:cNvPr>
          <p:cNvSpPr>
            <a:spLocks noGrp="1"/>
          </p:cNvSpPr>
          <p:nvPr>
            <p:ph type="title"/>
          </p:nvPr>
        </p:nvSpPr>
        <p:spPr/>
        <p:txBody>
          <a:bodyPr/>
          <a:lstStyle/>
          <a:p>
            <a:r>
              <a:rPr lang="en-US"/>
              <a:t>Click to edit Master title style</a:t>
            </a:r>
          </a:p>
        </p:txBody>
      </p:sp>
      <p:sp>
        <p:nvSpPr>
          <p:cNvPr id="6" name="Text Placeholder 12">
            <a:extLst>
              <a:ext uri="{FF2B5EF4-FFF2-40B4-BE49-F238E27FC236}">
                <a16:creationId xmlns:a16="http://schemas.microsoft.com/office/drawing/2014/main" id="{70B52B18-19AD-6E88-EA87-2728CD762852}"/>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7" name="Text Placeholder 12">
            <a:extLst>
              <a:ext uri="{FF2B5EF4-FFF2-40B4-BE49-F238E27FC236}">
                <a16:creationId xmlns:a16="http://schemas.microsoft.com/office/drawing/2014/main" id="{BCDB814C-35CE-FD98-CB83-19715DBD2914}"/>
              </a:ext>
            </a:extLst>
          </p:cNvPr>
          <p:cNvSpPr>
            <a:spLocks noGrp="1"/>
          </p:cNvSpPr>
          <p:nvPr>
            <p:ph type="body" sz="quarter" idx="39" hasCustomPrompt="1"/>
          </p:nvPr>
        </p:nvSpPr>
        <p:spPr>
          <a:xfrm>
            <a:off x="442911" y="1125537"/>
            <a:ext cx="5509090" cy="389812"/>
          </a:xfrm>
          <a:prstGeom prst="rect">
            <a:avLst/>
          </a:prstGeom>
          <a:solidFill>
            <a:schemeClr val="bg2"/>
          </a:solid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8" name="Text Placeholder 12">
            <a:extLst>
              <a:ext uri="{FF2B5EF4-FFF2-40B4-BE49-F238E27FC236}">
                <a16:creationId xmlns:a16="http://schemas.microsoft.com/office/drawing/2014/main" id="{38FFE35F-E930-F1D1-4666-894B64EFF4FA}"/>
              </a:ext>
            </a:extLst>
          </p:cNvPr>
          <p:cNvSpPr>
            <a:spLocks noGrp="1"/>
          </p:cNvSpPr>
          <p:nvPr>
            <p:ph type="body" sz="quarter" idx="44" hasCustomPrompt="1"/>
          </p:nvPr>
        </p:nvSpPr>
        <p:spPr>
          <a:xfrm>
            <a:off x="6239699" y="1125537"/>
            <a:ext cx="5509088" cy="389812"/>
          </a:xfrm>
          <a:prstGeom prst="rect">
            <a:avLst/>
          </a:prstGeom>
          <a:solidFill>
            <a:schemeClr val="bg2"/>
          </a:solid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9" name="Content Placeholder 7">
            <a:extLst>
              <a:ext uri="{FF2B5EF4-FFF2-40B4-BE49-F238E27FC236}">
                <a16:creationId xmlns:a16="http://schemas.microsoft.com/office/drawing/2014/main" id="{2A1FC6B0-B6F6-DDE1-0C09-579481B278E7}"/>
              </a:ext>
            </a:extLst>
          </p:cNvPr>
          <p:cNvSpPr>
            <a:spLocks noGrp="1"/>
          </p:cNvSpPr>
          <p:nvPr>
            <p:ph sz="quarter" idx="11" hasCustomPrompt="1"/>
          </p:nvPr>
        </p:nvSpPr>
        <p:spPr>
          <a:xfrm>
            <a:off x="442912" y="1665288"/>
            <a:ext cx="5509090"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11" name="Content Placeholder 7">
            <a:extLst>
              <a:ext uri="{FF2B5EF4-FFF2-40B4-BE49-F238E27FC236}">
                <a16:creationId xmlns:a16="http://schemas.microsoft.com/office/drawing/2014/main" id="{7ECB97D4-0FCA-E41D-F61D-AA2ABED8BB39}"/>
              </a:ext>
            </a:extLst>
          </p:cNvPr>
          <p:cNvSpPr>
            <a:spLocks noGrp="1"/>
          </p:cNvSpPr>
          <p:nvPr>
            <p:ph sz="quarter" idx="45" hasCustomPrompt="1"/>
          </p:nvPr>
        </p:nvSpPr>
        <p:spPr>
          <a:xfrm>
            <a:off x="6239998" y="1665288"/>
            <a:ext cx="5509090"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4" name="Text Placeholder 9">
            <a:extLst>
              <a:ext uri="{FF2B5EF4-FFF2-40B4-BE49-F238E27FC236}">
                <a16:creationId xmlns:a16="http://schemas.microsoft.com/office/drawing/2014/main" id="{FBDE3E63-CDEE-16AC-56E2-CAC95CB4F594}"/>
              </a:ext>
            </a:extLst>
          </p:cNvPr>
          <p:cNvSpPr>
            <a:spLocks noGrp="1"/>
          </p:cNvSpPr>
          <p:nvPr>
            <p:ph type="body" sz="quarter" idx="40"/>
          </p:nvPr>
        </p:nvSpPr>
        <p:spPr>
          <a:xfrm>
            <a:off x="442912" y="4788815"/>
            <a:ext cx="5509089"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9">
            <a:extLst>
              <a:ext uri="{FF2B5EF4-FFF2-40B4-BE49-F238E27FC236}">
                <a16:creationId xmlns:a16="http://schemas.microsoft.com/office/drawing/2014/main" id="{835B0542-4823-0BEE-3916-80B781FBE993}"/>
              </a:ext>
            </a:extLst>
          </p:cNvPr>
          <p:cNvSpPr>
            <a:spLocks noGrp="1"/>
          </p:cNvSpPr>
          <p:nvPr>
            <p:ph type="body" sz="quarter" idx="46"/>
          </p:nvPr>
        </p:nvSpPr>
        <p:spPr>
          <a:xfrm>
            <a:off x="6239999" y="4788815"/>
            <a:ext cx="5509089"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013773"/>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ight grey 5_two charts horizont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BF979-557A-AC54-8EED-E4F0528BE451}"/>
              </a:ext>
            </a:extLst>
          </p:cNvPr>
          <p:cNvSpPr>
            <a:spLocks noGrp="1"/>
          </p:cNvSpPr>
          <p:nvPr>
            <p:ph type="title"/>
          </p:nvPr>
        </p:nvSpPr>
        <p:spPr/>
        <p:txBody>
          <a:bodyPr/>
          <a:lstStyle/>
          <a:p>
            <a:r>
              <a:rPr lang="en-US"/>
              <a:t>Click to edit Master title style</a:t>
            </a:r>
          </a:p>
        </p:txBody>
      </p:sp>
      <p:sp>
        <p:nvSpPr>
          <p:cNvPr id="6" name="Text Placeholder 12">
            <a:extLst>
              <a:ext uri="{FF2B5EF4-FFF2-40B4-BE49-F238E27FC236}">
                <a16:creationId xmlns:a16="http://schemas.microsoft.com/office/drawing/2014/main" id="{70B52B18-19AD-6E88-EA87-2728CD762852}"/>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7" name="Text Placeholder 12">
            <a:extLst>
              <a:ext uri="{FF2B5EF4-FFF2-40B4-BE49-F238E27FC236}">
                <a16:creationId xmlns:a16="http://schemas.microsoft.com/office/drawing/2014/main" id="{BCDB814C-35CE-FD98-CB83-19715DBD2914}"/>
              </a:ext>
            </a:extLst>
          </p:cNvPr>
          <p:cNvSpPr>
            <a:spLocks noGrp="1"/>
          </p:cNvSpPr>
          <p:nvPr>
            <p:ph type="body" sz="quarter" idx="39" hasCustomPrompt="1"/>
          </p:nvPr>
        </p:nvSpPr>
        <p:spPr>
          <a:xfrm>
            <a:off x="442912" y="1125537"/>
            <a:ext cx="11306176" cy="389812"/>
          </a:xfrm>
          <a:prstGeom prst="rect">
            <a:avLst/>
          </a:prstGeom>
          <a:solidFill>
            <a:schemeClr val="bg2"/>
          </a:solid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3" name="Content Placeholder 7">
            <a:extLst>
              <a:ext uri="{FF2B5EF4-FFF2-40B4-BE49-F238E27FC236}">
                <a16:creationId xmlns:a16="http://schemas.microsoft.com/office/drawing/2014/main" id="{B16887CC-DE12-5B62-82FF-138CD1796C59}"/>
              </a:ext>
            </a:extLst>
          </p:cNvPr>
          <p:cNvSpPr>
            <a:spLocks noGrp="1"/>
          </p:cNvSpPr>
          <p:nvPr>
            <p:ph sz="quarter" idx="11" hasCustomPrompt="1"/>
          </p:nvPr>
        </p:nvSpPr>
        <p:spPr>
          <a:xfrm>
            <a:off x="442912" y="1665288"/>
            <a:ext cx="8113077" cy="176371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4" name="Text Placeholder 12">
            <a:extLst>
              <a:ext uri="{FF2B5EF4-FFF2-40B4-BE49-F238E27FC236}">
                <a16:creationId xmlns:a16="http://schemas.microsoft.com/office/drawing/2014/main" id="{937B392C-959D-5B10-4F12-AFBD48CDABAB}"/>
              </a:ext>
            </a:extLst>
          </p:cNvPr>
          <p:cNvSpPr>
            <a:spLocks noGrp="1"/>
          </p:cNvSpPr>
          <p:nvPr>
            <p:ph type="body" sz="quarter" idx="42" hasCustomPrompt="1"/>
          </p:nvPr>
        </p:nvSpPr>
        <p:spPr>
          <a:xfrm>
            <a:off x="442912" y="3572482"/>
            <a:ext cx="11306176" cy="389812"/>
          </a:xfrm>
          <a:prstGeom prst="rect">
            <a:avLst/>
          </a:prstGeom>
          <a:solidFill>
            <a:schemeClr val="bg2"/>
          </a:solid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11" name="Content Placeholder 7">
            <a:extLst>
              <a:ext uri="{FF2B5EF4-FFF2-40B4-BE49-F238E27FC236}">
                <a16:creationId xmlns:a16="http://schemas.microsoft.com/office/drawing/2014/main" id="{8E419A39-F597-FE23-645B-3002DE555690}"/>
              </a:ext>
            </a:extLst>
          </p:cNvPr>
          <p:cNvSpPr>
            <a:spLocks noGrp="1"/>
          </p:cNvSpPr>
          <p:nvPr>
            <p:ph sz="quarter" idx="43" hasCustomPrompt="1"/>
          </p:nvPr>
        </p:nvSpPr>
        <p:spPr>
          <a:xfrm>
            <a:off x="442912" y="4112233"/>
            <a:ext cx="8113077" cy="176371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9" name="Text Placeholder 9">
            <a:extLst>
              <a:ext uri="{FF2B5EF4-FFF2-40B4-BE49-F238E27FC236}">
                <a16:creationId xmlns:a16="http://schemas.microsoft.com/office/drawing/2014/main" id="{6349C91C-A8DF-8E71-2EA4-CF9BE6C33D12}"/>
              </a:ext>
            </a:extLst>
          </p:cNvPr>
          <p:cNvSpPr>
            <a:spLocks noGrp="1"/>
          </p:cNvSpPr>
          <p:nvPr>
            <p:ph type="body" sz="quarter" idx="40"/>
          </p:nvPr>
        </p:nvSpPr>
        <p:spPr>
          <a:xfrm>
            <a:off x="8832850" y="1665289"/>
            <a:ext cx="2916238" cy="1763712"/>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41335CEB-B966-B1BA-15F6-14C5FD656B8E}"/>
              </a:ext>
            </a:extLst>
          </p:cNvPr>
          <p:cNvSpPr>
            <a:spLocks noGrp="1"/>
          </p:cNvSpPr>
          <p:nvPr>
            <p:ph type="body" sz="quarter" idx="44"/>
          </p:nvPr>
        </p:nvSpPr>
        <p:spPr>
          <a:xfrm>
            <a:off x="8832850" y="4113213"/>
            <a:ext cx="2916238" cy="1763712"/>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8342019"/>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Front page w/ client logo">
    <p:bg>
      <p:bgRef idx="1001">
        <a:schemeClr val="bg1"/>
      </p:bgRef>
    </p:bg>
    <p:spTree>
      <p:nvGrpSpPr>
        <p:cNvPr id="1" name=""/>
        <p:cNvGrpSpPr/>
        <p:nvPr/>
      </p:nvGrpSpPr>
      <p:grpSpPr>
        <a:xfrm>
          <a:off x="0" y="0"/>
          <a:ext cx="0" cy="0"/>
          <a:chOff x="0" y="0"/>
          <a:chExt cx="0" cy="0"/>
        </a:xfrm>
      </p:grpSpPr>
      <p:sp>
        <p:nvSpPr>
          <p:cNvPr id="5" name="cover_dark_blue">
            <a:extLst>
              <a:ext uri="{FF2B5EF4-FFF2-40B4-BE49-F238E27FC236}">
                <a16:creationId xmlns:a16="http://schemas.microsoft.com/office/drawing/2014/main" id="{02826081-EC1F-744B-4E7D-A0FA93A41B6F}"/>
              </a:ext>
            </a:extLst>
          </p:cNvPr>
          <p:cNvSpPr>
            <a:spLocks/>
          </p:cNvSpPr>
          <p:nvPr/>
        </p:nvSpPr>
        <p:spPr>
          <a:xfrm>
            <a:off x="0" y="0"/>
            <a:ext cx="12192000" cy="6858000"/>
          </a:xfrm>
          <a:prstGeom prst="rect">
            <a:avLst/>
          </a:prstGeom>
          <a:gradFill flip="none" rotWithShape="1">
            <a:gsLst>
              <a:gs pos="62000">
                <a:srgbClr val="1A2C58"/>
              </a:gs>
              <a:gs pos="0">
                <a:srgbClr val="03132B"/>
              </a:gs>
            </a:gsLst>
            <a:lin ang="13500000" scaled="1"/>
            <a:tileRect/>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accent6"/>
              </a:solidFill>
              <a:latin typeface="Ubuntu" panose="020B0504030602030204" pitchFamily="34" charset="0"/>
            </a:endParaRPr>
          </a:p>
        </p:txBody>
      </p:sp>
      <p:pic>
        <p:nvPicPr>
          <p:cNvPr id="6" name="Graphic 5">
            <a:extLst>
              <a:ext uri="{FF2B5EF4-FFF2-40B4-BE49-F238E27FC236}">
                <a16:creationId xmlns:a16="http://schemas.microsoft.com/office/drawing/2014/main" id="{EBB2F791-2B72-FDDD-52E1-20364AB52E9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pic>
        <p:nvPicPr>
          <p:cNvPr id="21" name="Graphic 20">
            <a:extLst>
              <a:ext uri="{FF2B5EF4-FFF2-40B4-BE49-F238E27FC236}">
                <a16:creationId xmlns:a16="http://schemas.microsoft.com/office/drawing/2014/main" id="{8971EE90-7381-DF80-CAAA-C606C91E90A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11" name="cover_orange" hidden="1">
            <a:extLst>
              <a:ext uri="{FF2B5EF4-FFF2-40B4-BE49-F238E27FC236}">
                <a16:creationId xmlns:a16="http://schemas.microsoft.com/office/drawing/2014/main" id="{DCC0C175-F2A0-AD68-7083-EEB86A5E6F20}"/>
              </a:ext>
            </a:extLst>
          </p:cNvPr>
          <p:cNvSpPr/>
          <p:nvPr/>
        </p:nvSpPr>
        <p:spPr>
          <a:xfrm>
            <a:off x="0" y="0"/>
            <a:ext cx="12192000" cy="6858000"/>
          </a:xfrm>
          <a:prstGeom prst="rect">
            <a:avLst/>
          </a:prstGeom>
          <a:gradFill flip="none" rotWithShape="1">
            <a:gsLst>
              <a:gs pos="0">
                <a:srgbClr val="E58843"/>
              </a:gs>
              <a:gs pos="23000">
                <a:srgbClr val="93603F"/>
              </a:gs>
              <a:gs pos="58000">
                <a:srgbClr val="041938"/>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2" name="cover_blue" hidden="1">
            <a:extLst>
              <a:ext uri="{FF2B5EF4-FFF2-40B4-BE49-F238E27FC236}">
                <a16:creationId xmlns:a16="http://schemas.microsoft.com/office/drawing/2014/main" id="{4C332827-3028-710A-50B7-5467D25700A9}"/>
              </a:ext>
            </a:extLst>
          </p:cNvPr>
          <p:cNvSpPr/>
          <p:nvPr/>
        </p:nvSpPr>
        <p:spPr>
          <a:xfrm>
            <a:off x="0" y="0"/>
            <a:ext cx="12192000" cy="6858000"/>
          </a:xfrm>
          <a:prstGeom prst="rect">
            <a:avLst/>
          </a:prstGeom>
          <a:gradFill flip="none" rotWithShape="1">
            <a:gsLst>
              <a:gs pos="23000">
                <a:srgbClr val="497E9E"/>
              </a:gs>
              <a:gs pos="0">
                <a:srgbClr val="67AACB"/>
              </a:gs>
              <a:gs pos="58000">
                <a:srgbClr val="041938"/>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pic>
        <p:nvPicPr>
          <p:cNvPr id="19" name="Graphic 18">
            <a:extLst>
              <a:ext uri="{FF2B5EF4-FFF2-40B4-BE49-F238E27FC236}">
                <a16:creationId xmlns:a16="http://schemas.microsoft.com/office/drawing/2014/main" id="{C333D705-F469-D7E2-B713-BC979CFBF513}"/>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9253"/>
          <a:stretch/>
        </p:blipFill>
        <p:spPr>
          <a:xfrm>
            <a:off x="7828573" y="2902269"/>
            <a:ext cx="4310244" cy="3955731"/>
          </a:xfrm>
          <a:prstGeom prst="rect">
            <a:avLst/>
          </a:prstGeom>
        </p:spPr>
      </p:pic>
      <p:sp>
        <p:nvSpPr>
          <p:cNvPr id="9" name="cover_green" hidden="1">
            <a:extLst>
              <a:ext uri="{FF2B5EF4-FFF2-40B4-BE49-F238E27FC236}">
                <a16:creationId xmlns:a16="http://schemas.microsoft.com/office/drawing/2014/main" id="{E86AEC8B-8467-8511-1D2E-03122177C329}"/>
              </a:ext>
            </a:extLst>
          </p:cNvPr>
          <p:cNvSpPr/>
          <p:nvPr/>
        </p:nvSpPr>
        <p:spPr>
          <a:xfrm>
            <a:off x="0" y="0"/>
            <a:ext cx="12192000" cy="6858000"/>
          </a:xfrm>
          <a:prstGeom prst="rect">
            <a:avLst/>
          </a:prstGeom>
          <a:gradFill flip="none" rotWithShape="1">
            <a:gsLst>
              <a:gs pos="23000">
                <a:srgbClr val="748367"/>
              </a:gs>
              <a:gs pos="0">
                <a:srgbClr val="DCE692"/>
              </a:gs>
              <a:gs pos="58000">
                <a:srgbClr val="041938"/>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25" name="Title 1">
            <a:extLst>
              <a:ext uri="{FF2B5EF4-FFF2-40B4-BE49-F238E27FC236}">
                <a16:creationId xmlns:a16="http://schemas.microsoft.com/office/drawing/2014/main" id="{896689C1-E7A9-4DFC-A32E-FE74168165BB}"/>
              </a:ext>
            </a:extLst>
          </p:cNvPr>
          <p:cNvSpPr>
            <a:spLocks noGrp="1"/>
          </p:cNvSpPr>
          <p:nvPr>
            <p:ph type="ctrTitle" hasCustomPrompt="1"/>
          </p:nvPr>
        </p:nvSpPr>
        <p:spPr>
          <a:xfrm>
            <a:off x="552244" y="1093632"/>
            <a:ext cx="11046276" cy="2335373"/>
          </a:xfrm>
          <a:prstGeom prst="rect">
            <a:avLst/>
          </a:prstGeom>
        </p:spPr>
        <p:txBody>
          <a:bodyPr anchor="b">
            <a:normAutofit/>
          </a:bodyPr>
          <a:lstStyle>
            <a:lvl1pPr algn="l">
              <a:defRPr sz="6000">
                <a:solidFill>
                  <a:schemeClr val="bg1"/>
                </a:solidFill>
                <a:latin typeface="Ubuntu" panose="020B0504030602030204" pitchFamily="34" charset="0"/>
                <a:cs typeface="Calibri Light" panose="020F0302020204030204" pitchFamily="34" charset="0"/>
              </a:defRPr>
            </a:lvl1pPr>
          </a:lstStyle>
          <a:p>
            <a:r>
              <a:rPr lang="en-US"/>
              <a:t>Click to Edit Report Title</a:t>
            </a:r>
          </a:p>
        </p:txBody>
      </p:sp>
      <p:sp>
        <p:nvSpPr>
          <p:cNvPr id="26" name="Subtitle 2">
            <a:extLst>
              <a:ext uri="{FF2B5EF4-FFF2-40B4-BE49-F238E27FC236}">
                <a16:creationId xmlns:a16="http://schemas.microsoft.com/office/drawing/2014/main" id="{F03857F0-C570-4C45-9543-8E15849E8BE4}"/>
              </a:ext>
            </a:extLst>
          </p:cNvPr>
          <p:cNvSpPr>
            <a:spLocks noGrp="1"/>
          </p:cNvSpPr>
          <p:nvPr>
            <p:ph type="subTitle" idx="1" hasCustomPrompt="1"/>
          </p:nvPr>
        </p:nvSpPr>
        <p:spPr>
          <a:xfrm>
            <a:off x="552244" y="3359049"/>
            <a:ext cx="11046276" cy="350162"/>
          </a:xfrm>
          <a:prstGeom prst="rect">
            <a:avLst/>
          </a:prstGeom>
        </p:spPr>
        <p:txBody>
          <a:bodyPr>
            <a:noAutofit/>
          </a:bodyPr>
          <a:lstStyle>
            <a:lvl1pPr marL="0" indent="0" algn="l">
              <a:buNone/>
              <a:defRPr sz="3000" b="0">
                <a:solidFill>
                  <a:srgbClr val="DC8E63"/>
                </a:solidFill>
                <a:latin typeface="Ubuntu" panose="020B0504030602030204" pitchFamily="34" charset="0"/>
                <a:cs typeface="Calibri Light" panose="020F0302020204030204" pitchFamily="34" charset="0"/>
              </a:defRPr>
            </a:lvl1pPr>
            <a:lvl2pPr marL="422051" indent="0" algn="ctr">
              <a:buNone/>
              <a:defRPr sz="1846"/>
            </a:lvl2pPr>
            <a:lvl3pPr marL="844104" indent="0" algn="ctr">
              <a:buNone/>
              <a:defRPr sz="1662"/>
            </a:lvl3pPr>
            <a:lvl4pPr marL="1266156" indent="0" algn="ctr">
              <a:buNone/>
              <a:defRPr sz="1477"/>
            </a:lvl4pPr>
            <a:lvl5pPr marL="1688207" indent="0" algn="ctr">
              <a:buNone/>
              <a:defRPr sz="1477"/>
            </a:lvl5pPr>
            <a:lvl6pPr marL="2110260" indent="0" algn="ctr">
              <a:buNone/>
              <a:defRPr sz="1477"/>
            </a:lvl6pPr>
            <a:lvl7pPr marL="2532312" indent="0" algn="ctr">
              <a:buNone/>
              <a:defRPr sz="1477"/>
            </a:lvl7pPr>
            <a:lvl8pPr marL="2954363" indent="0" algn="ctr">
              <a:buNone/>
              <a:defRPr sz="1477"/>
            </a:lvl8pPr>
            <a:lvl9pPr marL="3376415" indent="0" algn="ctr">
              <a:buNone/>
              <a:defRPr sz="1477"/>
            </a:lvl9pPr>
          </a:lstStyle>
          <a:p>
            <a:r>
              <a:rPr lang="en-US"/>
              <a:t>Click to edit Edition</a:t>
            </a:r>
          </a:p>
        </p:txBody>
      </p:sp>
      <p:sp>
        <p:nvSpPr>
          <p:cNvPr id="27" name="Text Placeholder 11">
            <a:extLst>
              <a:ext uri="{FF2B5EF4-FFF2-40B4-BE49-F238E27FC236}">
                <a16:creationId xmlns:a16="http://schemas.microsoft.com/office/drawing/2014/main" id="{16EA4C8E-A0B0-4C66-A696-815EF3CFC32C}"/>
              </a:ext>
            </a:extLst>
          </p:cNvPr>
          <p:cNvSpPr>
            <a:spLocks noGrp="1"/>
          </p:cNvSpPr>
          <p:nvPr>
            <p:ph type="body" sz="quarter" idx="10" hasCustomPrompt="1"/>
          </p:nvPr>
        </p:nvSpPr>
        <p:spPr>
          <a:xfrm>
            <a:off x="598358" y="5764373"/>
            <a:ext cx="6502400" cy="252344"/>
          </a:xfrm>
          <a:prstGeom prst="rect">
            <a:avLst/>
          </a:prstGeom>
        </p:spPr>
        <p:txBody>
          <a:bodyPr>
            <a:noAutofit/>
          </a:bodyPr>
          <a:lstStyle>
            <a:lvl1pPr marL="0" indent="0">
              <a:buNone/>
              <a:defRPr sz="1800" b="1">
                <a:solidFill>
                  <a:srgbClr val="DC8E63"/>
                </a:solidFill>
                <a:latin typeface="Ubuntu" panose="020B0504030602030204" pitchFamily="34" charset="0"/>
                <a:cs typeface="Calibri" panose="020F0502020204030204" pitchFamily="34" charset="0"/>
              </a:defRPr>
            </a:lvl1pPr>
          </a:lstStyle>
          <a:p>
            <a:pPr lvl="0"/>
            <a:r>
              <a:rPr lang="en-US"/>
              <a:t>Click to Edit Product Group</a:t>
            </a:r>
          </a:p>
        </p:txBody>
      </p:sp>
      <p:sp>
        <p:nvSpPr>
          <p:cNvPr id="28" name="Text Placeholder 11">
            <a:extLst>
              <a:ext uri="{FF2B5EF4-FFF2-40B4-BE49-F238E27FC236}">
                <a16:creationId xmlns:a16="http://schemas.microsoft.com/office/drawing/2014/main" id="{3014D09D-A936-4A9F-9A8E-397483710552}"/>
              </a:ext>
            </a:extLst>
          </p:cNvPr>
          <p:cNvSpPr>
            <a:spLocks noGrp="1"/>
          </p:cNvSpPr>
          <p:nvPr>
            <p:ph type="body" sz="quarter" idx="12" hasCustomPrompt="1"/>
          </p:nvPr>
        </p:nvSpPr>
        <p:spPr>
          <a:xfrm>
            <a:off x="598358" y="6016717"/>
            <a:ext cx="6502400" cy="349250"/>
          </a:xfrm>
          <a:prstGeom prst="rect">
            <a:avLst/>
          </a:prstGeom>
        </p:spPr>
        <p:txBody>
          <a:bodyPr>
            <a:normAutofit/>
          </a:bodyPr>
          <a:lstStyle>
            <a:lvl1pPr marL="0" indent="0">
              <a:buNone/>
              <a:defRPr sz="1400" b="0">
                <a:solidFill>
                  <a:schemeClr val="bg1"/>
                </a:solidFill>
                <a:latin typeface="Ubuntu" panose="020B0504030602030204" pitchFamily="34" charset="0"/>
                <a:cs typeface="Calibri" panose="020F0502020204030204" pitchFamily="34" charset="0"/>
              </a:defRPr>
            </a:lvl1pPr>
          </a:lstStyle>
          <a:p>
            <a:pPr lvl="0"/>
            <a:r>
              <a:rPr lang="en-US"/>
              <a:t>Click to Edit Date</a:t>
            </a:r>
          </a:p>
        </p:txBody>
      </p:sp>
      <p:sp>
        <p:nvSpPr>
          <p:cNvPr id="8" name="Picture Placeholder 4">
            <a:extLst>
              <a:ext uri="{FF2B5EF4-FFF2-40B4-BE49-F238E27FC236}">
                <a16:creationId xmlns:a16="http://schemas.microsoft.com/office/drawing/2014/main" id="{BBC1068A-F6C1-1C37-1EC7-159DF730DAFA}"/>
              </a:ext>
            </a:extLst>
          </p:cNvPr>
          <p:cNvSpPr>
            <a:spLocks noGrp="1"/>
          </p:cNvSpPr>
          <p:nvPr>
            <p:ph type="pic" sz="quarter" idx="14" hasCustomPrompt="1"/>
          </p:nvPr>
        </p:nvSpPr>
        <p:spPr>
          <a:xfrm>
            <a:off x="9666941" y="4689351"/>
            <a:ext cx="1080000" cy="1080000"/>
          </a:xfrm>
          <a:prstGeom prst="rect">
            <a:avLst/>
          </a:prstGeom>
        </p:spPr>
        <p:txBody>
          <a:bodyPr>
            <a:normAutofit/>
          </a:bodyPr>
          <a:lstStyle>
            <a:lvl1pPr>
              <a:defRPr sz="1500"/>
            </a:lvl1pPr>
          </a:lstStyle>
          <a:p>
            <a:r>
              <a:rPr lang="en-US"/>
              <a:t>Placeholder for client logo</a:t>
            </a:r>
            <a:endParaRPr lang="en-GB"/>
          </a:p>
        </p:txBody>
      </p:sp>
      <p:sp>
        <p:nvSpPr>
          <p:cNvPr id="29" name="Text Placeholder 4">
            <a:extLst>
              <a:ext uri="{FF2B5EF4-FFF2-40B4-BE49-F238E27FC236}">
                <a16:creationId xmlns:a16="http://schemas.microsoft.com/office/drawing/2014/main" id="{00FDF6E3-F93B-4EF3-971E-FF35FD95E179}"/>
              </a:ext>
            </a:extLst>
          </p:cNvPr>
          <p:cNvSpPr>
            <a:spLocks noGrp="1"/>
          </p:cNvSpPr>
          <p:nvPr>
            <p:ph type="body" sz="quarter" idx="13" hasCustomPrompt="1"/>
          </p:nvPr>
        </p:nvSpPr>
        <p:spPr>
          <a:xfrm>
            <a:off x="550459" y="4286095"/>
            <a:ext cx="11048059" cy="674687"/>
          </a:xfrm>
          <a:prstGeom prst="rect">
            <a:avLst/>
          </a:prstGeom>
        </p:spPr>
        <p:txBody>
          <a:bodyPr/>
          <a:lstStyle>
            <a:lvl1pPr marL="0" indent="0">
              <a:buNone/>
              <a:defRPr sz="2000">
                <a:solidFill>
                  <a:schemeClr val="bg1"/>
                </a:solidFill>
                <a:latin typeface="Ubuntu" panose="020B0504030602030204" pitchFamily="34" charset="0"/>
                <a:cs typeface="Calibri" panose="020F0502020204030204" pitchFamily="34" charset="0"/>
              </a:defRPr>
            </a:lvl1pPr>
          </a:lstStyle>
          <a:p>
            <a:pPr lvl="0"/>
            <a:r>
              <a:rPr lang="en-US"/>
              <a:t>Click to edit Sub-Head Text</a:t>
            </a:r>
          </a:p>
        </p:txBody>
      </p:sp>
      <p:pic>
        <p:nvPicPr>
          <p:cNvPr id="7" name="Graphic 6">
            <a:extLst>
              <a:ext uri="{FF2B5EF4-FFF2-40B4-BE49-F238E27FC236}">
                <a16:creationId xmlns:a16="http://schemas.microsoft.com/office/drawing/2014/main" id="{37A52DAE-DAC4-48DD-7A24-5F1546A3C24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60219" y="267272"/>
            <a:ext cx="2657064" cy="667944"/>
          </a:xfrm>
          <a:prstGeom prst="rect">
            <a:avLst/>
          </a:prstGeom>
        </p:spPr>
      </p:pic>
    </p:spTree>
    <p:extLst>
      <p:ext uri="{BB962C8B-B14F-4D97-AF65-F5344CB8AC3E}">
        <p14:creationId xmlns:p14="http://schemas.microsoft.com/office/powerpoint/2010/main" val="192558156"/>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ight grey 6_three chart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BF979-557A-AC54-8EED-E4F0528BE451}"/>
              </a:ext>
            </a:extLst>
          </p:cNvPr>
          <p:cNvSpPr>
            <a:spLocks noGrp="1"/>
          </p:cNvSpPr>
          <p:nvPr>
            <p:ph type="title"/>
          </p:nvPr>
        </p:nvSpPr>
        <p:spPr/>
        <p:txBody>
          <a:bodyPr/>
          <a:lstStyle/>
          <a:p>
            <a:r>
              <a:rPr lang="en-US"/>
              <a:t>Click to edit Master title style</a:t>
            </a:r>
          </a:p>
        </p:txBody>
      </p:sp>
      <p:sp>
        <p:nvSpPr>
          <p:cNvPr id="6" name="Text Placeholder 12">
            <a:extLst>
              <a:ext uri="{FF2B5EF4-FFF2-40B4-BE49-F238E27FC236}">
                <a16:creationId xmlns:a16="http://schemas.microsoft.com/office/drawing/2014/main" id="{70B52B18-19AD-6E88-EA87-2728CD762852}"/>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8" name="Text Placeholder 12">
            <a:extLst>
              <a:ext uri="{FF2B5EF4-FFF2-40B4-BE49-F238E27FC236}">
                <a16:creationId xmlns:a16="http://schemas.microsoft.com/office/drawing/2014/main" id="{38FFE35F-E930-F1D1-4666-894B64EFF4FA}"/>
              </a:ext>
            </a:extLst>
          </p:cNvPr>
          <p:cNvSpPr>
            <a:spLocks noGrp="1"/>
          </p:cNvSpPr>
          <p:nvPr>
            <p:ph type="body" sz="quarter" idx="44" hasCustomPrompt="1"/>
          </p:nvPr>
        </p:nvSpPr>
        <p:spPr>
          <a:xfrm>
            <a:off x="8120334" y="1125537"/>
            <a:ext cx="3628455" cy="389812"/>
          </a:xfrm>
          <a:prstGeom prst="rect">
            <a:avLst/>
          </a:prstGeom>
          <a:solidFill>
            <a:schemeClr val="bg2"/>
          </a:solid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11" name="Content Placeholder 7">
            <a:extLst>
              <a:ext uri="{FF2B5EF4-FFF2-40B4-BE49-F238E27FC236}">
                <a16:creationId xmlns:a16="http://schemas.microsoft.com/office/drawing/2014/main" id="{7ECB97D4-0FCA-E41D-F61D-AA2ABED8BB39}"/>
              </a:ext>
            </a:extLst>
          </p:cNvPr>
          <p:cNvSpPr>
            <a:spLocks noGrp="1"/>
          </p:cNvSpPr>
          <p:nvPr>
            <p:ph sz="quarter" idx="45" hasCustomPrompt="1"/>
          </p:nvPr>
        </p:nvSpPr>
        <p:spPr>
          <a:xfrm>
            <a:off x="8120634" y="1665288"/>
            <a:ext cx="3628456"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3" name="Text Placeholder 12">
            <a:extLst>
              <a:ext uri="{FF2B5EF4-FFF2-40B4-BE49-F238E27FC236}">
                <a16:creationId xmlns:a16="http://schemas.microsoft.com/office/drawing/2014/main" id="{C26D579C-E64F-0FFF-6653-E049F35B7A8E}"/>
              </a:ext>
            </a:extLst>
          </p:cNvPr>
          <p:cNvSpPr>
            <a:spLocks noGrp="1"/>
          </p:cNvSpPr>
          <p:nvPr>
            <p:ph type="body" sz="quarter" idx="47" hasCustomPrompt="1"/>
          </p:nvPr>
        </p:nvSpPr>
        <p:spPr>
          <a:xfrm>
            <a:off x="4281623" y="1125537"/>
            <a:ext cx="3628455" cy="389812"/>
          </a:xfrm>
          <a:prstGeom prst="rect">
            <a:avLst/>
          </a:prstGeom>
          <a:solidFill>
            <a:schemeClr val="bg2"/>
          </a:solid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4" name="Content Placeholder 7">
            <a:extLst>
              <a:ext uri="{FF2B5EF4-FFF2-40B4-BE49-F238E27FC236}">
                <a16:creationId xmlns:a16="http://schemas.microsoft.com/office/drawing/2014/main" id="{4706E6F2-AECB-A517-CF5C-480A9806105B}"/>
              </a:ext>
            </a:extLst>
          </p:cNvPr>
          <p:cNvSpPr>
            <a:spLocks noGrp="1"/>
          </p:cNvSpPr>
          <p:nvPr>
            <p:ph sz="quarter" idx="48" hasCustomPrompt="1"/>
          </p:nvPr>
        </p:nvSpPr>
        <p:spPr>
          <a:xfrm>
            <a:off x="4281923" y="1665288"/>
            <a:ext cx="3628456"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13" name="Text Placeholder 12">
            <a:extLst>
              <a:ext uri="{FF2B5EF4-FFF2-40B4-BE49-F238E27FC236}">
                <a16:creationId xmlns:a16="http://schemas.microsoft.com/office/drawing/2014/main" id="{690EB43B-0F06-046E-2198-ABEEF77ED3C1}"/>
              </a:ext>
            </a:extLst>
          </p:cNvPr>
          <p:cNvSpPr>
            <a:spLocks noGrp="1"/>
          </p:cNvSpPr>
          <p:nvPr>
            <p:ph type="body" sz="quarter" idx="50" hasCustomPrompt="1"/>
          </p:nvPr>
        </p:nvSpPr>
        <p:spPr>
          <a:xfrm>
            <a:off x="442912" y="1125537"/>
            <a:ext cx="3628455" cy="389812"/>
          </a:xfrm>
          <a:prstGeom prst="rect">
            <a:avLst/>
          </a:prstGeom>
          <a:solidFill>
            <a:schemeClr val="bg2"/>
          </a:solid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14" name="Content Placeholder 7">
            <a:extLst>
              <a:ext uri="{FF2B5EF4-FFF2-40B4-BE49-F238E27FC236}">
                <a16:creationId xmlns:a16="http://schemas.microsoft.com/office/drawing/2014/main" id="{DD731D20-ABA9-207C-6E14-047E34F5EB9A}"/>
              </a:ext>
            </a:extLst>
          </p:cNvPr>
          <p:cNvSpPr>
            <a:spLocks noGrp="1"/>
          </p:cNvSpPr>
          <p:nvPr>
            <p:ph sz="quarter" idx="51" hasCustomPrompt="1"/>
          </p:nvPr>
        </p:nvSpPr>
        <p:spPr>
          <a:xfrm>
            <a:off x="443212" y="1665288"/>
            <a:ext cx="3628456"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7" name="Text Placeholder 9">
            <a:extLst>
              <a:ext uri="{FF2B5EF4-FFF2-40B4-BE49-F238E27FC236}">
                <a16:creationId xmlns:a16="http://schemas.microsoft.com/office/drawing/2014/main" id="{03750E5D-33BE-8B25-C26F-8454510228E5}"/>
              </a:ext>
            </a:extLst>
          </p:cNvPr>
          <p:cNvSpPr>
            <a:spLocks noGrp="1"/>
          </p:cNvSpPr>
          <p:nvPr>
            <p:ph type="body" sz="quarter" idx="40"/>
          </p:nvPr>
        </p:nvSpPr>
        <p:spPr>
          <a:xfrm>
            <a:off x="442912" y="4788815"/>
            <a:ext cx="3625387"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9">
            <a:extLst>
              <a:ext uri="{FF2B5EF4-FFF2-40B4-BE49-F238E27FC236}">
                <a16:creationId xmlns:a16="http://schemas.microsoft.com/office/drawing/2014/main" id="{CF5281D9-E3D9-8017-FF33-3E28D4E74658}"/>
              </a:ext>
            </a:extLst>
          </p:cNvPr>
          <p:cNvSpPr>
            <a:spLocks noGrp="1"/>
          </p:cNvSpPr>
          <p:nvPr>
            <p:ph type="body" sz="quarter" idx="55"/>
          </p:nvPr>
        </p:nvSpPr>
        <p:spPr>
          <a:xfrm>
            <a:off x="4281773" y="4788815"/>
            <a:ext cx="3625387"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B243C478-3D00-5A71-65BD-A62B06789413}"/>
              </a:ext>
            </a:extLst>
          </p:cNvPr>
          <p:cNvSpPr>
            <a:spLocks noGrp="1"/>
          </p:cNvSpPr>
          <p:nvPr>
            <p:ph type="body" sz="quarter" idx="56"/>
          </p:nvPr>
        </p:nvSpPr>
        <p:spPr>
          <a:xfrm>
            <a:off x="8123701" y="4788815"/>
            <a:ext cx="3625387"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12627388"/>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nderline 1_text right">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E7562BF7-B6F2-44EE-A788-FA723912C454}"/>
              </a:ext>
            </a:extLst>
          </p:cNvPr>
          <p:cNvSpPr>
            <a:spLocks noGrp="1"/>
          </p:cNvSpPr>
          <p:nvPr>
            <p:ph type="body" sz="quarter" idx="39" hasCustomPrompt="1"/>
          </p:nvPr>
        </p:nvSpPr>
        <p:spPr>
          <a:xfrm>
            <a:off x="442912" y="1125537"/>
            <a:ext cx="11306176"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2" name="Title 1">
            <a:extLst>
              <a:ext uri="{FF2B5EF4-FFF2-40B4-BE49-F238E27FC236}">
                <a16:creationId xmlns:a16="http://schemas.microsoft.com/office/drawing/2014/main" id="{C8D42DE3-C51C-0B54-F245-8D2DFF2B71F2}"/>
              </a:ext>
            </a:extLst>
          </p:cNvPr>
          <p:cNvSpPr>
            <a:spLocks noGrp="1"/>
          </p:cNvSpPr>
          <p:nvPr>
            <p:ph type="title"/>
          </p:nvPr>
        </p:nvSpPr>
        <p:spPr/>
        <p:txBody>
          <a:bodyPr/>
          <a:lstStyle/>
          <a:p>
            <a:r>
              <a:rPr lang="en-US"/>
              <a:t>Click to edit Master title style</a:t>
            </a:r>
          </a:p>
        </p:txBody>
      </p:sp>
      <p:sp>
        <p:nvSpPr>
          <p:cNvPr id="8" name="Text Placeholder 12">
            <a:extLst>
              <a:ext uri="{FF2B5EF4-FFF2-40B4-BE49-F238E27FC236}">
                <a16:creationId xmlns:a16="http://schemas.microsoft.com/office/drawing/2014/main" id="{4A609D49-0095-024E-5BB2-9038836A093E}"/>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cxnSp>
        <p:nvCxnSpPr>
          <p:cNvPr id="9" name="Straight Connector 8">
            <a:extLst>
              <a:ext uri="{FF2B5EF4-FFF2-40B4-BE49-F238E27FC236}">
                <a16:creationId xmlns:a16="http://schemas.microsoft.com/office/drawing/2014/main" id="{3CAA3E3B-D30C-6089-5AB2-ECFF6F991502}"/>
              </a:ext>
            </a:extLst>
          </p:cNvPr>
          <p:cNvCxnSpPr>
            <a:cxnSpLocks/>
          </p:cNvCxnSpPr>
          <p:nvPr/>
        </p:nvCxnSpPr>
        <p:spPr>
          <a:xfrm>
            <a:off x="445669" y="1519504"/>
            <a:ext cx="11296610" cy="0"/>
          </a:xfrm>
          <a:prstGeom prst="line">
            <a:avLst/>
          </a:prstGeom>
          <a:ln w="95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7">
            <a:extLst>
              <a:ext uri="{FF2B5EF4-FFF2-40B4-BE49-F238E27FC236}">
                <a16:creationId xmlns:a16="http://schemas.microsoft.com/office/drawing/2014/main" id="{26C32FA8-4277-4166-A317-5BE6DCA0D884}"/>
              </a:ext>
            </a:extLst>
          </p:cNvPr>
          <p:cNvSpPr>
            <a:spLocks noGrp="1"/>
          </p:cNvSpPr>
          <p:nvPr>
            <p:ph sz="quarter" idx="11" hasCustomPrompt="1"/>
          </p:nvPr>
        </p:nvSpPr>
        <p:spPr>
          <a:xfrm>
            <a:off x="442912" y="1665288"/>
            <a:ext cx="8113077" cy="4211638"/>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7" name="Text Placeholder 9">
            <a:extLst>
              <a:ext uri="{FF2B5EF4-FFF2-40B4-BE49-F238E27FC236}">
                <a16:creationId xmlns:a16="http://schemas.microsoft.com/office/drawing/2014/main" id="{D5E9E701-B9EB-529A-58E9-92A8426692F5}"/>
              </a:ext>
            </a:extLst>
          </p:cNvPr>
          <p:cNvSpPr>
            <a:spLocks noGrp="1"/>
          </p:cNvSpPr>
          <p:nvPr>
            <p:ph type="body" sz="quarter" idx="40"/>
          </p:nvPr>
        </p:nvSpPr>
        <p:spPr>
          <a:xfrm>
            <a:off x="8832850" y="1665288"/>
            <a:ext cx="2916238" cy="4211637"/>
          </a:xfrm>
          <a:solidFill>
            <a:schemeClr val="bg2"/>
          </a:solidFill>
        </p:spPr>
        <p:txBody>
          <a:bodyPr rIns="180000"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0931064"/>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Underline 2_subheader only">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E7562BF7-B6F2-44EE-A788-FA723912C454}"/>
              </a:ext>
            </a:extLst>
          </p:cNvPr>
          <p:cNvSpPr>
            <a:spLocks noGrp="1"/>
          </p:cNvSpPr>
          <p:nvPr>
            <p:ph type="body" sz="quarter" idx="39" hasCustomPrompt="1"/>
          </p:nvPr>
        </p:nvSpPr>
        <p:spPr>
          <a:xfrm>
            <a:off x="442912" y="1125537"/>
            <a:ext cx="11306176"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2" name="Title 1">
            <a:extLst>
              <a:ext uri="{FF2B5EF4-FFF2-40B4-BE49-F238E27FC236}">
                <a16:creationId xmlns:a16="http://schemas.microsoft.com/office/drawing/2014/main" id="{C8D42DE3-C51C-0B54-F245-8D2DFF2B71F2}"/>
              </a:ext>
            </a:extLst>
          </p:cNvPr>
          <p:cNvSpPr>
            <a:spLocks noGrp="1"/>
          </p:cNvSpPr>
          <p:nvPr>
            <p:ph type="title"/>
          </p:nvPr>
        </p:nvSpPr>
        <p:spPr/>
        <p:txBody>
          <a:bodyPr/>
          <a:lstStyle/>
          <a:p>
            <a:r>
              <a:rPr lang="en-US"/>
              <a:t>Click to edit Master title style</a:t>
            </a:r>
          </a:p>
        </p:txBody>
      </p:sp>
      <p:sp>
        <p:nvSpPr>
          <p:cNvPr id="8" name="Text Placeholder 12">
            <a:extLst>
              <a:ext uri="{FF2B5EF4-FFF2-40B4-BE49-F238E27FC236}">
                <a16:creationId xmlns:a16="http://schemas.microsoft.com/office/drawing/2014/main" id="{4A609D49-0095-024E-5BB2-9038836A093E}"/>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cxnSp>
        <p:nvCxnSpPr>
          <p:cNvPr id="6" name="Straight Connector 5">
            <a:extLst>
              <a:ext uri="{FF2B5EF4-FFF2-40B4-BE49-F238E27FC236}">
                <a16:creationId xmlns:a16="http://schemas.microsoft.com/office/drawing/2014/main" id="{73AC5E2D-951B-6A33-6F02-496336A267EE}"/>
              </a:ext>
            </a:extLst>
          </p:cNvPr>
          <p:cNvCxnSpPr>
            <a:cxnSpLocks/>
          </p:cNvCxnSpPr>
          <p:nvPr/>
        </p:nvCxnSpPr>
        <p:spPr>
          <a:xfrm>
            <a:off x="445669" y="1519504"/>
            <a:ext cx="11296610" cy="0"/>
          </a:xfrm>
          <a:prstGeom prst="line">
            <a:avLst/>
          </a:prstGeom>
          <a:ln w="95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304949"/>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nderline 3_text bottom">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E7562BF7-B6F2-44EE-A788-FA723912C454}"/>
              </a:ext>
            </a:extLst>
          </p:cNvPr>
          <p:cNvSpPr>
            <a:spLocks noGrp="1"/>
          </p:cNvSpPr>
          <p:nvPr>
            <p:ph type="body" sz="quarter" idx="39" hasCustomPrompt="1"/>
          </p:nvPr>
        </p:nvSpPr>
        <p:spPr>
          <a:xfrm>
            <a:off x="442912" y="1125537"/>
            <a:ext cx="11306176"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2" name="Title 1">
            <a:extLst>
              <a:ext uri="{FF2B5EF4-FFF2-40B4-BE49-F238E27FC236}">
                <a16:creationId xmlns:a16="http://schemas.microsoft.com/office/drawing/2014/main" id="{C8D42DE3-C51C-0B54-F245-8D2DFF2B71F2}"/>
              </a:ext>
            </a:extLst>
          </p:cNvPr>
          <p:cNvSpPr>
            <a:spLocks noGrp="1"/>
          </p:cNvSpPr>
          <p:nvPr>
            <p:ph type="title"/>
          </p:nvPr>
        </p:nvSpPr>
        <p:spPr/>
        <p:txBody>
          <a:bodyPr/>
          <a:lstStyle/>
          <a:p>
            <a:r>
              <a:rPr lang="en-US"/>
              <a:t>Click to edit Master title style</a:t>
            </a:r>
          </a:p>
        </p:txBody>
      </p:sp>
      <p:sp>
        <p:nvSpPr>
          <p:cNvPr id="8" name="Text Placeholder 12">
            <a:extLst>
              <a:ext uri="{FF2B5EF4-FFF2-40B4-BE49-F238E27FC236}">
                <a16:creationId xmlns:a16="http://schemas.microsoft.com/office/drawing/2014/main" id="{4A609D49-0095-024E-5BB2-9038836A093E}"/>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cxnSp>
        <p:nvCxnSpPr>
          <p:cNvPr id="6" name="Straight Connector 5">
            <a:extLst>
              <a:ext uri="{FF2B5EF4-FFF2-40B4-BE49-F238E27FC236}">
                <a16:creationId xmlns:a16="http://schemas.microsoft.com/office/drawing/2014/main" id="{73AC5E2D-951B-6A33-6F02-496336A267EE}"/>
              </a:ext>
            </a:extLst>
          </p:cNvPr>
          <p:cNvCxnSpPr>
            <a:cxnSpLocks/>
          </p:cNvCxnSpPr>
          <p:nvPr/>
        </p:nvCxnSpPr>
        <p:spPr>
          <a:xfrm>
            <a:off x="445669" y="1519504"/>
            <a:ext cx="11296610" cy="0"/>
          </a:xfrm>
          <a:prstGeom prst="line">
            <a:avLst/>
          </a:prstGeom>
          <a:ln w="95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 name="Content Placeholder 7">
            <a:extLst>
              <a:ext uri="{FF2B5EF4-FFF2-40B4-BE49-F238E27FC236}">
                <a16:creationId xmlns:a16="http://schemas.microsoft.com/office/drawing/2014/main" id="{D301106E-BE64-6AB5-B33A-7A54EE901CE6}"/>
              </a:ext>
            </a:extLst>
          </p:cNvPr>
          <p:cNvSpPr>
            <a:spLocks noGrp="1"/>
          </p:cNvSpPr>
          <p:nvPr>
            <p:ph sz="quarter" idx="11" hasCustomPrompt="1"/>
          </p:nvPr>
        </p:nvSpPr>
        <p:spPr>
          <a:xfrm>
            <a:off x="442911" y="1665288"/>
            <a:ext cx="11306177"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3" name="Text Placeholder 9">
            <a:extLst>
              <a:ext uri="{FF2B5EF4-FFF2-40B4-BE49-F238E27FC236}">
                <a16:creationId xmlns:a16="http://schemas.microsoft.com/office/drawing/2014/main" id="{743DCFF0-B69A-0282-81DA-FBB8E481C6BE}"/>
              </a:ext>
            </a:extLst>
          </p:cNvPr>
          <p:cNvSpPr>
            <a:spLocks noGrp="1"/>
          </p:cNvSpPr>
          <p:nvPr>
            <p:ph type="body" sz="quarter" idx="40"/>
          </p:nvPr>
        </p:nvSpPr>
        <p:spPr>
          <a:xfrm>
            <a:off x="442912" y="4788815"/>
            <a:ext cx="11306175"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4275847"/>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Underline 4_two chart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BF979-557A-AC54-8EED-E4F0528BE451}"/>
              </a:ext>
            </a:extLst>
          </p:cNvPr>
          <p:cNvSpPr>
            <a:spLocks noGrp="1"/>
          </p:cNvSpPr>
          <p:nvPr>
            <p:ph type="title"/>
          </p:nvPr>
        </p:nvSpPr>
        <p:spPr/>
        <p:txBody>
          <a:bodyPr/>
          <a:lstStyle/>
          <a:p>
            <a:r>
              <a:rPr lang="en-US"/>
              <a:t>Click to edit Master title style</a:t>
            </a:r>
          </a:p>
        </p:txBody>
      </p:sp>
      <p:sp>
        <p:nvSpPr>
          <p:cNvPr id="6" name="Text Placeholder 12">
            <a:extLst>
              <a:ext uri="{FF2B5EF4-FFF2-40B4-BE49-F238E27FC236}">
                <a16:creationId xmlns:a16="http://schemas.microsoft.com/office/drawing/2014/main" id="{70B52B18-19AD-6E88-EA87-2728CD762852}"/>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7" name="Text Placeholder 12">
            <a:extLst>
              <a:ext uri="{FF2B5EF4-FFF2-40B4-BE49-F238E27FC236}">
                <a16:creationId xmlns:a16="http://schemas.microsoft.com/office/drawing/2014/main" id="{BCDB814C-35CE-FD98-CB83-19715DBD2914}"/>
              </a:ext>
            </a:extLst>
          </p:cNvPr>
          <p:cNvSpPr>
            <a:spLocks noGrp="1"/>
          </p:cNvSpPr>
          <p:nvPr>
            <p:ph type="body" sz="quarter" idx="39" hasCustomPrompt="1"/>
          </p:nvPr>
        </p:nvSpPr>
        <p:spPr>
          <a:xfrm>
            <a:off x="442911" y="1125537"/>
            <a:ext cx="5509090"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8" name="Text Placeholder 12">
            <a:extLst>
              <a:ext uri="{FF2B5EF4-FFF2-40B4-BE49-F238E27FC236}">
                <a16:creationId xmlns:a16="http://schemas.microsoft.com/office/drawing/2014/main" id="{38FFE35F-E930-F1D1-4666-894B64EFF4FA}"/>
              </a:ext>
            </a:extLst>
          </p:cNvPr>
          <p:cNvSpPr>
            <a:spLocks noGrp="1"/>
          </p:cNvSpPr>
          <p:nvPr>
            <p:ph type="body" sz="quarter" idx="44" hasCustomPrompt="1"/>
          </p:nvPr>
        </p:nvSpPr>
        <p:spPr>
          <a:xfrm>
            <a:off x="6239699" y="1125537"/>
            <a:ext cx="5509088"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cxnSp>
        <p:nvCxnSpPr>
          <p:cNvPr id="14" name="Straight Connector 13">
            <a:extLst>
              <a:ext uri="{FF2B5EF4-FFF2-40B4-BE49-F238E27FC236}">
                <a16:creationId xmlns:a16="http://schemas.microsoft.com/office/drawing/2014/main" id="{4153F43D-32FF-88EE-C4EB-27B38EE69471}"/>
              </a:ext>
            </a:extLst>
          </p:cNvPr>
          <p:cNvCxnSpPr>
            <a:cxnSpLocks/>
          </p:cNvCxnSpPr>
          <p:nvPr/>
        </p:nvCxnSpPr>
        <p:spPr>
          <a:xfrm>
            <a:off x="433878" y="1519504"/>
            <a:ext cx="5515594" cy="0"/>
          </a:xfrm>
          <a:prstGeom prst="line">
            <a:avLst/>
          </a:prstGeom>
          <a:ln w="95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7414E69-D4B2-903F-AAE5-6BE9BB9D349F}"/>
              </a:ext>
            </a:extLst>
          </p:cNvPr>
          <p:cNvCxnSpPr>
            <a:cxnSpLocks/>
          </p:cNvCxnSpPr>
          <p:nvPr/>
        </p:nvCxnSpPr>
        <p:spPr>
          <a:xfrm>
            <a:off x="6239698" y="1519504"/>
            <a:ext cx="5515594" cy="0"/>
          </a:xfrm>
          <a:prstGeom prst="line">
            <a:avLst/>
          </a:prstGeom>
          <a:ln w="95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Content Placeholder 7">
            <a:extLst>
              <a:ext uri="{FF2B5EF4-FFF2-40B4-BE49-F238E27FC236}">
                <a16:creationId xmlns:a16="http://schemas.microsoft.com/office/drawing/2014/main" id="{E0042929-EDB5-4157-1A69-C2DA2E7AA26C}"/>
              </a:ext>
            </a:extLst>
          </p:cNvPr>
          <p:cNvSpPr>
            <a:spLocks noGrp="1"/>
          </p:cNvSpPr>
          <p:nvPr>
            <p:ph sz="quarter" idx="11" hasCustomPrompt="1"/>
          </p:nvPr>
        </p:nvSpPr>
        <p:spPr>
          <a:xfrm>
            <a:off x="442912" y="1665288"/>
            <a:ext cx="5509090"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11" name="Content Placeholder 7">
            <a:extLst>
              <a:ext uri="{FF2B5EF4-FFF2-40B4-BE49-F238E27FC236}">
                <a16:creationId xmlns:a16="http://schemas.microsoft.com/office/drawing/2014/main" id="{D33C51EB-4E1D-B198-CBE5-114FF0AE1E94}"/>
              </a:ext>
            </a:extLst>
          </p:cNvPr>
          <p:cNvSpPr>
            <a:spLocks noGrp="1"/>
          </p:cNvSpPr>
          <p:nvPr>
            <p:ph sz="quarter" idx="45" hasCustomPrompt="1"/>
          </p:nvPr>
        </p:nvSpPr>
        <p:spPr>
          <a:xfrm>
            <a:off x="6239998" y="1665288"/>
            <a:ext cx="5509090"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3" name="Text Placeholder 9">
            <a:extLst>
              <a:ext uri="{FF2B5EF4-FFF2-40B4-BE49-F238E27FC236}">
                <a16:creationId xmlns:a16="http://schemas.microsoft.com/office/drawing/2014/main" id="{D3E9A206-0867-511A-F96B-77523194F5BF}"/>
              </a:ext>
            </a:extLst>
          </p:cNvPr>
          <p:cNvSpPr>
            <a:spLocks noGrp="1"/>
          </p:cNvSpPr>
          <p:nvPr>
            <p:ph type="body" sz="quarter" idx="40"/>
          </p:nvPr>
        </p:nvSpPr>
        <p:spPr>
          <a:xfrm>
            <a:off x="442912" y="4788815"/>
            <a:ext cx="5509089"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9">
            <a:extLst>
              <a:ext uri="{FF2B5EF4-FFF2-40B4-BE49-F238E27FC236}">
                <a16:creationId xmlns:a16="http://schemas.microsoft.com/office/drawing/2014/main" id="{BBD2CB84-FC61-84EA-A148-0FB481DE0970}"/>
              </a:ext>
            </a:extLst>
          </p:cNvPr>
          <p:cNvSpPr>
            <a:spLocks noGrp="1"/>
          </p:cNvSpPr>
          <p:nvPr>
            <p:ph type="body" sz="quarter" idx="46"/>
          </p:nvPr>
        </p:nvSpPr>
        <p:spPr>
          <a:xfrm>
            <a:off x="6239999" y="4788815"/>
            <a:ext cx="5509089"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70702190"/>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Underline 5_two charts horizont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BF979-557A-AC54-8EED-E4F0528BE451}"/>
              </a:ext>
            </a:extLst>
          </p:cNvPr>
          <p:cNvSpPr>
            <a:spLocks noGrp="1"/>
          </p:cNvSpPr>
          <p:nvPr>
            <p:ph type="title"/>
          </p:nvPr>
        </p:nvSpPr>
        <p:spPr/>
        <p:txBody>
          <a:bodyPr/>
          <a:lstStyle/>
          <a:p>
            <a:r>
              <a:rPr lang="en-US"/>
              <a:t>Click to edit Master title style</a:t>
            </a:r>
          </a:p>
        </p:txBody>
      </p:sp>
      <p:sp>
        <p:nvSpPr>
          <p:cNvPr id="6" name="Text Placeholder 12">
            <a:extLst>
              <a:ext uri="{FF2B5EF4-FFF2-40B4-BE49-F238E27FC236}">
                <a16:creationId xmlns:a16="http://schemas.microsoft.com/office/drawing/2014/main" id="{70B52B18-19AD-6E88-EA87-2728CD762852}"/>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7" name="Text Placeholder 12">
            <a:extLst>
              <a:ext uri="{FF2B5EF4-FFF2-40B4-BE49-F238E27FC236}">
                <a16:creationId xmlns:a16="http://schemas.microsoft.com/office/drawing/2014/main" id="{BCDB814C-35CE-FD98-CB83-19715DBD2914}"/>
              </a:ext>
            </a:extLst>
          </p:cNvPr>
          <p:cNvSpPr>
            <a:spLocks noGrp="1"/>
          </p:cNvSpPr>
          <p:nvPr>
            <p:ph type="body" sz="quarter" idx="39" hasCustomPrompt="1"/>
          </p:nvPr>
        </p:nvSpPr>
        <p:spPr>
          <a:xfrm>
            <a:off x="442912" y="1125537"/>
            <a:ext cx="11306176"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8" name="Text Placeholder 12">
            <a:extLst>
              <a:ext uri="{FF2B5EF4-FFF2-40B4-BE49-F238E27FC236}">
                <a16:creationId xmlns:a16="http://schemas.microsoft.com/office/drawing/2014/main" id="{B8DC2296-A7D3-317C-507D-D4DED1F67662}"/>
              </a:ext>
            </a:extLst>
          </p:cNvPr>
          <p:cNvSpPr>
            <a:spLocks noGrp="1"/>
          </p:cNvSpPr>
          <p:nvPr>
            <p:ph type="body" sz="quarter" idx="42" hasCustomPrompt="1"/>
          </p:nvPr>
        </p:nvSpPr>
        <p:spPr>
          <a:xfrm>
            <a:off x="442912" y="3578939"/>
            <a:ext cx="11306176"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cxnSp>
        <p:nvCxnSpPr>
          <p:cNvPr id="4" name="Straight Connector 3">
            <a:extLst>
              <a:ext uri="{FF2B5EF4-FFF2-40B4-BE49-F238E27FC236}">
                <a16:creationId xmlns:a16="http://schemas.microsoft.com/office/drawing/2014/main" id="{5E1D3626-3C2B-5071-3392-3CFEE39DDFD4}"/>
              </a:ext>
            </a:extLst>
          </p:cNvPr>
          <p:cNvCxnSpPr>
            <a:cxnSpLocks/>
          </p:cNvCxnSpPr>
          <p:nvPr/>
        </p:nvCxnSpPr>
        <p:spPr>
          <a:xfrm>
            <a:off x="445669" y="1519504"/>
            <a:ext cx="11296610" cy="0"/>
          </a:xfrm>
          <a:prstGeom prst="line">
            <a:avLst/>
          </a:prstGeom>
          <a:ln w="95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5E6F21D-4981-A86A-0C79-CF8F15F5A108}"/>
              </a:ext>
            </a:extLst>
          </p:cNvPr>
          <p:cNvCxnSpPr>
            <a:cxnSpLocks/>
          </p:cNvCxnSpPr>
          <p:nvPr/>
        </p:nvCxnSpPr>
        <p:spPr>
          <a:xfrm>
            <a:off x="445669" y="3968751"/>
            <a:ext cx="11296610" cy="0"/>
          </a:xfrm>
          <a:prstGeom prst="line">
            <a:avLst/>
          </a:prstGeom>
          <a:ln w="95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8" name="Content Placeholder 7">
            <a:extLst>
              <a:ext uri="{FF2B5EF4-FFF2-40B4-BE49-F238E27FC236}">
                <a16:creationId xmlns:a16="http://schemas.microsoft.com/office/drawing/2014/main" id="{85F88996-98DD-22A4-62D1-E40B2B8C5C7A}"/>
              </a:ext>
            </a:extLst>
          </p:cNvPr>
          <p:cNvSpPr>
            <a:spLocks noGrp="1"/>
          </p:cNvSpPr>
          <p:nvPr>
            <p:ph sz="quarter" idx="11" hasCustomPrompt="1"/>
          </p:nvPr>
        </p:nvSpPr>
        <p:spPr>
          <a:xfrm>
            <a:off x="442912" y="1665288"/>
            <a:ext cx="8113077" cy="176371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20" name="Content Placeholder 7">
            <a:extLst>
              <a:ext uri="{FF2B5EF4-FFF2-40B4-BE49-F238E27FC236}">
                <a16:creationId xmlns:a16="http://schemas.microsoft.com/office/drawing/2014/main" id="{427281B2-D083-A119-3C4B-C4D9198F33DB}"/>
              </a:ext>
            </a:extLst>
          </p:cNvPr>
          <p:cNvSpPr>
            <a:spLocks noGrp="1"/>
          </p:cNvSpPr>
          <p:nvPr>
            <p:ph sz="quarter" idx="43" hasCustomPrompt="1"/>
          </p:nvPr>
        </p:nvSpPr>
        <p:spPr>
          <a:xfrm>
            <a:off x="442912" y="4112233"/>
            <a:ext cx="8113077" cy="176371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3" name="Text Placeholder 9">
            <a:extLst>
              <a:ext uri="{FF2B5EF4-FFF2-40B4-BE49-F238E27FC236}">
                <a16:creationId xmlns:a16="http://schemas.microsoft.com/office/drawing/2014/main" id="{A90C7375-F65B-D0D5-758A-7B0FA3C3C091}"/>
              </a:ext>
            </a:extLst>
          </p:cNvPr>
          <p:cNvSpPr>
            <a:spLocks noGrp="1"/>
          </p:cNvSpPr>
          <p:nvPr>
            <p:ph type="body" sz="quarter" idx="40"/>
          </p:nvPr>
        </p:nvSpPr>
        <p:spPr>
          <a:xfrm>
            <a:off x="8832850" y="1665289"/>
            <a:ext cx="2916238" cy="1763712"/>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9">
            <a:extLst>
              <a:ext uri="{FF2B5EF4-FFF2-40B4-BE49-F238E27FC236}">
                <a16:creationId xmlns:a16="http://schemas.microsoft.com/office/drawing/2014/main" id="{7DEE6668-7226-658E-8C90-ED82FCFB612F}"/>
              </a:ext>
            </a:extLst>
          </p:cNvPr>
          <p:cNvSpPr>
            <a:spLocks noGrp="1"/>
          </p:cNvSpPr>
          <p:nvPr>
            <p:ph type="body" sz="quarter" idx="44"/>
          </p:nvPr>
        </p:nvSpPr>
        <p:spPr>
          <a:xfrm>
            <a:off x="8832850" y="4113213"/>
            <a:ext cx="2916238" cy="1763712"/>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25247157"/>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Underline 6_three chart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BF979-557A-AC54-8EED-E4F0528BE451}"/>
              </a:ext>
            </a:extLst>
          </p:cNvPr>
          <p:cNvSpPr>
            <a:spLocks noGrp="1"/>
          </p:cNvSpPr>
          <p:nvPr>
            <p:ph type="title"/>
          </p:nvPr>
        </p:nvSpPr>
        <p:spPr/>
        <p:txBody>
          <a:bodyPr/>
          <a:lstStyle/>
          <a:p>
            <a:r>
              <a:rPr lang="en-US"/>
              <a:t>Click to edit Master title style</a:t>
            </a:r>
          </a:p>
        </p:txBody>
      </p:sp>
      <p:sp>
        <p:nvSpPr>
          <p:cNvPr id="6" name="Text Placeholder 12">
            <a:extLst>
              <a:ext uri="{FF2B5EF4-FFF2-40B4-BE49-F238E27FC236}">
                <a16:creationId xmlns:a16="http://schemas.microsoft.com/office/drawing/2014/main" id="{70B52B18-19AD-6E88-EA87-2728CD762852}"/>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11" name="Content Placeholder 7">
            <a:extLst>
              <a:ext uri="{FF2B5EF4-FFF2-40B4-BE49-F238E27FC236}">
                <a16:creationId xmlns:a16="http://schemas.microsoft.com/office/drawing/2014/main" id="{7ECB97D4-0FCA-E41D-F61D-AA2ABED8BB39}"/>
              </a:ext>
            </a:extLst>
          </p:cNvPr>
          <p:cNvSpPr>
            <a:spLocks noGrp="1"/>
          </p:cNvSpPr>
          <p:nvPr>
            <p:ph sz="quarter" idx="45" hasCustomPrompt="1"/>
          </p:nvPr>
        </p:nvSpPr>
        <p:spPr>
          <a:xfrm>
            <a:off x="8120634" y="1665288"/>
            <a:ext cx="3628456"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4" name="Content Placeholder 7">
            <a:extLst>
              <a:ext uri="{FF2B5EF4-FFF2-40B4-BE49-F238E27FC236}">
                <a16:creationId xmlns:a16="http://schemas.microsoft.com/office/drawing/2014/main" id="{4706E6F2-AECB-A517-CF5C-480A9806105B}"/>
              </a:ext>
            </a:extLst>
          </p:cNvPr>
          <p:cNvSpPr>
            <a:spLocks noGrp="1"/>
          </p:cNvSpPr>
          <p:nvPr>
            <p:ph sz="quarter" idx="48" hasCustomPrompt="1"/>
          </p:nvPr>
        </p:nvSpPr>
        <p:spPr>
          <a:xfrm>
            <a:off x="4281923" y="1665288"/>
            <a:ext cx="3628456"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14" name="Content Placeholder 7">
            <a:extLst>
              <a:ext uri="{FF2B5EF4-FFF2-40B4-BE49-F238E27FC236}">
                <a16:creationId xmlns:a16="http://schemas.microsoft.com/office/drawing/2014/main" id="{DD731D20-ABA9-207C-6E14-047E34F5EB9A}"/>
              </a:ext>
            </a:extLst>
          </p:cNvPr>
          <p:cNvSpPr>
            <a:spLocks noGrp="1"/>
          </p:cNvSpPr>
          <p:nvPr>
            <p:ph sz="quarter" idx="51" hasCustomPrompt="1"/>
          </p:nvPr>
        </p:nvSpPr>
        <p:spPr>
          <a:xfrm>
            <a:off x="443212" y="1665288"/>
            <a:ext cx="3628456"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7" name="Text Placeholder 12">
            <a:extLst>
              <a:ext uri="{FF2B5EF4-FFF2-40B4-BE49-F238E27FC236}">
                <a16:creationId xmlns:a16="http://schemas.microsoft.com/office/drawing/2014/main" id="{5D2D5A52-9142-745B-918A-46EF1E3CF508}"/>
              </a:ext>
            </a:extLst>
          </p:cNvPr>
          <p:cNvSpPr>
            <a:spLocks noGrp="1"/>
          </p:cNvSpPr>
          <p:nvPr>
            <p:ph type="body" sz="quarter" idx="39" hasCustomPrompt="1"/>
          </p:nvPr>
        </p:nvSpPr>
        <p:spPr>
          <a:xfrm>
            <a:off x="442912" y="1125537"/>
            <a:ext cx="3628456"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cxnSp>
        <p:nvCxnSpPr>
          <p:cNvPr id="9" name="Straight Connector 8">
            <a:extLst>
              <a:ext uri="{FF2B5EF4-FFF2-40B4-BE49-F238E27FC236}">
                <a16:creationId xmlns:a16="http://schemas.microsoft.com/office/drawing/2014/main" id="{FD332AB3-E871-880E-4610-280F21412EDF}"/>
              </a:ext>
            </a:extLst>
          </p:cNvPr>
          <p:cNvCxnSpPr>
            <a:cxnSpLocks/>
          </p:cNvCxnSpPr>
          <p:nvPr/>
        </p:nvCxnSpPr>
        <p:spPr>
          <a:xfrm>
            <a:off x="445669" y="1519504"/>
            <a:ext cx="3625386" cy="0"/>
          </a:xfrm>
          <a:prstGeom prst="line">
            <a:avLst/>
          </a:prstGeom>
          <a:ln w="95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12">
            <a:extLst>
              <a:ext uri="{FF2B5EF4-FFF2-40B4-BE49-F238E27FC236}">
                <a16:creationId xmlns:a16="http://schemas.microsoft.com/office/drawing/2014/main" id="{32752C16-7F70-D6C2-7765-D3F3AC7DCE0E}"/>
              </a:ext>
            </a:extLst>
          </p:cNvPr>
          <p:cNvSpPr>
            <a:spLocks noGrp="1"/>
          </p:cNvSpPr>
          <p:nvPr>
            <p:ph type="body" sz="quarter" idx="53" hasCustomPrompt="1"/>
          </p:nvPr>
        </p:nvSpPr>
        <p:spPr>
          <a:xfrm>
            <a:off x="4281923" y="1125537"/>
            <a:ext cx="3628456"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cxnSp>
        <p:nvCxnSpPr>
          <p:cNvPr id="17" name="Straight Connector 16">
            <a:extLst>
              <a:ext uri="{FF2B5EF4-FFF2-40B4-BE49-F238E27FC236}">
                <a16:creationId xmlns:a16="http://schemas.microsoft.com/office/drawing/2014/main" id="{B7AEC86F-7DCE-1575-004A-3CF31552B3FC}"/>
              </a:ext>
            </a:extLst>
          </p:cNvPr>
          <p:cNvCxnSpPr>
            <a:cxnSpLocks/>
          </p:cNvCxnSpPr>
          <p:nvPr/>
        </p:nvCxnSpPr>
        <p:spPr>
          <a:xfrm>
            <a:off x="4284680" y="1519504"/>
            <a:ext cx="3625386" cy="0"/>
          </a:xfrm>
          <a:prstGeom prst="line">
            <a:avLst/>
          </a:prstGeom>
          <a:ln w="95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5263BE1B-9CB1-8175-0EF9-DDFF98CE7D82}"/>
              </a:ext>
            </a:extLst>
          </p:cNvPr>
          <p:cNvSpPr>
            <a:spLocks noGrp="1"/>
          </p:cNvSpPr>
          <p:nvPr>
            <p:ph type="body" sz="quarter" idx="54" hasCustomPrompt="1"/>
          </p:nvPr>
        </p:nvSpPr>
        <p:spPr>
          <a:xfrm>
            <a:off x="8117877" y="1125537"/>
            <a:ext cx="3628456"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cxnSp>
        <p:nvCxnSpPr>
          <p:cNvPr id="19" name="Straight Connector 18">
            <a:extLst>
              <a:ext uri="{FF2B5EF4-FFF2-40B4-BE49-F238E27FC236}">
                <a16:creationId xmlns:a16="http://schemas.microsoft.com/office/drawing/2014/main" id="{8A4B0363-6497-CF25-8F12-5B4D5A0E7466}"/>
              </a:ext>
            </a:extLst>
          </p:cNvPr>
          <p:cNvCxnSpPr>
            <a:cxnSpLocks/>
          </p:cNvCxnSpPr>
          <p:nvPr/>
        </p:nvCxnSpPr>
        <p:spPr>
          <a:xfrm>
            <a:off x="8120634" y="1519504"/>
            <a:ext cx="3625386" cy="0"/>
          </a:xfrm>
          <a:prstGeom prst="line">
            <a:avLst/>
          </a:prstGeom>
          <a:ln w="95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9">
            <a:extLst>
              <a:ext uri="{FF2B5EF4-FFF2-40B4-BE49-F238E27FC236}">
                <a16:creationId xmlns:a16="http://schemas.microsoft.com/office/drawing/2014/main" id="{7CCE4EBA-9CD5-064A-4E08-E7B5928DD2BA}"/>
              </a:ext>
            </a:extLst>
          </p:cNvPr>
          <p:cNvSpPr>
            <a:spLocks noGrp="1"/>
          </p:cNvSpPr>
          <p:nvPr>
            <p:ph type="body" sz="quarter" idx="40"/>
          </p:nvPr>
        </p:nvSpPr>
        <p:spPr>
          <a:xfrm>
            <a:off x="442912" y="4788815"/>
            <a:ext cx="3625387"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CB32DEEF-E388-24C9-9698-7F081DECD70B}"/>
              </a:ext>
            </a:extLst>
          </p:cNvPr>
          <p:cNvSpPr>
            <a:spLocks noGrp="1"/>
          </p:cNvSpPr>
          <p:nvPr>
            <p:ph type="body" sz="quarter" idx="55"/>
          </p:nvPr>
        </p:nvSpPr>
        <p:spPr>
          <a:xfrm>
            <a:off x="4281773" y="4788815"/>
            <a:ext cx="3625387"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9">
            <a:extLst>
              <a:ext uri="{FF2B5EF4-FFF2-40B4-BE49-F238E27FC236}">
                <a16:creationId xmlns:a16="http://schemas.microsoft.com/office/drawing/2014/main" id="{FEECD4F6-6985-D931-3AEB-EBB2B31C779D}"/>
              </a:ext>
            </a:extLst>
          </p:cNvPr>
          <p:cNvSpPr>
            <a:spLocks noGrp="1"/>
          </p:cNvSpPr>
          <p:nvPr>
            <p:ph type="body" sz="quarter" idx="56"/>
          </p:nvPr>
        </p:nvSpPr>
        <p:spPr>
          <a:xfrm>
            <a:off x="8123701" y="4788815"/>
            <a:ext cx="3625387"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67381747"/>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ark blue 1_text right">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E7562BF7-B6F2-44EE-A788-FA723912C454}"/>
              </a:ext>
            </a:extLst>
          </p:cNvPr>
          <p:cNvSpPr>
            <a:spLocks noGrp="1"/>
          </p:cNvSpPr>
          <p:nvPr>
            <p:ph type="body" sz="quarter" idx="39" hasCustomPrompt="1"/>
          </p:nvPr>
        </p:nvSpPr>
        <p:spPr>
          <a:xfrm>
            <a:off x="442912" y="1125537"/>
            <a:ext cx="11306176" cy="389812"/>
          </a:xfrm>
          <a:prstGeom prst="rect">
            <a:avLst/>
          </a:prstGeom>
          <a:solidFill>
            <a:schemeClr val="tx2"/>
          </a:solidFill>
          <a:ln>
            <a:noFill/>
          </a:ln>
        </p:spPr>
        <p:txBody>
          <a:bodyPr anchor="ctr">
            <a:noAutofit/>
          </a:bodyPr>
          <a:lstStyle>
            <a:lvl1pPr>
              <a:spcBef>
                <a:spcPts val="0"/>
              </a:spcBef>
              <a:buNone/>
              <a:defRPr sz="1400" b="1">
                <a:solidFill>
                  <a:schemeClr val="bg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bg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2" name="Title 1">
            <a:extLst>
              <a:ext uri="{FF2B5EF4-FFF2-40B4-BE49-F238E27FC236}">
                <a16:creationId xmlns:a16="http://schemas.microsoft.com/office/drawing/2014/main" id="{C8D42DE3-C51C-0B54-F245-8D2DFF2B71F2}"/>
              </a:ext>
            </a:extLst>
          </p:cNvPr>
          <p:cNvSpPr>
            <a:spLocks noGrp="1"/>
          </p:cNvSpPr>
          <p:nvPr>
            <p:ph type="title"/>
          </p:nvPr>
        </p:nvSpPr>
        <p:spPr/>
        <p:txBody>
          <a:bodyPr/>
          <a:lstStyle/>
          <a:p>
            <a:r>
              <a:rPr lang="en-US"/>
              <a:t>Click to edit Master title style</a:t>
            </a:r>
          </a:p>
        </p:txBody>
      </p:sp>
      <p:sp>
        <p:nvSpPr>
          <p:cNvPr id="8" name="Text Placeholder 12">
            <a:extLst>
              <a:ext uri="{FF2B5EF4-FFF2-40B4-BE49-F238E27FC236}">
                <a16:creationId xmlns:a16="http://schemas.microsoft.com/office/drawing/2014/main" id="{4A609D49-0095-024E-5BB2-9038836A093E}"/>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4" name="Content Placeholder 7">
            <a:extLst>
              <a:ext uri="{FF2B5EF4-FFF2-40B4-BE49-F238E27FC236}">
                <a16:creationId xmlns:a16="http://schemas.microsoft.com/office/drawing/2014/main" id="{183E6EF1-8833-2EDE-3625-EF15C28AB95F}"/>
              </a:ext>
            </a:extLst>
          </p:cNvPr>
          <p:cNvSpPr>
            <a:spLocks noGrp="1"/>
          </p:cNvSpPr>
          <p:nvPr>
            <p:ph sz="quarter" idx="11" hasCustomPrompt="1"/>
          </p:nvPr>
        </p:nvSpPr>
        <p:spPr>
          <a:xfrm>
            <a:off x="442912" y="1665288"/>
            <a:ext cx="8113077" cy="4211638"/>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7" name="Text Placeholder 9">
            <a:extLst>
              <a:ext uri="{FF2B5EF4-FFF2-40B4-BE49-F238E27FC236}">
                <a16:creationId xmlns:a16="http://schemas.microsoft.com/office/drawing/2014/main" id="{647C61AA-FB92-D2BC-A383-5EDDF4ADFC22}"/>
              </a:ext>
            </a:extLst>
          </p:cNvPr>
          <p:cNvSpPr>
            <a:spLocks noGrp="1"/>
          </p:cNvSpPr>
          <p:nvPr>
            <p:ph type="body" sz="quarter" idx="40"/>
          </p:nvPr>
        </p:nvSpPr>
        <p:spPr>
          <a:xfrm>
            <a:off x="8832850" y="1665288"/>
            <a:ext cx="2916238" cy="4211637"/>
          </a:xfrm>
          <a:solidFill>
            <a:schemeClr val="bg2"/>
          </a:solidFill>
        </p:spPr>
        <p:txBody>
          <a:bodyPr rIns="180000"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71239769"/>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ark blue 2_subheader only">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E7562BF7-B6F2-44EE-A788-FA723912C454}"/>
              </a:ext>
            </a:extLst>
          </p:cNvPr>
          <p:cNvSpPr>
            <a:spLocks noGrp="1"/>
          </p:cNvSpPr>
          <p:nvPr>
            <p:ph type="body" sz="quarter" idx="39" hasCustomPrompt="1"/>
          </p:nvPr>
        </p:nvSpPr>
        <p:spPr>
          <a:xfrm>
            <a:off x="442912" y="1125537"/>
            <a:ext cx="11306176" cy="389812"/>
          </a:xfrm>
          <a:prstGeom prst="rect">
            <a:avLst/>
          </a:prstGeom>
          <a:solidFill>
            <a:schemeClr val="tx2"/>
          </a:solidFill>
          <a:ln>
            <a:noFill/>
          </a:ln>
        </p:spPr>
        <p:txBody>
          <a:bodyPr anchor="ctr">
            <a:noAutofit/>
          </a:bodyPr>
          <a:lstStyle>
            <a:lvl1pPr>
              <a:spcBef>
                <a:spcPts val="0"/>
              </a:spcBef>
              <a:buNone/>
              <a:defRPr sz="1400" b="1">
                <a:solidFill>
                  <a:schemeClr val="bg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bg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2" name="Title 1">
            <a:extLst>
              <a:ext uri="{FF2B5EF4-FFF2-40B4-BE49-F238E27FC236}">
                <a16:creationId xmlns:a16="http://schemas.microsoft.com/office/drawing/2014/main" id="{C8D42DE3-C51C-0B54-F245-8D2DFF2B71F2}"/>
              </a:ext>
            </a:extLst>
          </p:cNvPr>
          <p:cNvSpPr>
            <a:spLocks noGrp="1"/>
          </p:cNvSpPr>
          <p:nvPr>
            <p:ph type="title"/>
          </p:nvPr>
        </p:nvSpPr>
        <p:spPr/>
        <p:txBody>
          <a:bodyPr/>
          <a:lstStyle/>
          <a:p>
            <a:r>
              <a:rPr lang="en-US"/>
              <a:t>Click to edit Master title style</a:t>
            </a:r>
          </a:p>
        </p:txBody>
      </p:sp>
      <p:sp>
        <p:nvSpPr>
          <p:cNvPr id="8" name="Text Placeholder 12">
            <a:extLst>
              <a:ext uri="{FF2B5EF4-FFF2-40B4-BE49-F238E27FC236}">
                <a16:creationId xmlns:a16="http://schemas.microsoft.com/office/drawing/2014/main" id="{4A609D49-0095-024E-5BB2-9038836A093E}"/>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Tree>
    <p:extLst>
      <p:ext uri="{BB962C8B-B14F-4D97-AF65-F5344CB8AC3E}">
        <p14:creationId xmlns:p14="http://schemas.microsoft.com/office/powerpoint/2010/main" val="138617034"/>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ark blue 3_text bottom">
    <p:spTree>
      <p:nvGrpSpPr>
        <p:cNvPr id="1" name=""/>
        <p:cNvGrpSpPr/>
        <p:nvPr/>
      </p:nvGrpSpPr>
      <p:grpSpPr>
        <a:xfrm>
          <a:off x="0" y="0"/>
          <a:ext cx="0" cy="0"/>
          <a:chOff x="0" y="0"/>
          <a:chExt cx="0" cy="0"/>
        </a:xfrm>
      </p:grpSpPr>
      <p:sp>
        <p:nvSpPr>
          <p:cNvPr id="23" name="Content Placeholder 7">
            <a:extLst>
              <a:ext uri="{FF2B5EF4-FFF2-40B4-BE49-F238E27FC236}">
                <a16:creationId xmlns:a16="http://schemas.microsoft.com/office/drawing/2014/main" id="{3A625853-F133-42D4-9ED4-B8929A2AB7E5}"/>
              </a:ext>
            </a:extLst>
          </p:cNvPr>
          <p:cNvSpPr>
            <a:spLocks noGrp="1"/>
          </p:cNvSpPr>
          <p:nvPr>
            <p:ph sz="quarter" idx="11" hasCustomPrompt="1"/>
          </p:nvPr>
        </p:nvSpPr>
        <p:spPr>
          <a:xfrm>
            <a:off x="442911" y="1665288"/>
            <a:ext cx="11306177"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2" name="Title 1">
            <a:extLst>
              <a:ext uri="{FF2B5EF4-FFF2-40B4-BE49-F238E27FC236}">
                <a16:creationId xmlns:a16="http://schemas.microsoft.com/office/drawing/2014/main" id="{587BF979-557A-AC54-8EED-E4F0528BE451}"/>
              </a:ext>
            </a:extLst>
          </p:cNvPr>
          <p:cNvSpPr>
            <a:spLocks noGrp="1"/>
          </p:cNvSpPr>
          <p:nvPr>
            <p:ph type="title"/>
          </p:nvPr>
        </p:nvSpPr>
        <p:spPr/>
        <p:txBody>
          <a:bodyPr/>
          <a:lstStyle/>
          <a:p>
            <a:r>
              <a:rPr lang="en-US"/>
              <a:t>Click to edit Master title style</a:t>
            </a:r>
          </a:p>
        </p:txBody>
      </p:sp>
      <p:sp>
        <p:nvSpPr>
          <p:cNvPr id="6" name="Text Placeholder 12">
            <a:extLst>
              <a:ext uri="{FF2B5EF4-FFF2-40B4-BE49-F238E27FC236}">
                <a16:creationId xmlns:a16="http://schemas.microsoft.com/office/drawing/2014/main" id="{70B52B18-19AD-6E88-EA87-2728CD762852}"/>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7" name="Text Placeholder 12">
            <a:extLst>
              <a:ext uri="{FF2B5EF4-FFF2-40B4-BE49-F238E27FC236}">
                <a16:creationId xmlns:a16="http://schemas.microsoft.com/office/drawing/2014/main" id="{BCDB814C-35CE-FD98-CB83-19715DBD2914}"/>
              </a:ext>
            </a:extLst>
          </p:cNvPr>
          <p:cNvSpPr>
            <a:spLocks noGrp="1"/>
          </p:cNvSpPr>
          <p:nvPr>
            <p:ph type="body" sz="quarter" idx="39" hasCustomPrompt="1"/>
          </p:nvPr>
        </p:nvSpPr>
        <p:spPr>
          <a:xfrm>
            <a:off x="442912" y="1125537"/>
            <a:ext cx="11306176" cy="389812"/>
          </a:xfrm>
          <a:prstGeom prst="rect">
            <a:avLst/>
          </a:prstGeom>
          <a:solidFill>
            <a:schemeClr val="tx2"/>
          </a:solidFill>
          <a:ln>
            <a:noFill/>
          </a:ln>
        </p:spPr>
        <p:txBody>
          <a:bodyPr anchor="ctr">
            <a:noAutofit/>
          </a:bodyPr>
          <a:lstStyle>
            <a:lvl1pPr>
              <a:spcBef>
                <a:spcPts val="0"/>
              </a:spcBef>
              <a:buNone/>
              <a:defRPr sz="1400" b="1">
                <a:solidFill>
                  <a:schemeClr val="bg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bg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4" name="Text Placeholder 9">
            <a:extLst>
              <a:ext uri="{FF2B5EF4-FFF2-40B4-BE49-F238E27FC236}">
                <a16:creationId xmlns:a16="http://schemas.microsoft.com/office/drawing/2014/main" id="{FCF96190-B3E4-5177-E772-71846ACA1560}"/>
              </a:ext>
            </a:extLst>
          </p:cNvPr>
          <p:cNvSpPr>
            <a:spLocks noGrp="1"/>
          </p:cNvSpPr>
          <p:nvPr>
            <p:ph type="body" sz="quarter" idx="40"/>
          </p:nvPr>
        </p:nvSpPr>
        <p:spPr>
          <a:xfrm>
            <a:off x="442912" y="4788815"/>
            <a:ext cx="11306175"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32028662"/>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Front page w/ background color">
    <p:bg>
      <p:bgRef idx="1001">
        <a:schemeClr val="bg1"/>
      </p:bgRef>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8D7A953-BA37-9C0F-3853-14C726E8849A}"/>
              </a:ext>
            </a:extLst>
          </p:cNvPr>
          <p:cNvSpPr>
            <a:spLocks noGrp="1"/>
          </p:cNvSpPr>
          <p:nvPr>
            <p:ph type="body" sz="quarter" idx="15" hasCustomPrompt="1"/>
          </p:nvPr>
        </p:nvSpPr>
        <p:spPr>
          <a:xfrm>
            <a:off x="0" y="0"/>
            <a:ext cx="12192000" cy="6858000"/>
          </a:xfrm>
          <a:solidFill>
            <a:schemeClr val="accent3">
              <a:lumMod val="75000"/>
            </a:schemeClr>
          </a:solidFill>
        </p:spPr>
        <p:txBody>
          <a:bodyPr/>
          <a:lstStyle>
            <a:lvl1pPr marL="0" indent="0">
              <a:buNone/>
              <a:defRPr b="1" i="1">
                <a:solidFill>
                  <a:schemeClr val="bg1"/>
                </a:solidFill>
              </a:defRPr>
            </a:lvl1pPr>
          </a:lstStyle>
          <a:p>
            <a:pPr lvl="0"/>
            <a:r>
              <a:rPr lang="en-US"/>
              <a:t>Edit background color by reformatting this text box</a:t>
            </a:r>
          </a:p>
        </p:txBody>
      </p:sp>
      <p:sp>
        <p:nvSpPr>
          <p:cNvPr id="11" name="cover_orange" hidden="1">
            <a:extLst>
              <a:ext uri="{FF2B5EF4-FFF2-40B4-BE49-F238E27FC236}">
                <a16:creationId xmlns:a16="http://schemas.microsoft.com/office/drawing/2014/main" id="{DCC0C175-F2A0-AD68-7083-EEB86A5E6F20}"/>
              </a:ext>
            </a:extLst>
          </p:cNvPr>
          <p:cNvSpPr/>
          <p:nvPr/>
        </p:nvSpPr>
        <p:spPr>
          <a:xfrm>
            <a:off x="0" y="0"/>
            <a:ext cx="12192000" cy="6858000"/>
          </a:xfrm>
          <a:prstGeom prst="rect">
            <a:avLst/>
          </a:prstGeom>
          <a:gradFill flip="none" rotWithShape="1">
            <a:gsLst>
              <a:gs pos="0">
                <a:srgbClr val="E58843"/>
              </a:gs>
              <a:gs pos="23000">
                <a:srgbClr val="93603F"/>
              </a:gs>
              <a:gs pos="58000">
                <a:srgbClr val="041938"/>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2" name="cover_blue" hidden="1">
            <a:extLst>
              <a:ext uri="{FF2B5EF4-FFF2-40B4-BE49-F238E27FC236}">
                <a16:creationId xmlns:a16="http://schemas.microsoft.com/office/drawing/2014/main" id="{4C332827-3028-710A-50B7-5467D25700A9}"/>
              </a:ext>
            </a:extLst>
          </p:cNvPr>
          <p:cNvSpPr/>
          <p:nvPr/>
        </p:nvSpPr>
        <p:spPr>
          <a:xfrm>
            <a:off x="0" y="0"/>
            <a:ext cx="12192000" cy="6858000"/>
          </a:xfrm>
          <a:prstGeom prst="rect">
            <a:avLst/>
          </a:prstGeom>
          <a:gradFill flip="none" rotWithShape="1">
            <a:gsLst>
              <a:gs pos="23000">
                <a:srgbClr val="497E9E"/>
              </a:gs>
              <a:gs pos="0">
                <a:srgbClr val="67AACB"/>
              </a:gs>
              <a:gs pos="58000">
                <a:srgbClr val="041938"/>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9" name="cover_green" hidden="1">
            <a:extLst>
              <a:ext uri="{FF2B5EF4-FFF2-40B4-BE49-F238E27FC236}">
                <a16:creationId xmlns:a16="http://schemas.microsoft.com/office/drawing/2014/main" id="{E86AEC8B-8467-8511-1D2E-03122177C329}"/>
              </a:ext>
            </a:extLst>
          </p:cNvPr>
          <p:cNvSpPr/>
          <p:nvPr/>
        </p:nvSpPr>
        <p:spPr>
          <a:xfrm>
            <a:off x="0" y="0"/>
            <a:ext cx="12192000" cy="6858000"/>
          </a:xfrm>
          <a:prstGeom prst="rect">
            <a:avLst/>
          </a:prstGeom>
          <a:gradFill flip="none" rotWithShape="1">
            <a:gsLst>
              <a:gs pos="23000">
                <a:srgbClr val="748367"/>
              </a:gs>
              <a:gs pos="0">
                <a:srgbClr val="DCE692"/>
              </a:gs>
              <a:gs pos="58000">
                <a:srgbClr val="041938"/>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25" name="Title 1">
            <a:extLst>
              <a:ext uri="{FF2B5EF4-FFF2-40B4-BE49-F238E27FC236}">
                <a16:creationId xmlns:a16="http://schemas.microsoft.com/office/drawing/2014/main" id="{896689C1-E7A9-4DFC-A32E-FE74168165BB}"/>
              </a:ext>
            </a:extLst>
          </p:cNvPr>
          <p:cNvSpPr>
            <a:spLocks noGrp="1"/>
          </p:cNvSpPr>
          <p:nvPr>
            <p:ph type="ctrTitle" hasCustomPrompt="1"/>
          </p:nvPr>
        </p:nvSpPr>
        <p:spPr>
          <a:xfrm>
            <a:off x="552244" y="1093632"/>
            <a:ext cx="11046276" cy="2335373"/>
          </a:xfrm>
          <a:prstGeom prst="rect">
            <a:avLst/>
          </a:prstGeom>
        </p:spPr>
        <p:txBody>
          <a:bodyPr anchor="b">
            <a:normAutofit/>
          </a:bodyPr>
          <a:lstStyle>
            <a:lvl1pPr algn="l">
              <a:defRPr sz="6000">
                <a:solidFill>
                  <a:schemeClr val="bg1"/>
                </a:solidFill>
                <a:latin typeface="Ubuntu" panose="020B0504030602030204" pitchFamily="34" charset="0"/>
                <a:cs typeface="Calibri Light" panose="020F0302020204030204" pitchFamily="34" charset="0"/>
              </a:defRPr>
            </a:lvl1pPr>
          </a:lstStyle>
          <a:p>
            <a:r>
              <a:rPr lang="en-US"/>
              <a:t>Click to Edit Report Title</a:t>
            </a:r>
          </a:p>
        </p:txBody>
      </p:sp>
      <p:sp>
        <p:nvSpPr>
          <p:cNvPr id="26" name="Subtitle 2">
            <a:extLst>
              <a:ext uri="{FF2B5EF4-FFF2-40B4-BE49-F238E27FC236}">
                <a16:creationId xmlns:a16="http://schemas.microsoft.com/office/drawing/2014/main" id="{F03857F0-C570-4C45-9543-8E15849E8BE4}"/>
              </a:ext>
            </a:extLst>
          </p:cNvPr>
          <p:cNvSpPr>
            <a:spLocks noGrp="1"/>
          </p:cNvSpPr>
          <p:nvPr>
            <p:ph type="subTitle" idx="1" hasCustomPrompt="1"/>
          </p:nvPr>
        </p:nvSpPr>
        <p:spPr>
          <a:xfrm>
            <a:off x="552244" y="3359049"/>
            <a:ext cx="11046276" cy="350162"/>
          </a:xfrm>
          <a:prstGeom prst="rect">
            <a:avLst/>
          </a:prstGeom>
        </p:spPr>
        <p:txBody>
          <a:bodyPr>
            <a:noAutofit/>
          </a:bodyPr>
          <a:lstStyle>
            <a:lvl1pPr marL="0" indent="0" algn="l">
              <a:buNone/>
              <a:defRPr sz="3000" b="0">
                <a:solidFill>
                  <a:srgbClr val="DC8E63"/>
                </a:solidFill>
                <a:latin typeface="Ubuntu" panose="020B0504030602030204" pitchFamily="34" charset="0"/>
                <a:cs typeface="Calibri Light" panose="020F0302020204030204" pitchFamily="34" charset="0"/>
              </a:defRPr>
            </a:lvl1pPr>
            <a:lvl2pPr marL="422051" indent="0" algn="ctr">
              <a:buNone/>
              <a:defRPr sz="1846"/>
            </a:lvl2pPr>
            <a:lvl3pPr marL="844104" indent="0" algn="ctr">
              <a:buNone/>
              <a:defRPr sz="1662"/>
            </a:lvl3pPr>
            <a:lvl4pPr marL="1266156" indent="0" algn="ctr">
              <a:buNone/>
              <a:defRPr sz="1477"/>
            </a:lvl4pPr>
            <a:lvl5pPr marL="1688207" indent="0" algn="ctr">
              <a:buNone/>
              <a:defRPr sz="1477"/>
            </a:lvl5pPr>
            <a:lvl6pPr marL="2110260" indent="0" algn="ctr">
              <a:buNone/>
              <a:defRPr sz="1477"/>
            </a:lvl6pPr>
            <a:lvl7pPr marL="2532312" indent="0" algn="ctr">
              <a:buNone/>
              <a:defRPr sz="1477"/>
            </a:lvl7pPr>
            <a:lvl8pPr marL="2954363" indent="0" algn="ctr">
              <a:buNone/>
              <a:defRPr sz="1477"/>
            </a:lvl8pPr>
            <a:lvl9pPr marL="3376415" indent="0" algn="ctr">
              <a:buNone/>
              <a:defRPr sz="1477"/>
            </a:lvl9pPr>
          </a:lstStyle>
          <a:p>
            <a:r>
              <a:rPr lang="en-US"/>
              <a:t>Click to edit Edition</a:t>
            </a:r>
          </a:p>
        </p:txBody>
      </p:sp>
      <p:sp>
        <p:nvSpPr>
          <p:cNvPr id="27" name="Text Placeholder 11">
            <a:extLst>
              <a:ext uri="{FF2B5EF4-FFF2-40B4-BE49-F238E27FC236}">
                <a16:creationId xmlns:a16="http://schemas.microsoft.com/office/drawing/2014/main" id="{16EA4C8E-A0B0-4C66-A696-815EF3CFC32C}"/>
              </a:ext>
            </a:extLst>
          </p:cNvPr>
          <p:cNvSpPr>
            <a:spLocks noGrp="1"/>
          </p:cNvSpPr>
          <p:nvPr>
            <p:ph type="body" sz="quarter" idx="10" hasCustomPrompt="1"/>
          </p:nvPr>
        </p:nvSpPr>
        <p:spPr>
          <a:xfrm>
            <a:off x="598358" y="5764373"/>
            <a:ext cx="6502400" cy="252344"/>
          </a:xfrm>
          <a:prstGeom prst="rect">
            <a:avLst/>
          </a:prstGeom>
        </p:spPr>
        <p:txBody>
          <a:bodyPr>
            <a:noAutofit/>
          </a:bodyPr>
          <a:lstStyle>
            <a:lvl1pPr marL="0" indent="0">
              <a:buNone/>
              <a:defRPr sz="1800" b="1">
                <a:solidFill>
                  <a:srgbClr val="DC8E63"/>
                </a:solidFill>
                <a:latin typeface="Ubuntu" panose="020B0504030602030204" pitchFamily="34" charset="0"/>
                <a:cs typeface="Calibri" panose="020F0502020204030204" pitchFamily="34" charset="0"/>
              </a:defRPr>
            </a:lvl1pPr>
          </a:lstStyle>
          <a:p>
            <a:pPr lvl="0"/>
            <a:r>
              <a:rPr lang="en-US"/>
              <a:t>Click to Edit Product Group</a:t>
            </a:r>
          </a:p>
        </p:txBody>
      </p:sp>
      <p:sp>
        <p:nvSpPr>
          <p:cNvPr id="28" name="Text Placeholder 11">
            <a:extLst>
              <a:ext uri="{FF2B5EF4-FFF2-40B4-BE49-F238E27FC236}">
                <a16:creationId xmlns:a16="http://schemas.microsoft.com/office/drawing/2014/main" id="{3014D09D-A936-4A9F-9A8E-397483710552}"/>
              </a:ext>
            </a:extLst>
          </p:cNvPr>
          <p:cNvSpPr>
            <a:spLocks noGrp="1"/>
          </p:cNvSpPr>
          <p:nvPr>
            <p:ph type="body" sz="quarter" idx="12" hasCustomPrompt="1"/>
          </p:nvPr>
        </p:nvSpPr>
        <p:spPr>
          <a:xfrm>
            <a:off x="598358" y="6016717"/>
            <a:ext cx="6502400" cy="349250"/>
          </a:xfrm>
          <a:prstGeom prst="rect">
            <a:avLst/>
          </a:prstGeom>
        </p:spPr>
        <p:txBody>
          <a:bodyPr>
            <a:normAutofit/>
          </a:bodyPr>
          <a:lstStyle>
            <a:lvl1pPr marL="0" indent="0">
              <a:buNone/>
              <a:defRPr sz="1400" b="0">
                <a:solidFill>
                  <a:schemeClr val="bg1"/>
                </a:solidFill>
                <a:latin typeface="Ubuntu" panose="020B0504030602030204" pitchFamily="34" charset="0"/>
                <a:cs typeface="Calibri" panose="020F0502020204030204" pitchFamily="34" charset="0"/>
              </a:defRPr>
            </a:lvl1pPr>
          </a:lstStyle>
          <a:p>
            <a:pPr lvl="0"/>
            <a:r>
              <a:rPr lang="en-US"/>
              <a:t>Click to Edit Date</a:t>
            </a:r>
          </a:p>
        </p:txBody>
      </p:sp>
      <p:sp>
        <p:nvSpPr>
          <p:cNvPr id="29" name="Text Placeholder 4">
            <a:extLst>
              <a:ext uri="{FF2B5EF4-FFF2-40B4-BE49-F238E27FC236}">
                <a16:creationId xmlns:a16="http://schemas.microsoft.com/office/drawing/2014/main" id="{00FDF6E3-F93B-4EF3-971E-FF35FD95E179}"/>
              </a:ext>
            </a:extLst>
          </p:cNvPr>
          <p:cNvSpPr>
            <a:spLocks noGrp="1"/>
          </p:cNvSpPr>
          <p:nvPr>
            <p:ph type="body" sz="quarter" idx="13" hasCustomPrompt="1"/>
          </p:nvPr>
        </p:nvSpPr>
        <p:spPr>
          <a:xfrm>
            <a:off x="550459" y="4286095"/>
            <a:ext cx="11048059" cy="674687"/>
          </a:xfrm>
          <a:prstGeom prst="rect">
            <a:avLst/>
          </a:prstGeom>
        </p:spPr>
        <p:txBody>
          <a:bodyPr/>
          <a:lstStyle>
            <a:lvl1pPr marL="0" indent="0">
              <a:buNone/>
              <a:defRPr sz="2000">
                <a:solidFill>
                  <a:schemeClr val="bg1"/>
                </a:solidFill>
                <a:latin typeface="Ubuntu" panose="020B0504030602030204" pitchFamily="34" charset="0"/>
                <a:cs typeface="Calibri" panose="020F0502020204030204" pitchFamily="34" charset="0"/>
              </a:defRPr>
            </a:lvl1pPr>
          </a:lstStyle>
          <a:p>
            <a:pPr lvl="0"/>
            <a:r>
              <a:rPr lang="en-US"/>
              <a:t>Click to edit Sub-Head Text</a:t>
            </a:r>
          </a:p>
        </p:txBody>
      </p:sp>
      <p:sp>
        <p:nvSpPr>
          <p:cNvPr id="5" name="Picture Placeholder 4">
            <a:extLst>
              <a:ext uri="{FF2B5EF4-FFF2-40B4-BE49-F238E27FC236}">
                <a16:creationId xmlns:a16="http://schemas.microsoft.com/office/drawing/2014/main" id="{324FE1BE-6F25-FD93-F65D-D1E14094667A}"/>
              </a:ext>
            </a:extLst>
          </p:cNvPr>
          <p:cNvSpPr>
            <a:spLocks noGrp="1"/>
          </p:cNvSpPr>
          <p:nvPr>
            <p:ph type="pic" sz="quarter" idx="14" hasCustomPrompt="1"/>
          </p:nvPr>
        </p:nvSpPr>
        <p:spPr>
          <a:xfrm>
            <a:off x="10501442" y="5464750"/>
            <a:ext cx="1080000" cy="1080000"/>
          </a:xfrm>
          <a:prstGeom prst="rect">
            <a:avLst/>
          </a:prstGeom>
        </p:spPr>
        <p:txBody>
          <a:bodyPr>
            <a:normAutofit/>
          </a:bodyPr>
          <a:lstStyle>
            <a:lvl1pPr>
              <a:defRPr sz="1000">
                <a:solidFill>
                  <a:schemeClr val="bg1"/>
                </a:solidFill>
              </a:defRPr>
            </a:lvl1pPr>
          </a:lstStyle>
          <a:p>
            <a:r>
              <a:rPr lang="en-US"/>
              <a:t>Placeholder for client logo</a:t>
            </a:r>
            <a:endParaRPr lang="en-GB"/>
          </a:p>
        </p:txBody>
      </p:sp>
    </p:spTree>
    <p:extLst>
      <p:ext uri="{BB962C8B-B14F-4D97-AF65-F5344CB8AC3E}">
        <p14:creationId xmlns:p14="http://schemas.microsoft.com/office/powerpoint/2010/main" val="908446565"/>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ark blue 4_two chart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BF979-557A-AC54-8EED-E4F0528BE451}"/>
              </a:ext>
            </a:extLst>
          </p:cNvPr>
          <p:cNvSpPr>
            <a:spLocks noGrp="1"/>
          </p:cNvSpPr>
          <p:nvPr>
            <p:ph type="title"/>
          </p:nvPr>
        </p:nvSpPr>
        <p:spPr/>
        <p:txBody>
          <a:bodyPr/>
          <a:lstStyle/>
          <a:p>
            <a:r>
              <a:rPr lang="en-US"/>
              <a:t>Click to edit Master title style</a:t>
            </a:r>
          </a:p>
        </p:txBody>
      </p:sp>
      <p:sp>
        <p:nvSpPr>
          <p:cNvPr id="6" name="Text Placeholder 12">
            <a:extLst>
              <a:ext uri="{FF2B5EF4-FFF2-40B4-BE49-F238E27FC236}">
                <a16:creationId xmlns:a16="http://schemas.microsoft.com/office/drawing/2014/main" id="{70B52B18-19AD-6E88-EA87-2728CD762852}"/>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7" name="Text Placeholder 12">
            <a:extLst>
              <a:ext uri="{FF2B5EF4-FFF2-40B4-BE49-F238E27FC236}">
                <a16:creationId xmlns:a16="http://schemas.microsoft.com/office/drawing/2014/main" id="{BCDB814C-35CE-FD98-CB83-19715DBD2914}"/>
              </a:ext>
            </a:extLst>
          </p:cNvPr>
          <p:cNvSpPr>
            <a:spLocks noGrp="1"/>
          </p:cNvSpPr>
          <p:nvPr>
            <p:ph type="body" sz="quarter" idx="39" hasCustomPrompt="1"/>
          </p:nvPr>
        </p:nvSpPr>
        <p:spPr>
          <a:xfrm>
            <a:off x="442911" y="1125537"/>
            <a:ext cx="5509090" cy="389812"/>
          </a:xfrm>
          <a:prstGeom prst="rect">
            <a:avLst/>
          </a:prstGeom>
          <a:solidFill>
            <a:schemeClr val="tx2"/>
          </a:solidFill>
          <a:ln>
            <a:noFill/>
          </a:ln>
        </p:spPr>
        <p:txBody>
          <a:bodyPr anchor="ctr">
            <a:noAutofit/>
          </a:bodyPr>
          <a:lstStyle>
            <a:lvl1pPr>
              <a:spcBef>
                <a:spcPts val="0"/>
              </a:spcBef>
              <a:buNone/>
              <a:defRPr sz="1400" b="1">
                <a:solidFill>
                  <a:schemeClr val="bg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bg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8" name="Text Placeholder 12">
            <a:extLst>
              <a:ext uri="{FF2B5EF4-FFF2-40B4-BE49-F238E27FC236}">
                <a16:creationId xmlns:a16="http://schemas.microsoft.com/office/drawing/2014/main" id="{38FFE35F-E930-F1D1-4666-894B64EFF4FA}"/>
              </a:ext>
            </a:extLst>
          </p:cNvPr>
          <p:cNvSpPr>
            <a:spLocks noGrp="1"/>
          </p:cNvSpPr>
          <p:nvPr>
            <p:ph type="body" sz="quarter" idx="44" hasCustomPrompt="1"/>
          </p:nvPr>
        </p:nvSpPr>
        <p:spPr>
          <a:xfrm>
            <a:off x="6239699" y="1125537"/>
            <a:ext cx="5509088" cy="389812"/>
          </a:xfrm>
          <a:prstGeom prst="rect">
            <a:avLst/>
          </a:prstGeom>
          <a:solidFill>
            <a:schemeClr val="tx2"/>
          </a:solidFill>
          <a:ln>
            <a:noFill/>
          </a:ln>
        </p:spPr>
        <p:txBody>
          <a:bodyPr anchor="ctr">
            <a:noAutofit/>
          </a:bodyPr>
          <a:lstStyle>
            <a:lvl1pPr>
              <a:spcBef>
                <a:spcPts val="0"/>
              </a:spcBef>
              <a:buNone/>
              <a:defRPr sz="1400" b="1">
                <a:solidFill>
                  <a:schemeClr val="bg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bg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9" name="Content Placeholder 7">
            <a:extLst>
              <a:ext uri="{FF2B5EF4-FFF2-40B4-BE49-F238E27FC236}">
                <a16:creationId xmlns:a16="http://schemas.microsoft.com/office/drawing/2014/main" id="{2A1FC6B0-B6F6-DDE1-0C09-579481B278E7}"/>
              </a:ext>
            </a:extLst>
          </p:cNvPr>
          <p:cNvSpPr>
            <a:spLocks noGrp="1"/>
          </p:cNvSpPr>
          <p:nvPr>
            <p:ph sz="quarter" idx="11" hasCustomPrompt="1"/>
          </p:nvPr>
        </p:nvSpPr>
        <p:spPr>
          <a:xfrm>
            <a:off x="442912" y="1665288"/>
            <a:ext cx="5509090"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11" name="Content Placeholder 7">
            <a:extLst>
              <a:ext uri="{FF2B5EF4-FFF2-40B4-BE49-F238E27FC236}">
                <a16:creationId xmlns:a16="http://schemas.microsoft.com/office/drawing/2014/main" id="{7ECB97D4-0FCA-E41D-F61D-AA2ABED8BB39}"/>
              </a:ext>
            </a:extLst>
          </p:cNvPr>
          <p:cNvSpPr>
            <a:spLocks noGrp="1"/>
          </p:cNvSpPr>
          <p:nvPr>
            <p:ph sz="quarter" idx="45" hasCustomPrompt="1"/>
          </p:nvPr>
        </p:nvSpPr>
        <p:spPr>
          <a:xfrm>
            <a:off x="6239998" y="1665288"/>
            <a:ext cx="5509090"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3" name="Text Placeholder 9">
            <a:extLst>
              <a:ext uri="{FF2B5EF4-FFF2-40B4-BE49-F238E27FC236}">
                <a16:creationId xmlns:a16="http://schemas.microsoft.com/office/drawing/2014/main" id="{0500D9CD-1C48-DBAE-AA7B-E923759F3744}"/>
              </a:ext>
            </a:extLst>
          </p:cNvPr>
          <p:cNvSpPr>
            <a:spLocks noGrp="1"/>
          </p:cNvSpPr>
          <p:nvPr>
            <p:ph type="body" sz="quarter" idx="40"/>
          </p:nvPr>
        </p:nvSpPr>
        <p:spPr>
          <a:xfrm>
            <a:off x="442912" y="4788815"/>
            <a:ext cx="5509089"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9">
            <a:extLst>
              <a:ext uri="{FF2B5EF4-FFF2-40B4-BE49-F238E27FC236}">
                <a16:creationId xmlns:a16="http://schemas.microsoft.com/office/drawing/2014/main" id="{1ABCD098-0E66-21EE-1FE2-98AA63DDE232}"/>
              </a:ext>
            </a:extLst>
          </p:cNvPr>
          <p:cNvSpPr>
            <a:spLocks noGrp="1"/>
          </p:cNvSpPr>
          <p:nvPr>
            <p:ph type="body" sz="quarter" idx="46"/>
          </p:nvPr>
        </p:nvSpPr>
        <p:spPr>
          <a:xfrm>
            <a:off x="6239999" y="4788815"/>
            <a:ext cx="5509089"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46888157"/>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ark blue 5_two charts horizont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BF979-557A-AC54-8EED-E4F0528BE451}"/>
              </a:ext>
            </a:extLst>
          </p:cNvPr>
          <p:cNvSpPr>
            <a:spLocks noGrp="1"/>
          </p:cNvSpPr>
          <p:nvPr>
            <p:ph type="title"/>
          </p:nvPr>
        </p:nvSpPr>
        <p:spPr/>
        <p:txBody>
          <a:bodyPr/>
          <a:lstStyle/>
          <a:p>
            <a:r>
              <a:rPr lang="en-US"/>
              <a:t>Click to edit Master title style</a:t>
            </a:r>
          </a:p>
        </p:txBody>
      </p:sp>
      <p:sp>
        <p:nvSpPr>
          <p:cNvPr id="6" name="Text Placeholder 12">
            <a:extLst>
              <a:ext uri="{FF2B5EF4-FFF2-40B4-BE49-F238E27FC236}">
                <a16:creationId xmlns:a16="http://schemas.microsoft.com/office/drawing/2014/main" id="{70B52B18-19AD-6E88-EA87-2728CD762852}"/>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7" name="Text Placeholder 12">
            <a:extLst>
              <a:ext uri="{FF2B5EF4-FFF2-40B4-BE49-F238E27FC236}">
                <a16:creationId xmlns:a16="http://schemas.microsoft.com/office/drawing/2014/main" id="{BCDB814C-35CE-FD98-CB83-19715DBD2914}"/>
              </a:ext>
            </a:extLst>
          </p:cNvPr>
          <p:cNvSpPr>
            <a:spLocks noGrp="1"/>
          </p:cNvSpPr>
          <p:nvPr>
            <p:ph type="body" sz="quarter" idx="39" hasCustomPrompt="1"/>
          </p:nvPr>
        </p:nvSpPr>
        <p:spPr>
          <a:xfrm>
            <a:off x="442912" y="1125537"/>
            <a:ext cx="11306176" cy="389812"/>
          </a:xfrm>
          <a:prstGeom prst="rect">
            <a:avLst/>
          </a:prstGeom>
          <a:solidFill>
            <a:schemeClr val="tx2"/>
          </a:solidFill>
          <a:ln>
            <a:noFill/>
          </a:ln>
        </p:spPr>
        <p:txBody>
          <a:bodyPr anchor="ctr">
            <a:noAutofit/>
          </a:bodyPr>
          <a:lstStyle>
            <a:lvl1pPr>
              <a:spcBef>
                <a:spcPts val="0"/>
              </a:spcBef>
              <a:buNone/>
              <a:defRPr sz="1400" b="1">
                <a:solidFill>
                  <a:schemeClr val="bg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bg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8" name="Text Placeholder 12">
            <a:extLst>
              <a:ext uri="{FF2B5EF4-FFF2-40B4-BE49-F238E27FC236}">
                <a16:creationId xmlns:a16="http://schemas.microsoft.com/office/drawing/2014/main" id="{B8DC2296-A7D3-317C-507D-D4DED1F67662}"/>
              </a:ext>
            </a:extLst>
          </p:cNvPr>
          <p:cNvSpPr>
            <a:spLocks noGrp="1"/>
          </p:cNvSpPr>
          <p:nvPr>
            <p:ph type="body" sz="quarter" idx="42" hasCustomPrompt="1"/>
          </p:nvPr>
        </p:nvSpPr>
        <p:spPr>
          <a:xfrm>
            <a:off x="442912" y="3618451"/>
            <a:ext cx="11306176" cy="389812"/>
          </a:xfrm>
          <a:prstGeom prst="rect">
            <a:avLst/>
          </a:prstGeom>
          <a:solidFill>
            <a:srgbClr val="44546A"/>
          </a:solidFill>
          <a:ln>
            <a:noFill/>
          </a:ln>
        </p:spPr>
        <p:txBody>
          <a:bodyPr anchor="ctr">
            <a:noAutofit/>
          </a:bodyPr>
          <a:lstStyle>
            <a:lvl1pPr>
              <a:spcBef>
                <a:spcPts val="0"/>
              </a:spcBef>
              <a:buNone/>
              <a:defRPr sz="1400" b="1">
                <a:solidFill>
                  <a:schemeClr val="bg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bg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4" name="Content Placeholder 7">
            <a:extLst>
              <a:ext uri="{FF2B5EF4-FFF2-40B4-BE49-F238E27FC236}">
                <a16:creationId xmlns:a16="http://schemas.microsoft.com/office/drawing/2014/main" id="{39501309-1017-5075-0A0E-B27D6D964BC4}"/>
              </a:ext>
            </a:extLst>
          </p:cNvPr>
          <p:cNvSpPr>
            <a:spLocks noGrp="1"/>
          </p:cNvSpPr>
          <p:nvPr>
            <p:ph sz="quarter" idx="11" hasCustomPrompt="1"/>
          </p:nvPr>
        </p:nvSpPr>
        <p:spPr>
          <a:xfrm>
            <a:off x="442912" y="1665288"/>
            <a:ext cx="8113077" cy="176371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12" name="Content Placeholder 7">
            <a:extLst>
              <a:ext uri="{FF2B5EF4-FFF2-40B4-BE49-F238E27FC236}">
                <a16:creationId xmlns:a16="http://schemas.microsoft.com/office/drawing/2014/main" id="{87A16C12-13EA-0F9A-C2D6-B00A6FC0D5ED}"/>
              </a:ext>
            </a:extLst>
          </p:cNvPr>
          <p:cNvSpPr>
            <a:spLocks noGrp="1"/>
          </p:cNvSpPr>
          <p:nvPr>
            <p:ph sz="quarter" idx="43" hasCustomPrompt="1"/>
          </p:nvPr>
        </p:nvSpPr>
        <p:spPr>
          <a:xfrm>
            <a:off x="442912" y="4112233"/>
            <a:ext cx="8113077" cy="176371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3" name="Text Placeholder 9">
            <a:extLst>
              <a:ext uri="{FF2B5EF4-FFF2-40B4-BE49-F238E27FC236}">
                <a16:creationId xmlns:a16="http://schemas.microsoft.com/office/drawing/2014/main" id="{A273C037-3844-F92E-0469-614A63CA023C}"/>
              </a:ext>
            </a:extLst>
          </p:cNvPr>
          <p:cNvSpPr>
            <a:spLocks noGrp="1"/>
          </p:cNvSpPr>
          <p:nvPr>
            <p:ph type="body" sz="quarter" idx="40"/>
          </p:nvPr>
        </p:nvSpPr>
        <p:spPr>
          <a:xfrm>
            <a:off x="8832850" y="1665289"/>
            <a:ext cx="2916238" cy="1763712"/>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9">
            <a:extLst>
              <a:ext uri="{FF2B5EF4-FFF2-40B4-BE49-F238E27FC236}">
                <a16:creationId xmlns:a16="http://schemas.microsoft.com/office/drawing/2014/main" id="{C54D80A5-AC9C-6F18-E308-FB389C9F961B}"/>
              </a:ext>
            </a:extLst>
          </p:cNvPr>
          <p:cNvSpPr>
            <a:spLocks noGrp="1"/>
          </p:cNvSpPr>
          <p:nvPr>
            <p:ph type="body" sz="quarter" idx="44"/>
          </p:nvPr>
        </p:nvSpPr>
        <p:spPr>
          <a:xfrm>
            <a:off x="8832850" y="4113213"/>
            <a:ext cx="2916238" cy="1763712"/>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52541317"/>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ark blue 6_three chart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BF979-557A-AC54-8EED-E4F0528BE451}"/>
              </a:ext>
            </a:extLst>
          </p:cNvPr>
          <p:cNvSpPr>
            <a:spLocks noGrp="1"/>
          </p:cNvSpPr>
          <p:nvPr>
            <p:ph type="title"/>
          </p:nvPr>
        </p:nvSpPr>
        <p:spPr/>
        <p:txBody>
          <a:bodyPr/>
          <a:lstStyle/>
          <a:p>
            <a:r>
              <a:rPr lang="en-US"/>
              <a:t>Click to edit Master title style</a:t>
            </a:r>
          </a:p>
        </p:txBody>
      </p:sp>
      <p:sp>
        <p:nvSpPr>
          <p:cNvPr id="6" name="Text Placeholder 12">
            <a:extLst>
              <a:ext uri="{FF2B5EF4-FFF2-40B4-BE49-F238E27FC236}">
                <a16:creationId xmlns:a16="http://schemas.microsoft.com/office/drawing/2014/main" id="{70B52B18-19AD-6E88-EA87-2728CD762852}"/>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11" name="Content Placeholder 7">
            <a:extLst>
              <a:ext uri="{FF2B5EF4-FFF2-40B4-BE49-F238E27FC236}">
                <a16:creationId xmlns:a16="http://schemas.microsoft.com/office/drawing/2014/main" id="{7ECB97D4-0FCA-E41D-F61D-AA2ABED8BB39}"/>
              </a:ext>
            </a:extLst>
          </p:cNvPr>
          <p:cNvSpPr>
            <a:spLocks noGrp="1"/>
          </p:cNvSpPr>
          <p:nvPr>
            <p:ph sz="quarter" idx="45" hasCustomPrompt="1"/>
          </p:nvPr>
        </p:nvSpPr>
        <p:spPr>
          <a:xfrm>
            <a:off x="8120634" y="1665288"/>
            <a:ext cx="3628456"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4" name="Content Placeholder 7">
            <a:extLst>
              <a:ext uri="{FF2B5EF4-FFF2-40B4-BE49-F238E27FC236}">
                <a16:creationId xmlns:a16="http://schemas.microsoft.com/office/drawing/2014/main" id="{4706E6F2-AECB-A517-CF5C-480A9806105B}"/>
              </a:ext>
            </a:extLst>
          </p:cNvPr>
          <p:cNvSpPr>
            <a:spLocks noGrp="1"/>
          </p:cNvSpPr>
          <p:nvPr>
            <p:ph sz="quarter" idx="48" hasCustomPrompt="1"/>
          </p:nvPr>
        </p:nvSpPr>
        <p:spPr>
          <a:xfrm>
            <a:off x="4281923" y="1665288"/>
            <a:ext cx="3628456"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14" name="Content Placeholder 7">
            <a:extLst>
              <a:ext uri="{FF2B5EF4-FFF2-40B4-BE49-F238E27FC236}">
                <a16:creationId xmlns:a16="http://schemas.microsoft.com/office/drawing/2014/main" id="{DD731D20-ABA9-207C-6E14-047E34F5EB9A}"/>
              </a:ext>
            </a:extLst>
          </p:cNvPr>
          <p:cNvSpPr>
            <a:spLocks noGrp="1"/>
          </p:cNvSpPr>
          <p:nvPr>
            <p:ph sz="quarter" idx="51" hasCustomPrompt="1"/>
          </p:nvPr>
        </p:nvSpPr>
        <p:spPr>
          <a:xfrm>
            <a:off x="443212" y="1665288"/>
            <a:ext cx="3628456"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7" name="Text Placeholder 12">
            <a:extLst>
              <a:ext uri="{FF2B5EF4-FFF2-40B4-BE49-F238E27FC236}">
                <a16:creationId xmlns:a16="http://schemas.microsoft.com/office/drawing/2014/main" id="{BF99836F-F2A2-938B-A185-0008A82A1241}"/>
              </a:ext>
            </a:extLst>
          </p:cNvPr>
          <p:cNvSpPr>
            <a:spLocks noGrp="1"/>
          </p:cNvSpPr>
          <p:nvPr>
            <p:ph type="body" sz="quarter" idx="44" hasCustomPrompt="1"/>
          </p:nvPr>
        </p:nvSpPr>
        <p:spPr>
          <a:xfrm>
            <a:off x="8120334" y="1125537"/>
            <a:ext cx="3628455" cy="389812"/>
          </a:xfrm>
          <a:prstGeom prst="rect">
            <a:avLst/>
          </a:prstGeom>
          <a:solidFill>
            <a:srgbClr val="44546A"/>
          </a:solidFill>
          <a:ln>
            <a:noFill/>
          </a:ln>
        </p:spPr>
        <p:txBody>
          <a:bodyPr anchor="ctr">
            <a:noAutofit/>
          </a:bodyPr>
          <a:lstStyle>
            <a:lvl1pPr>
              <a:spcBef>
                <a:spcPts val="0"/>
              </a:spcBef>
              <a:buNone/>
              <a:defRPr sz="1400" b="1">
                <a:solidFill>
                  <a:schemeClr val="bg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bg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9" name="Text Placeholder 12">
            <a:extLst>
              <a:ext uri="{FF2B5EF4-FFF2-40B4-BE49-F238E27FC236}">
                <a16:creationId xmlns:a16="http://schemas.microsoft.com/office/drawing/2014/main" id="{7B560AE9-8F34-79AA-D35A-73CE32ADB7F0}"/>
              </a:ext>
            </a:extLst>
          </p:cNvPr>
          <p:cNvSpPr>
            <a:spLocks noGrp="1"/>
          </p:cNvSpPr>
          <p:nvPr>
            <p:ph type="body" sz="quarter" idx="47" hasCustomPrompt="1"/>
          </p:nvPr>
        </p:nvSpPr>
        <p:spPr>
          <a:xfrm>
            <a:off x="4281623" y="1125537"/>
            <a:ext cx="3628455" cy="389812"/>
          </a:xfrm>
          <a:prstGeom prst="rect">
            <a:avLst/>
          </a:prstGeom>
          <a:solidFill>
            <a:srgbClr val="44546A"/>
          </a:solidFill>
          <a:ln>
            <a:noFill/>
          </a:ln>
        </p:spPr>
        <p:txBody>
          <a:bodyPr anchor="ctr">
            <a:noAutofit/>
          </a:bodyPr>
          <a:lstStyle>
            <a:lvl1pPr>
              <a:spcBef>
                <a:spcPts val="0"/>
              </a:spcBef>
              <a:buNone/>
              <a:defRPr sz="1400" b="1">
                <a:solidFill>
                  <a:schemeClr val="bg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bg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10" name="Text Placeholder 12">
            <a:extLst>
              <a:ext uri="{FF2B5EF4-FFF2-40B4-BE49-F238E27FC236}">
                <a16:creationId xmlns:a16="http://schemas.microsoft.com/office/drawing/2014/main" id="{02A40472-AECD-1089-115E-F17151A7EC6A}"/>
              </a:ext>
            </a:extLst>
          </p:cNvPr>
          <p:cNvSpPr>
            <a:spLocks noGrp="1"/>
          </p:cNvSpPr>
          <p:nvPr>
            <p:ph type="body" sz="quarter" idx="50" hasCustomPrompt="1"/>
          </p:nvPr>
        </p:nvSpPr>
        <p:spPr>
          <a:xfrm>
            <a:off x="442912" y="1125537"/>
            <a:ext cx="3628455" cy="389812"/>
          </a:xfrm>
          <a:prstGeom prst="rect">
            <a:avLst/>
          </a:prstGeom>
          <a:solidFill>
            <a:srgbClr val="44546A"/>
          </a:solidFill>
          <a:ln>
            <a:noFill/>
          </a:ln>
        </p:spPr>
        <p:txBody>
          <a:bodyPr anchor="ctr">
            <a:noAutofit/>
          </a:bodyPr>
          <a:lstStyle>
            <a:lvl1pPr>
              <a:spcBef>
                <a:spcPts val="0"/>
              </a:spcBef>
              <a:buNone/>
              <a:defRPr sz="1400" b="1">
                <a:solidFill>
                  <a:schemeClr val="bg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bg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16" name="Text Placeholder 9">
            <a:extLst>
              <a:ext uri="{FF2B5EF4-FFF2-40B4-BE49-F238E27FC236}">
                <a16:creationId xmlns:a16="http://schemas.microsoft.com/office/drawing/2014/main" id="{D60EA430-DF55-5523-9E7D-45C9788AE2E1}"/>
              </a:ext>
            </a:extLst>
          </p:cNvPr>
          <p:cNvSpPr>
            <a:spLocks noGrp="1"/>
          </p:cNvSpPr>
          <p:nvPr>
            <p:ph type="body" sz="quarter" idx="40"/>
          </p:nvPr>
        </p:nvSpPr>
        <p:spPr>
          <a:xfrm>
            <a:off x="442912" y="4788815"/>
            <a:ext cx="3625387"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9">
            <a:extLst>
              <a:ext uri="{FF2B5EF4-FFF2-40B4-BE49-F238E27FC236}">
                <a16:creationId xmlns:a16="http://schemas.microsoft.com/office/drawing/2014/main" id="{B09BD740-A13E-293F-FB47-02F1FB2B1769}"/>
              </a:ext>
            </a:extLst>
          </p:cNvPr>
          <p:cNvSpPr>
            <a:spLocks noGrp="1"/>
          </p:cNvSpPr>
          <p:nvPr>
            <p:ph type="body" sz="quarter" idx="55"/>
          </p:nvPr>
        </p:nvSpPr>
        <p:spPr>
          <a:xfrm>
            <a:off x="4281773" y="4788815"/>
            <a:ext cx="3625387"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9">
            <a:extLst>
              <a:ext uri="{FF2B5EF4-FFF2-40B4-BE49-F238E27FC236}">
                <a16:creationId xmlns:a16="http://schemas.microsoft.com/office/drawing/2014/main" id="{A591FE1B-1180-3D37-B495-6B7642E3D75F}"/>
              </a:ext>
            </a:extLst>
          </p:cNvPr>
          <p:cNvSpPr>
            <a:spLocks noGrp="1"/>
          </p:cNvSpPr>
          <p:nvPr>
            <p:ph type="body" sz="quarter" idx="56"/>
          </p:nvPr>
        </p:nvSpPr>
        <p:spPr>
          <a:xfrm>
            <a:off x="8123701" y="4788815"/>
            <a:ext cx="3625387"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5942771"/>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ck font 1_text right">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E7562BF7-B6F2-44EE-A788-FA723912C454}"/>
              </a:ext>
            </a:extLst>
          </p:cNvPr>
          <p:cNvSpPr>
            <a:spLocks noGrp="1"/>
          </p:cNvSpPr>
          <p:nvPr>
            <p:ph type="body" sz="quarter" idx="39" hasCustomPrompt="1"/>
          </p:nvPr>
        </p:nvSpPr>
        <p:spPr>
          <a:xfrm>
            <a:off x="442912" y="1125537"/>
            <a:ext cx="11306176"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2" name="Title 1">
            <a:extLst>
              <a:ext uri="{FF2B5EF4-FFF2-40B4-BE49-F238E27FC236}">
                <a16:creationId xmlns:a16="http://schemas.microsoft.com/office/drawing/2014/main" id="{C8D42DE3-C51C-0B54-F245-8D2DFF2B71F2}"/>
              </a:ext>
            </a:extLst>
          </p:cNvPr>
          <p:cNvSpPr>
            <a:spLocks noGrp="1"/>
          </p:cNvSpPr>
          <p:nvPr>
            <p:ph type="title"/>
          </p:nvPr>
        </p:nvSpPr>
        <p:spPr/>
        <p:txBody>
          <a:bodyPr/>
          <a:lstStyle/>
          <a:p>
            <a:r>
              <a:rPr lang="en-US"/>
              <a:t>Click to edit Master title style</a:t>
            </a:r>
          </a:p>
        </p:txBody>
      </p:sp>
      <p:sp>
        <p:nvSpPr>
          <p:cNvPr id="8" name="Text Placeholder 12">
            <a:extLst>
              <a:ext uri="{FF2B5EF4-FFF2-40B4-BE49-F238E27FC236}">
                <a16:creationId xmlns:a16="http://schemas.microsoft.com/office/drawing/2014/main" id="{4A609D49-0095-024E-5BB2-9038836A093E}"/>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3" name="Content Placeholder 7">
            <a:extLst>
              <a:ext uri="{FF2B5EF4-FFF2-40B4-BE49-F238E27FC236}">
                <a16:creationId xmlns:a16="http://schemas.microsoft.com/office/drawing/2014/main" id="{26C32FA8-4277-4166-A317-5BE6DCA0D884}"/>
              </a:ext>
            </a:extLst>
          </p:cNvPr>
          <p:cNvSpPr>
            <a:spLocks noGrp="1"/>
          </p:cNvSpPr>
          <p:nvPr>
            <p:ph sz="quarter" idx="11" hasCustomPrompt="1"/>
          </p:nvPr>
        </p:nvSpPr>
        <p:spPr>
          <a:xfrm>
            <a:off x="442912" y="1665288"/>
            <a:ext cx="8113077" cy="4211638"/>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7" name="Text Placeholder 9">
            <a:extLst>
              <a:ext uri="{FF2B5EF4-FFF2-40B4-BE49-F238E27FC236}">
                <a16:creationId xmlns:a16="http://schemas.microsoft.com/office/drawing/2014/main" id="{BFC1318A-99B9-5D6E-6D3B-CC697EC8875F}"/>
              </a:ext>
            </a:extLst>
          </p:cNvPr>
          <p:cNvSpPr>
            <a:spLocks noGrp="1"/>
          </p:cNvSpPr>
          <p:nvPr>
            <p:ph type="body" sz="quarter" idx="40"/>
          </p:nvPr>
        </p:nvSpPr>
        <p:spPr>
          <a:xfrm>
            <a:off x="8832850" y="1665288"/>
            <a:ext cx="2916238" cy="4211637"/>
          </a:xfrm>
          <a:solidFill>
            <a:schemeClr val="bg2"/>
          </a:solidFill>
        </p:spPr>
        <p:txBody>
          <a:bodyPr rIns="180000"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09088518"/>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ck font 2_subheader only">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E7562BF7-B6F2-44EE-A788-FA723912C454}"/>
              </a:ext>
            </a:extLst>
          </p:cNvPr>
          <p:cNvSpPr>
            <a:spLocks noGrp="1"/>
          </p:cNvSpPr>
          <p:nvPr>
            <p:ph type="body" sz="quarter" idx="39" hasCustomPrompt="1"/>
          </p:nvPr>
        </p:nvSpPr>
        <p:spPr>
          <a:xfrm>
            <a:off x="442912" y="1125537"/>
            <a:ext cx="11306176"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2" name="Title 1">
            <a:extLst>
              <a:ext uri="{FF2B5EF4-FFF2-40B4-BE49-F238E27FC236}">
                <a16:creationId xmlns:a16="http://schemas.microsoft.com/office/drawing/2014/main" id="{C8D42DE3-C51C-0B54-F245-8D2DFF2B71F2}"/>
              </a:ext>
            </a:extLst>
          </p:cNvPr>
          <p:cNvSpPr>
            <a:spLocks noGrp="1"/>
          </p:cNvSpPr>
          <p:nvPr>
            <p:ph type="title"/>
          </p:nvPr>
        </p:nvSpPr>
        <p:spPr/>
        <p:txBody>
          <a:bodyPr/>
          <a:lstStyle/>
          <a:p>
            <a:r>
              <a:rPr lang="en-US"/>
              <a:t>Click to edit Master title style</a:t>
            </a:r>
          </a:p>
        </p:txBody>
      </p:sp>
      <p:sp>
        <p:nvSpPr>
          <p:cNvPr id="8" name="Text Placeholder 12">
            <a:extLst>
              <a:ext uri="{FF2B5EF4-FFF2-40B4-BE49-F238E27FC236}">
                <a16:creationId xmlns:a16="http://schemas.microsoft.com/office/drawing/2014/main" id="{4A609D49-0095-024E-5BB2-9038836A093E}"/>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Tree>
    <p:extLst>
      <p:ext uri="{BB962C8B-B14F-4D97-AF65-F5344CB8AC3E}">
        <p14:creationId xmlns:p14="http://schemas.microsoft.com/office/powerpoint/2010/main" val="725103671"/>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font 3_text bottom">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E7562BF7-B6F2-44EE-A788-FA723912C454}"/>
              </a:ext>
            </a:extLst>
          </p:cNvPr>
          <p:cNvSpPr>
            <a:spLocks noGrp="1"/>
          </p:cNvSpPr>
          <p:nvPr>
            <p:ph type="body" sz="quarter" idx="39" hasCustomPrompt="1"/>
          </p:nvPr>
        </p:nvSpPr>
        <p:spPr>
          <a:xfrm>
            <a:off x="442912" y="1125537"/>
            <a:ext cx="11306176"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2" name="Title 1">
            <a:extLst>
              <a:ext uri="{FF2B5EF4-FFF2-40B4-BE49-F238E27FC236}">
                <a16:creationId xmlns:a16="http://schemas.microsoft.com/office/drawing/2014/main" id="{C8D42DE3-C51C-0B54-F245-8D2DFF2B71F2}"/>
              </a:ext>
            </a:extLst>
          </p:cNvPr>
          <p:cNvSpPr>
            <a:spLocks noGrp="1"/>
          </p:cNvSpPr>
          <p:nvPr>
            <p:ph type="title"/>
          </p:nvPr>
        </p:nvSpPr>
        <p:spPr/>
        <p:txBody>
          <a:bodyPr/>
          <a:lstStyle/>
          <a:p>
            <a:r>
              <a:rPr lang="en-US"/>
              <a:t>Click to edit Master title style</a:t>
            </a:r>
          </a:p>
        </p:txBody>
      </p:sp>
      <p:sp>
        <p:nvSpPr>
          <p:cNvPr id="8" name="Text Placeholder 12">
            <a:extLst>
              <a:ext uri="{FF2B5EF4-FFF2-40B4-BE49-F238E27FC236}">
                <a16:creationId xmlns:a16="http://schemas.microsoft.com/office/drawing/2014/main" id="{4A609D49-0095-024E-5BB2-9038836A093E}"/>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5" name="Content Placeholder 7">
            <a:extLst>
              <a:ext uri="{FF2B5EF4-FFF2-40B4-BE49-F238E27FC236}">
                <a16:creationId xmlns:a16="http://schemas.microsoft.com/office/drawing/2014/main" id="{D301106E-BE64-6AB5-B33A-7A54EE901CE6}"/>
              </a:ext>
            </a:extLst>
          </p:cNvPr>
          <p:cNvSpPr>
            <a:spLocks noGrp="1"/>
          </p:cNvSpPr>
          <p:nvPr>
            <p:ph sz="quarter" idx="11" hasCustomPrompt="1"/>
          </p:nvPr>
        </p:nvSpPr>
        <p:spPr>
          <a:xfrm>
            <a:off x="442911" y="1665288"/>
            <a:ext cx="11306177"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3" name="Text Placeholder 9">
            <a:extLst>
              <a:ext uri="{FF2B5EF4-FFF2-40B4-BE49-F238E27FC236}">
                <a16:creationId xmlns:a16="http://schemas.microsoft.com/office/drawing/2014/main" id="{BD4A3074-26FE-D260-1D07-3B0845390439}"/>
              </a:ext>
            </a:extLst>
          </p:cNvPr>
          <p:cNvSpPr>
            <a:spLocks noGrp="1"/>
          </p:cNvSpPr>
          <p:nvPr>
            <p:ph type="body" sz="quarter" idx="40"/>
          </p:nvPr>
        </p:nvSpPr>
        <p:spPr>
          <a:xfrm>
            <a:off x="442912" y="4788815"/>
            <a:ext cx="11306175"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29450696"/>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font 4_two chart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BF979-557A-AC54-8EED-E4F0528BE451}"/>
              </a:ext>
            </a:extLst>
          </p:cNvPr>
          <p:cNvSpPr>
            <a:spLocks noGrp="1"/>
          </p:cNvSpPr>
          <p:nvPr>
            <p:ph type="title"/>
          </p:nvPr>
        </p:nvSpPr>
        <p:spPr/>
        <p:txBody>
          <a:bodyPr/>
          <a:lstStyle/>
          <a:p>
            <a:r>
              <a:rPr lang="en-US"/>
              <a:t>Click to edit Master title style</a:t>
            </a:r>
          </a:p>
        </p:txBody>
      </p:sp>
      <p:sp>
        <p:nvSpPr>
          <p:cNvPr id="6" name="Text Placeholder 12">
            <a:extLst>
              <a:ext uri="{FF2B5EF4-FFF2-40B4-BE49-F238E27FC236}">
                <a16:creationId xmlns:a16="http://schemas.microsoft.com/office/drawing/2014/main" id="{70B52B18-19AD-6E88-EA87-2728CD762852}"/>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7" name="Text Placeholder 12">
            <a:extLst>
              <a:ext uri="{FF2B5EF4-FFF2-40B4-BE49-F238E27FC236}">
                <a16:creationId xmlns:a16="http://schemas.microsoft.com/office/drawing/2014/main" id="{BCDB814C-35CE-FD98-CB83-19715DBD2914}"/>
              </a:ext>
            </a:extLst>
          </p:cNvPr>
          <p:cNvSpPr>
            <a:spLocks noGrp="1"/>
          </p:cNvSpPr>
          <p:nvPr>
            <p:ph type="body" sz="quarter" idx="39" hasCustomPrompt="1"/>
          </p:nvPr>
        </p:nvSpPr>
        <p:spPr>
          <a:xfrm>
            <a:off x="442911" y="1125537"/>
            <a:ext cx="5509090"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8" name="Text Placeholder 12">
            <a:extLst>
              <a:ext uri="{FF2B5EF4-FFF2-40B4-BE49-F238E27FC236}">
                <a16:creationId xmlns:a16="http://schemas.microsoft.com/office/drawing/2014/main" id="{38FFE35F-E930-F1D1-4666-894B64EFF4FA}"/>
              </a:ext>
            </a:extLst>
          </p:cNvPr>
          <p:cNvSpPr>
            <a:spLocks noGrp="1"/>
          </p:cNvSpPr>
          <p:nvPr>
            <p:ph type="body" sz="quarter" idx="44" hasCustomPrompt="1"/>
          </p:nvPr>
        </p:nvSpPr>
        <p:spPr>
          <a:xfrm>
            <a:off x="6239699" y="1125537"/>
            <a:ext cx="5509088"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9" name="Content Placeholder 7">
            <a:extLst>
              <a:ext uri="{FF2B5EF4-FFF2-40B4-BE49-F238E27FC236}">
                <a16:creationId xmlns:a16="http://schemas.microsoft.com/office/drawing/2014/main" id="{E0042929-EDB5-4157-1A69-C2DA2E7AA26C}"/>
              </a:ext>
            </a:extLst>
          </p:cNvPr>
          <p:cNvSpPr>
            <a:spLocks noGrp="1"/>
          </p:cNvSpPr>
          <p:nvPr>
            <p:ph sz="quarter" idx="11" hasCustomPrompt="1"/>
          </p:nvPr>
        </p:nvSpPr>
        <p:spPr>
          <a:xfrm>
            <a:off x="442912" y="1665288"/>
            <a:ext cx="5509090"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11" name="Content Placeholder 7">
            <a:extLst>
              <a:ext uri="{FF2B5EF4-FFF2-40B4-BE49-F238E27FC236}">
                <a16:creationId xmlns:a16="http://schemas.microsoft.com/office/drawing/2014/main" id="{D33C51EB-4E1D-B198-CBE5-114FF0AE1E94}"/>
              </a:ext>
            </a:extLst>
          </p:cNvPr>
          <p:cNvSpPr>
            <a:spLocks noGrp="1"/>
          </p:cNvSpPr>
          <p:nvPr>
            <p:ph sz="quarter" idx="45" hasCustomPrompt="1"/>
          </p:nvPr>
        </p:nvSpPr>
        <p:spPr>
          <a:xfrm>
            <a:off x="6239998" y="1665288"/>
            <a:ext cx="5509090"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3" name="Text Placeholder 9">
            <a:extLst>
              <a:ext uri="{FF2B5EF4-FFF2-40B4-BE49-F238E27FC236}">
                <a16:creationId xmlns:a16="http://schemas.microsoft.com/office/drawing/2014/main" id="{D7AD99DE-1DDE-86A3-33D7-1275FA49BB0D}"/>
              </a:ext>
            </a:extLst>
          </p:cNvPr>
          <p:cNvSpPr>
            <a:spLocks noGrp="1"/>
          </p:cNvSpPr>
          <p:nvPr>
            <p:ph type="body" sz="quarter" idx="40"/>
          </p:nvPr>
        </p:nvSpPr>
        <p:spPr>
          <a:xfrm>
            <a:off x="442912" y="4788815"/>
            <a:ext cx="5509089"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9">
            <a:extLst>
              <a:ext uri="{FF2B5EF4-FFF2-40B4-BE49-F238E27FC236}">
                <a16:creationId xmlns:a16="http://schemas.microsoft.com/office/drawing/2014/main" id="{1AAFA579-76FF-A505-93C3-E6E9F203A9A0}"/>
              </a:ext>
            </a:extLst>
          </p:cNvPr>
          <p:cNvSpPr>
            <a:spLocks noGrp="1"/>
          </p:cNvSpPr>
          <p:nvPr>
            <p:ph type="body" sz="quarter" idx="46"/>
          </p:nvPr>
        </p:nvSpPr>
        <p:spPr>
          <a:xfrm>
            <a:off x="6239999" y="4788815"/>
            <a:ext cx="5509089"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58450140"/>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ck font 5_two charts horizont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BF979-557A-AC54-8EED-E4F0528BE451}"/>
              </a:ext>
            </a:extLst>
          </p:cNvPr>
          <p:cNvSpPr>
            <a:spLocks noGrp="1"/>
          </p:cNvSpPr>
          <p:nvPr>
            <p:ph type="title"/>
          </p:nvPr>
        </p:nvSpPr>
        <p:spPr/>
        <p:txBody>
          <a:bodyPr/>
          <a:lstStyle/>
          <a:p>
            <a:r>
              <a:rPr lang="en-US"/>
              <a:t>Click to edit Master title style</a:t>
            </a:r>
          </a:p>
        </p:txBody>
      </p:sp>
      <p:sp>
        <p:nvSpPr>
          <p:cNvPr id="6" name="Text Placeholder 12">
            <a:extLst>
              <a:ext uri="{FF2B5EF4-FFF2-40B4-BE49-F238E27FC236}">
                <a16:creationId xmlns:a16="http://schemas.microsoft.com/office/drawing/2014/main" id="{70B52B18-19AD-6E88-EA87-2728CD762852}"/>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7" name="Text Placeholder 12">
            <a:extLst>
              <a:ext uri="{FF2B5EF4-FFF2-40B4-BE49-F238E27FC236}">
                <a16:creationId xmlns:a16="http://schemas.microsoft.com/office/drawing/2014/main" id="{BCDB814C-35CE-FD98-CB83-19715DBD2914}"/>
              </a:ext>
            </a:extLst>
          </p:cNvPr>
          <p:cNvSpPr>
            <a:spLocks noGrp="1"/>
          </p:cNvSpPr>
          <p:nvPr>
            <p:ph type="body" sz="quarter" idx="39" hasCustomPrompt="1"/>
          </p:nvPr>
        </p:nvSpPr>
        <p:spPr>
          <a:xfrm>
            <a:off x="442912" y="1125537"/>
            <a:ext cx="11306176"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8" name="Text Placeholder 12">
            <a:extLst>
              <a:ext uri="{FF2B5EF4-FFF2-40B4-BE49-F238E27FC236}">
                <a16:creationId xmlns:a16="http://schemas.microsoft.com/office/drawing/2014/main" id="{B8DC2296-A7D3-317C-507D-D4DED1F67662}"/>
              </a:ext>
            </a:extLst>
          </p:cNvPr>
          <p:cNvSpPr>
            <a:spLocks noGrp="1"/>
          </p:cNvSpPr>
          <p:nvPr>
            <p:ph type="body" sz="quarter" idx="42" hasCustomPrompt="1"/>
          </p:nvPr>
        </p:nvSpPr>
        <p:spPr>
          <a:xfrm>
            <a:off x="442912" y="3618451"/>
            <a:ext cx="11306176"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4" name="Content Placeholder 7">
            <a:extLst>
              <a:ext uri="{FF2B5EF4-FFF2-40B4-BE49-F238E27FC236}">
                <a16:creationId xmlns:a16="http://schemas.microsoft.com/office/drawing/2014/main" id="{CA310947-C5F1-4358-E35C-F859D768BBF4}"/>
              </a:ext>
            </a:extLst>
          </p:cNvPr>
          <p:cNvSpPr>
            <a:spLocks noGrp="1"/>
          </p:cNvSpPr>
          <p:nvPr>
            <p:ph sz="quarter" idx="11" hasCustomPrompt="1"/>
          </p:nvPr>
        </p:nvSpPr>
        <p:spPr>
          <a:xfrm>
            <a:off x="442912" y="1665288"/>
            <a:ext cx="8113077" cy="176371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10" name="Content Placeholder 7">
            <a:extLst>
              <a:ext uri="{FF2B5EF4-FFF2-40B4-BE49-F238E27FC236}">
                <a16:creationId xmlns:a16="http://schemas.microsoft.com/office/drawing/2014/main" id="{7117719C-FBC4-54F1-7741-701D14D24722}"/>
              </a:ext>
            </a:extLst>
          </p:cNvPr>
          <p:cNvSpPr>
            <a:spLocks noGrp="1"/>
          </p:cNvSpPr>
          <p:nvPr>
            <p:ph sz="quarter" idx="43" hasCustomPrompt="1"/>
          </p:nvPr>
        </p:nvSpPr>
        <p:spPr>
          <a:xfrm>
            <a:off x="442912" y="4112233"/>
            <a:ext cx="8113077" cy="176371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3" name="Text Placeholder 9">
            <a:extLst>
              <a:ext uri="{FF2B5EF4-FFF2-40B4-BE49-F238E27FC236}">
                <a16:creationId xmlns:a16="http://schemas.microsoft.com/office/drawing/2014/main" id="{9000AF78-A619-31A6-6B50-384ED8B35573}"/>
              </a:ext>
            </a:extLst>
          </p:cNvPr>
          <p:cNvSpPr>
            <a:spLocks noGrp="1"/>
          </p:cNvSpPr>
          <p:nvPr>
            <p:ph type="body" sz="quarter" idx="40"/>
          </p:nvPr>
        </p:nvSpPr>
        <p:spPr>
          <a:xfrm>
            <a:off x="8832850" y="1665289"/>
            <a:ext cx="2916238" cy="1763712"/>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9">
            <a:extLst>
              <a:ext uri="{FF2B5EF4-FFF2-40B4-BE49-F238E27FC236}">
                <a16:creationId xmlns:a16="http://schemas.microsoft.com/office/drawing/2014/main" id="{6836A295-1CF5-2611-6445-68DDD7AA598A}"/>
              </a:ext>
            </a:extLst>
          </p:cNvPr>
          <p:cNvSpPr>
            <a:spLocks noGrp="1"/>
          </p:cNvSpPr>
          <p:nvPr>
            <p:ph type="body" sz="quarter" idx="44"/>
          </p:nvPr>
        </p:nvSpPr>
        <p:spPr>
          <a:xfrm>
            <a:off x="8832850" y="4113213"/>
            <a:ext cx="2916238" cy="1763712"/>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07525229"/>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ck font 6_three chart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BF979-557A-AC54-8EED-E4F0528BE451}"/>
              </a:ext>
            </a:extLst>
          </p:cNvPr>
          <p:cNvSpPr>
            <a:spLocks noGrp="1"/>
          </p:cNvSpPr>
          <p:nvPr>
            <p:ph type="title"/>
          </p:nvPr>
        </p:nvSpPr>
        <p:spPr/>
        <p:txBody>
          <a:bodyPr/>
          <a:lstStyle/>
          <a:p>
            <a:r>
              <a:rPr lang="en-US"/>
              <a:t>Click to edit Master title style</a:t>
            </a:r>
          </a:p>
        </p:txBody>
      </p:sp>
      <p:sp>
        <p:nvSpPr>
          <p:cNvPr id="6" name="Text Placeholder 12">
            <a:extLst>
              <a:ext uri="{FF2B5EF4-FFF2-40B4-BE49-F238E27FC236}">
                <a16:creationId xmlns:a16="http://schemas.microsoft.com/office/drawing/2014/main" id="{70B52B18-19AD-6E88-EA87-2728CD762852}"/>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11" name="Content Placeholder 7">
            <a:extLst>
              <a:ext uri="{FF2B5EF4-FFF2-40B4-BE49-F238E27FC236}">
                <a16:creationId xmlns:a16="http://schemas.microsoft.com/office/drawing/2014/main" id="{7ECB97D4-0FCA-E41D-F61D-AA2ABED8BB39}"/>
              </a:ext>
            </a:extLst>
          </p:cNvPr>
          <p:cNvSpPr>
            <a:spLocks noGrp="1"/>
          </p:cNvSpPr>
          <p:nvPr>
            <p:ph sz="quarter" idx="45" hasCustomPrompt="1"/>
          </p:nvPr>
        </p:nvSpPr>
        <p:spPr>
          <a:xfrm>
            <a:off x="8120634" y="1665288"/>
            <a:ext cx="3628456"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4" name="Content Placeholder 7">
            <a:extLst>
              <a:ext uri="{FF2B5EF4-FFF2-40B4-BE49-F238E27FC236}">
                <a16:creationId xmlns:a16="http://schemas.microsoft.com/office/drawing/2014/main" id="{4706E6F2-AECB-A517-CF5C-480A9806105B}"/>
              </a:ext>
            </a:extLst>
          </p:cNvPr>
          <p:cNvSpPr>
            <a:spLocks noGrp="1"/>
          </p:cNvSpPr>
          <p:nvPr>
            <p:ph sz="quarter" idx="48" hasCustomPrompt="1"/>
          </p:nvPr>
        </p:nvSpPr>
        <p:spPr>
          <a:xfrm>
            <a:off x="4281923" y="1665288"/>
            <a:ext cx="3628456"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14" name="Content Placeholder 7">
            <a:extLst>
              <a:ext uri="{FF2B5EF4-FFF2-40B4-BE49-F238E27FC236}">
                <a16:creationId xmlns:a16="http://schemas.microsoft.com/office/drawing/2014/main" id="{DD731D20-ABA9-207C-6E14-047E34F5EB9A}"/>
              </a:ext>
            </a:extLst>
          </p:cNvPr>
          <p:cNvSpPr>
            <a:spLocks noGrp="1"/>
          </p:cNvSpPr>
          <p:nvPr>
            <p:ph sz="quarter" idx="51" hasCustomPrompt="1"/>
          </p:nvPr>
        </p:nvSpPr>
        <p:spPr>
          <a:xfrm>
            <a:off x="443212" y="1665288"/>
            <a:ext cx="3628456" cy="3042392"/>
          </a:xfrm>
          <a:prstGeom prst="rect">
            <a:avLst/>
          </a:prstGeom>
        </p:spPr>
        <p:txBody>
          <a:bodyPr vert="horz" lIns="91440" tIns="45720" rIns="91440" bIns="45720" rtlCol="0">
            <a:normAutofit/>
          </a:bodyPr>
          <a:lstStyle>
            <a:lvl1pPr marL="0" indent="0">
              <a:buNone/>
              <a:defRPr lang="en-US" sz="140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7" name="Text Placeholder 12">
            <a:extLst>
              <a:ext uri="{FF2B5EF4-FFF2-40B4-BE49-F238E27FC236}">
                <a16:creationId xmlns:a16="http://schemas.microsoft.com/office/drawing/2014/main" id="{E4E936FF-AC29-262F-6FBC-0B321CD99BAE}"/>
              </a:ext>
            </a:extLst>
          </p:cNvPr>
          <p:cNvSpPr>
            <a:spLocks noGrp="1"/>
          </p:cNvSpPr>
          <p:nvPr>
            <p:ph type="body" sz="quarter" idx="44" hasCustomPrompt="1"/>
          </p:nvPr>
        </p:nvSpPr>
        <p:spPr>
          <a:xfrm>
            <a:off x="8120334" y="1125537"/>
            <a:ext cx="3628455"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9" name="Text Placeholder 12">
            <a:extLst>
              <a:ext uri="{FF2B5EF4-FFF2-40B4-BE49-F238E27FC236}">
                <a16:creationId xmlns:a16="http://schemas.microsoft.com/office/drawing/2014/main" id="{A347E501-3516-A363-2545-F22ADDE1B01D}"/>
              </a:ext>
            </a:extLst>
          </p:cNvPr>
          <p:cNvSpPr>
            <a:spLocks noGrp="1"/>
          </p:cNvSpPr>
          <p:nvPr>
            <p:ph type="body" sz="quarter" idx="47" hasCustomPrompt="1"/>
          </p:nvPr>
        </p:nvSpPr>
        <p:spPr>
          <a:xfrm>
            <a:off x="4281623" y="1125537"/>
            <a:ext cx="3628455"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10" name="Text Placeholder 12">
            <a:extLst>
              <a:ext uri="{FF2B5EF4-FFF2-40B4-BE49-F238E27FC236}">
                <a16:creationId xmlns:a16="http://schemas.microsoft.com/office/drawing/2014/main" id="{818E85ED-9846-BF56-5075-1BBE0A6A0DCF}"/>
              </a:ext>
            </a:extLst>
          </p:cNvPr>
          <p:cNvSpPr>
            <a:spLocks noGrp="1"/>
          </p:cNvSpPr>
          <p:nvPr>
            <p:ph type="body" sz="quarter" idx="50" hasCustomPrompt="1"/>
          </p:nvPr>
        </p:nvSpPr>
        <p:spPr>
          <a:xfrm>
            <a:off x="442912" y="1125537"/>
            <a:ext cx="3628455" cy="389812"/>
          </a:xfrm>
          <a:prstGeom prst="rect">
            <a:avLst/>
          </a:prstGeom>
          <a:noFill/>
          <a:ln>
            <a:noFill/>
          </a:ln>
        </p:spPr>
        <p:txBody>
          <a:bodyPr anchor="ctr">
            <a:noAutofit/>
          </a:bodyPr>
          <a:lstStyle>
            <a:lvl1pPr>
              <a:spcBef>
                <a:spcPts val="0"/>
              </a:spcBef>
              <a:buNone/>
              <a:defRPr sz="1400" b="1">
                <a:solidFill>
                  <a:schemeClr val="tx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tx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16" name="Text Placeholder 9">
            <a:extLst>
              <a:ext uri="{FF2B5EF4-FFF2-40B4-BE49-F238E27FC236}">
                <a16:creationId xmlns:a16="http://schemas.microsoft.com/office/drawing/2014/main" id="{86A96CFD-D969-6DF2-9522-CA2B36993BA7}"/>
              </a:ext>
            </a:extLst>
          </p:cNvPr>
          <p:cNvSpPr>
            <a:spLocks noGrp="1"/>
          </p:cNvSpPr>
          <p:nvPr>
            <p:ph type="body" sz="quarter" idx="40"/>
          </p:nvPr>
        </p:nvSpPr>
        <p:spPr>
          <a:xfrm>
            <a:off x="442912" y="4788815"/>
            <a:ext cx="3625387"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9">
            <a:extLst>
              <a:ext uri="{FF2B5EF4-FFF2-40B4-BE49-F238E27FC236}">
                <a16:creationId xmlns:a16="http://schemas.microsoft.com/office/drawing/2014/main" id="{87C0BBB9-3A27-4F0E-BD2D-412B7C098AD5}"/>
              </a:ext>
            </a:extLst>
          </p:cNvPr>
          <p:cNvSpPr>
            <a:spLocks noGrp="1"/>
          </p:cNvSpPr>
          <p:nvPr>
            <p:ph type="body" sz="quarter" idx="55"/>
          </p:nvPr>
        </p:nvSpPr>
        <p:spPr>
          <a:xfrm>
            <a:off x="4281773" y="4788815"/>
            <a:ext cx="3625387"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9">
            <a:extLst>
              <a:ext uri="{FF2B5EF4-FFF2-40B4-BE49-F238E27FC236}">
                <a16:creationId xmlns:a16="http://schemas.microsoft.com/office/drawing/2014/main" id="{00260323-CB1A-DB50-B779-3C7677096FF7}"/>
              </a:ext>
            </a:extLst>
          </p:cNvPr>
          <p:cNvSpPr>
            <a:spLocks noGrp="1"/>
          </p:cNvSpPr>
          <p:nvPr>
            <p:ph type="body" sz="quarter" idx="56"/>
          </p:nvPr>
        </p:nvSpPr>
        <p:spPr>
          <a:xfrm>
            <a:off x="8123701" y="4788815"/>
            <a:ext cx="3625387" cy="1088110"/>
          </a:xfrm>
          <a:solidFill>
            <a:schemeClr val="bg2"/>
          </a:solidFill>
        </p:spPr>
        <p:txBody>
          <a:bodyPr anchor="ctr">
            <a:normAutofit/>
          </a:bodyPr>
          <a:lstStyle>
            <a:lvl1pPr indent="-180000" algn="l">
              <a:lnSpc>
                <a:spcPct val="100000"/>
              </a:lnSpc>
              <a:spcBef>
                <a:spcPts val="600"/>
              </a:spcBef>
              <a:defRPr sz="1200"/>
            </a:lvl1pPr>
            <a:lvl2pPr marL="540000" indent="-180000" algn="l">
              <a:lnSpc>
                <a:spcPct val="100000"/>
              </a:lnSpc>
              <a:spcBef>
                <a:spcPts val="600"/>
              </a:spcBef>
              <a:defRPr sz="1100"/>
            </a:lvl2pPr>
            <a:lvl3pPr marL="900000" indent="-180000" algn="l">
              <a:lnSpc>
                <a:spcPct val="100000"/>
              </a:lnSpc>
              <a:spcBef>
                <a:spcPts val="600"/>
              </a:spcBef>
              <a:defRPr sz="1050"/>
            </a:lvl3pPr>
            <a:lvl4pPr marL="1260000" indent="-180000" algn="l">
              <a:lnSpc>
                <a:spcPct val="100000"/>
              </a:lnSpc>
              <a:spcBef>
                <a:spcPts val="600"/>
              </a:spcBef>
              <a:defRPr sz="10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49607909"/>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Adjustable color block horizontal">
    <p:spTree>
      <p:nvGrpSpPr>
        <p:cNvPr id="1" name=""/>
        <p:cNvGrpSpPr/>
        <p:nvPr/>
      </p:nvGrpSpPr>
      <p:grpSpPr>
        <a:xfrm>
          <a:off x="0" y="0"/>
          <a:ext cx="0" cy="0"/>
          <a:chOff x="0" y="0"/>
          <a:chExt cx="0" cy="0"/>
        </a:xfrm>
      </p:grpSpPr>
      <p:sp>
        <p:nvSpPr>
          <p:cNvPr id="15" name="Text Placeholder 5">
            <a:extLst>
              <a:ext uri="{FF2B5EF4-FFF2-40B4-BE49-F238E27FC236}">
                <a16:creationId xmlns:a16="http://schemas.microsoft.com/office/drawing/2014/main" id="{AF9502B8-2B02-45D1-8ECE-ED30CBBD092A}"/>
              </a:ext>
            </a:extLst>
          </p:cNvPr>
          <p:cNvSpPr>
            <a:spLocks noGrp="1"/>
          </p:cNvSpPr>
          <p:nvPr>
            <p:ph type="body" sz="quarter" idx="11"/>
          </p:nvPr>
        </p:nvSpPr>
        <p:spPr>
          <a:xfrm>
            <a:off x="442914" y="1125538"/>
            <a:ext cx="11306174" cy="1307111"/>
          </a:xfrm>
          <a:prstGeom prst="rect">
            <a:avLst/>
          </a:prstGeom>
        </p:spPr>
        <p:txBody>
          <a:bodyPr vert="horz" lIns="91440" tIns="45720" rIns="91440" bIns="45720" rtlCol="0">
            <a:normAutofit/>
          </a:bodyPr>
          <a:lstStyle>
            <a:lvl1pPr marL="0" indent="0">
              <a:buNone/>
              <a:defRPr lang="en-US" sz="1400" smtClean="0">
                <a:latin typeface="Ubuntu" panose="020B0504030602030204" pitchFamily="34" charset="0"/>
                <a:cs typeface="Calibri Light" panose="020F0302020204030204" pitchFamily="34" charset="0"/>
              </a:defRPr>
            </a:lvl1pPr>
          </a:lstStyle>
          <a:p>
            <a:pPr marL="281368" lvl="0" indent="-281368">
              <a:spcBef>
                <a:spcPts val="0"/>
              </a:spcBef>
            </a:pPr>
            <a:r>
              <a:rPr lang="en-US"/>
              <a:t>Click to edit Master text styles</a:t>
            </a:r>
          </a:p>
        </p:txBody>
      </p:sp>
      <p:sp>
        <p:nvSpPr>
          <p:cNvPr id="6" name="SmartArt Placeholder 2">
            <a:extLst>
              <a:ext uri="{FF2B5EF4-FFF2-40B4-BE49-F238E27FC236}">
                <a16:creationId xmlns:a16="http://schemas.microsoft.com/office/drawing/2014/main" id="{0102B8BF-39FD-42F4-964E-8D640199F508}"/>
              </a:ext>
            </a:extLst>
          </p:cNvPr>
          <p:cNvSpPr>
            <a:spLocks noGrp="1"/>
          </p:cNvSpPr>
          <p:nvPr>
            <p:ph type="dgm" sz="quarter" idx="18"/>
          </p:nvPr>
        </p:nvSpPr>
        <p:spPr>
          <a:xfrm>
            <a:off x="0" y="2521936"/>
            <a:ext cx="12192000" cy="3354990"/>
          </a:xfrm>
          <a:prstGeom prst="rect">
            <a:avLst/>
          </a:prstGeom>
          <a:solidFill>
            <a:schemeClr val="bg2"/>
          </a:solidFill>
          <a:ln>
            <a:noFill/>
          </a:ln>
        </p:spPr>
        <p:txBody>
          <a:bodyPr/>
          <a:lstStyle>
            <a:lvl1pPr>
              <a:defRPr sz="1723">
                <a:solidFill>
                  <a:schemeClr val="tx1"/>
                </a:solidFill>
                <a:latin typeface="Ubuntu" panose="020B0504030602030204" pitchFamily="34" charset="0"/>
                <a:cs typeface="Calibri Light" panose="020F0302020204030204" pitchFamily="34" charset="0"/>
              </a:defRPr>
            </a:lvl1pPr>
          </a:lstStyle>
          <a:p>
            <a:r>
              <a:rPr lang="en-US"/>
              <a:t>Click icon to add SmartArt graphic</a:t>
            </a:r>
          </a:p>
        </p:txBody>
      </p:sp>
      <p:sp>
        <p:nvSpPr>
          <p:cNvPr id="2" name="Text Placeholder 12">
            <a:extLst>
              <a:ext uri="{FF2B5EF4-FFF2-40B4-BE49-F238E27FC236}">
                <a16:creationId xmlns:a16="http://schemas.microsoft.com/office/drawing/2014/main" id="{D5FD460A-F21B-D5BA-1CC3-657F0D44C44F}"/>
              </a:ext>
            </a:extLst>
          </p:cNvPr>
          <p:cNvSpPr>
            <a:spLocks noGrp="1"/>
          </p:cNvSpPr>
          <p:nvPr>
            <p:ph type="body" sz="quarter" idx="19"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4" name="Title 3">
            <a:extLst>
              <a:ext uri="{FF2B5EF4-FFF2-40B4-BE49-F238E27FC236}">
                <a16:creationId xmlns:a16="http://schemas.microsoft.com/office/drawing/2014/main" id="{C314AC6C-50F2-4009-74D2-B0600B6D628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1107059"/>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Front page with photo">
    <p:bg>
      <p:bgPr>
        <a:blipFill dpi="0" rotWithShape="1">
          <a:blip r:embed="rId2">
            <a:lum/>
          </a:blip>
          <a:srcRect/>
          <a:tile tx="-184150" ty="-95250" sx="100000" sy="100000" flip="none" algn="tl"/>
        </a:blipFill>
        <a:effectLst/>
      </p:bgPr>
    </p:bg>
    <p:spTree>
      <p:nvGrpSpPr>
        <p:cNvPr id="1" name=""/>
        <p:cNvGrpSpPr/>
        <p:nvPr/>
      </p:nvGrpSpPr>
      <p:grpSpPr>
        <a:xfrm>
          <a:off x="0" y="0"/>
          <a:ext cx="0" cy="0"/>
          <a:chOff x="0" y="0"/>
          <a:chExt cx="0" cy="0"/>
        </a:xfrm>
      </p:grpSpPr>
      <p:sp>
        <p:nvSpPr>
          <p:cNvPr id="8" name="cover_dark_blue">
            <a:extLst>
              <a:ext uri="{FF2B5EF4-FFF2-40B4-BE49-F238E27FC236}">
                <a16:creationId xmlns:a16="http://schemas.microsoft.com/office/drawing/2014/main" id="{BD6BD013-CBB5-9A60-845D-5BB9EE0D58EC}"/>
              </a:ext>
            </a:extLst>
          </p:cNvPr>
          <p:cNvSpPr>
            <a:spLocks/>
          </p:cNvSpPr>
          <p:nvPr/>
        </p:nvSpPr>
        <p:spPr>
          <a:xfrm>
            <a:off x="0" y="0"/>
            <a:ext cx="12192000" cy="6858000"/>
          </a:xfrm>
          <a:prstGeom prst="rect">
            <a:avLst/>
          </a:prstGeom>
          <a:gradFill flip="none" rotWithShape="1">
            <a:gsLst>
              <a:gs pos="62000">
                <a:srgbClr val="1A2C58">
                  <a:alpha val="64791"/>
                </a:srgbClr>
              </a:gs>
              <a:gs pos="0">
                <a:srgbClr val="03132B">
                  <a:alpha val="65343"/>
                </a:srgbClr>
              </a:gs>
            </a:gsLst>
            <a:lin ang="13500000" scaled="1"/>
            <a:tileRect/>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accent6"/>
              </a:solidFill>
              <a:latin typeface="Ubuntu" panose="020B0504030602030204" pitchFamily="34" charset="0"/>
            </a:endParaRPr>
          </a:p>
        </p:txBody>
      </p:sp>
      <p:pic>
        <p:nvPicPr>
          <p:cNvPr id="7" name="Graphic 6">
            <a:extLst>
              <a:ext uri="{FF2B5EF4-FFF2-40B4-BE49-F238E27FC236}">
                <a16:creationId xmlns:a16="http://schemas.microsoft.com/office/drawing/2014/main" id="{DC85D206-E47C-69DE-F952-4059781325A7}"/>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671" r="8674" b="46902"/>
          <a:stretch/>
        </p:blipFill>
        <p:spPr>
          <a:xfrm>
            <a:off x="-1" y="5257800"/>
            <a:ext cx="12192001" cy="1600200"/>
          </a:xfrm>
          <a:prstGeom prst="rect">
            <a:avLst/>
          </a:prstGeom>
        </p:spPr>
      </p:pic>
      <p:pic>
        <p:nvPicPr>
          <p:cNvPr id="9" name="Graphic 8">
            <a:extLst>
              <a:ext uri="{FF2B5EF4-FFF2-40B4-BE49-F238E27FC236}">
                <a16:creationId xmlns:a16="http://schemas.microsoft.com/office/drawing/2014/main" id="{CF785EA5-AA32-FA84-6876-D2F296C76D17}"/>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671" r="8674" b="46902"/>
          <a:stretch/>
        </p:blipFill>
        <p:spPr>
          <a:xfrm>
            <a:off x="0" y="5257800"/>
            <a:ext cx="12192001" cy="1600200"/>
          </a:xfrm>
          <a:prstGeom prst="rect">
            <a:avLst/>
          </a:prstGeom>
        </p:spPr>
      </p:pic>
      <p:sp>
        <p:nvSpPr>
          <p:cNvPr id="4" name="cover_blue" hidden="1">
            <a:extLst>
              <a:ext uri="{FF2B5EF4-FFF2-40B4-BE49-F238E27FC236}">
                <a16:creationId xmlns:a16="http://schemas.microsoft.com/office/drawing/2014/main" id="{B2C7C4E9-AE3D-6833-7962-769FF96ED7AF}"/>
              </a:ext>
            </a:extLst>
          </p:cNvPr>
          <p:cNvSpPr>
            <a:spLocks/>
          </p:cNvSpPr>
          <p:nvPr/>
        </p:nvSpPr>
        <p:spPr>
          <a:xfrm>
            <a:off x="0" y="0"/>
            <a:ext cx="12192000" cy="6858000"/>
          </a:xfrm>
          <a:prstGeom prst="rect">
            <a:avLst/>
          </a:prstGeom>
          <a:gradFill flip="none" rotWithShape="1">
            <a:gsLst>
              <a:gs pos="21000">
                <a:srgbClr val="497E9E">
                  <a:alpha val="64733"/>
                </a:srgbClr>
              </a:gs>
              <a:gs pos="0">
                <a:srgbClr val="67AACB">
                  <a:alpha val="64575"/>
                </a:srgbClr>
              </a:gs>
              <a:gs pos="56000">
                <a:srgbClr val="041938">
                  <a:alpha val="65000"/>
                </a:srgbClr>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6" name="cover_green" hidden="1">
            <a:extLst>
              <a:ext uri="{FF2B5EF4-FFF2-40B4-BE49-F238E27FC236}">
                <a16:creationId xmlns:a16="http://schemas.microsoft.com/office/drawing/2014/main" id="{1BCCE156-B7D0-5354-8274-A6986F2F2088}"/>
              </a:ext>
            </a:extLst>
          </p:cNvPr>
          <p:cNvSpPr/>
          <p:nvPr/>
        </p:nvSpPr>
        <p:spPr>
          <a:xfrm>
            <a:off x="0" y="0"/>
            <a:ext cx="12192000" cy="6858000"/>
          </a:xfrm>
          <a:prstGeom prst="rect">
            <a:avLst/>
          </a:prstGeom>
          <a:gradFill flip="none" rotWithShape="1">
            <a:gsLst>
              <a:gs pos="21000">
                <a:srgbClr val="748367">
                  <a:alpha val="64776"/>
                </a:srgbClr>
              </a:gs>
              <a:gs pos="0">
                <a:srgbClr val="DCE692">
                  <a:alpha val="64761"/>
                </a:srgbClr>
              </a:gs>
              <a:gs pos="55000">
                <a:srgbClr val="041938">
                  <a:alpha val="65000"/>
                </a:srgbClr>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12" name="cover_orange" hidden="1">
            <a:extLst>
              <a:ext uri="{FF2B5EF4-FFF2-40B4-BE49-F238E27FC236}">
                <a16:creationId xmlns:a16="http://schemas.microsoft.com/office/drawing/2014/main" id="{F4A2787A-1944-8C55-C7E1-2EF1465C22BC}"/>
              </a:ext>
            </a:extLst>
          </p:cNvPr>
          <p:cNvSpPr/>
          <p:nvPr/>
        </p:nvSpPr>
        <p:spPr>
          <a:xfrm>
            <a:off x="0" y="0"/>
            <a:ext cx="12192000" cy="6858002"/>
          </a:xfrm>
          <a:prstGeom prst="rect">
            <a:avLst/>
          </a:prstGeom>
          <a:gradFill flip="none" rotWithShape="1">
            <a:gsLst>
              <a:gs pos="0">
                <a:srgbClr val="E58843">
                  <a:alpha val="64912"/>
                </a:srgbClr>
              </a:gs>
              <a:gs pos="21000">
                <a:srgbClr val="93603F">
                  <a:alpha val="65024"/>
                </a:srgbClr>
              </a:gs>
              <a:gs pos="54000">
                <a:srgbClr val="041938">
                  <a:alpha val="65143"/>
                </a:srgbClr>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25" name="Title 1">
            <a:extLst>
              <a:ext uri="{FF2B5EF4-FFF2-40B4-BE49-F238E27FC236}">
                <a16:creationId xmlns:a16="http://schemas.microsoft.com/office/drawing/2014/main" id="{896689C1-E7A9-4DFC-A32E-FE74168165BB}"/>
              </a:ext>
            </a:extLst>
          </p:cNvPr>
          <p:cNvSpPr>
            <a:spLocks noGrp="1"/>
          </p:cNvSpPr>
          <p:nvPr>
            <p:ph type="ctrTitle" hasCustomPrompt="1"/>
          </p:nvPr>
        </p:nvSpPr>
        <p:spPr>
          <a:xfrm>
            <a:off x="552244" y="1093632"/>
            <a:ext cx="11046276" cy="2335373"/>
          </a:xfrm>
          <a:prstGeom prst="rect">
            <a:avLst/>
          </a:prstGeom>
        </p:spPr>
        <p:txBody>
          <a:bodyPr anchor="b">
            <a:normAutofit/>
          </a:bodyPr>
          <a:lstStyle>
            <a:lvl1pPr algn="l">
              <a:defRPr sz="6000">
                <a:solidFill>
                  <a:schemeClr val="bg1"/>
                </a:solidFill>
                <a:latin typeface="Ubuntu" panose="020B0504030602030204" pitchFamily="34" charset="0"/>
                <a:cs typeface="Calibri Light" panose="020F0302020204030204" pitchFamily="34" charset="0"/>
              </a:defRPr>
            </a:lvl1pPr>
          </a:lstStyle>
          <a:p>
            <a:r>
              <a:rPr lang="en-US"/>
              <a:t>Click to Edit Report Title</a:t>
            </a:r>
          </a:p>
        </p:txBody>
      </p:sp>
      <p:sp>
        <p:nvSpPr>
          <p:cNvPr id="26" name="Subtitle 2">
            <a:extLst>
              <a:ext uri="{FF2B5EF4-FFF2-40B4-BE49-F238E27FC236}">
                <a16:creationId xmlns:a16="http://schemas.microsoft.com/office/drawing/2014/main" id="{F03857F0-C570-4C45-9543-8E15849E8BE4}"/>
              </a:ext>
            </a:extLst>
          </p:cNvPr>
          <p:cNvSpPr>
            <a:spLocks noGrp="1"/>
          </p:cNvSpPr>
          <p:nvPr>
            <p:ph type="subTitle" idx="1" hasCustomPrompt="1"/>
          </p:nvPr>
        </p:nvSpPr>
        <p:spPr>
          <a:xfrm>
            <a:off x="552244" y="3359049"/>
            <a:ext cx="11046276" cy="350162"/>
          </a:xfrm>
          <a:prstGeom prst="rect">
            <a:avLst/>
          </a:prstGeom>
        </p:spPr>
        <p:txBody>
          <a:bodyPr>
            <a:noAutofit/>
          </a:bodyPr>
          <a:lstStyle>
            <a:lvl1pPr marL="0" indent="0" algn="l">
              <a:buNone/>
              <a:defRPr sz="3000" b="0">
                <a:solidFill>
                  <a:srgbClr val="DC8E63"/>
                </a:solidFill>
                <a:latin typeface="Ubuntu" panose="020B0504030602030204" pitchFamily="34" charset="0"/>
                <a:cs typeface="Calibri Light" panose="020F0302020204030204" pitchFamily="34" charset="0"/>
              </a:defRPr>
            </a:lvl1pPr>
            <a:lvl2pPr marL="422051" indent="0" algn="ctr">
              <a:buNone/>
              <a:defRPr sz="1846"/>
            </a:lvl2pPr>
            <a:lvl3pPr marL="844104" indent="0" algn="ctr">
              <a:buNone/>
              <a:defRPr sz="1662"/>
            </a:lvl3pPr>
            <a:lvl4pPr marL="1266156" indent="0" algn="ctr">
              <a:buNone/>
              <a:defRPr sz="1477"/>
            </a:lvl4pPr>
            <a:lvl5pPr marL="1688207" indent="0" algn="ctr">
              <a:buNone/>
              <a:defRPr sz="1477"/>
            </a:lvl5pPr>
            <a:lvl6pPr marL="2110260" indent="0" algn="ctr">
              <a:buNone/>
              <a:defRPr sz="1477"/>
            </a:lvl6pPr>
            <a:lvl7pPr marL="2532312" indent="0" algn="ctr">
              <a:buNone/>
              <a:defRPr sz="1477"/>
            </a:lvl7pPr>
            <a:lvl8pPr marL="2954363" indent="0" algn="ctr">
              <a:buNone/>
              <a:defRPr sz="1477"/>
            </a:lvl8pPr>
            <a:lvl9pPr marL="3376415" indent="0" algn="ctr">
              <a:buNone/>
              <a:defRPr sz="1477"/>
            </a:lvl9pPr>
          </a:lstStyle>
          <a:p>
            <a:r>
              <a:rPr lang="en-US"/>
              <a:t>Click to edit Edition</a:t>
            </a:r>
          </a:p>
        </p:txBody>
      </p:sp>
      <p:sp>
        <p:nvSpPr>
          <p:cNvPr id="27" name="Text Placeholder 11">
            <a:extLst>
              <a:ext uri="{FF2B5EF4-FFF2-40B4-BE49-F238E27FC236}">
                <a16:creationId xmlns:a16="http://schemas.microsoft.com/office/drawing/2014/main" id="{16EA4C8E-A0B0-4C66-A696-815EF3CFC32C}"/>
              </a:ext>
            </a:extLst>
          </p:cNvPr>
          <p:cNvSpPr>
            <a:spLocks noGrp="1"/>
          </p:cNvSpPr>
          <p:nvPr>
            <p:ph type="body" sz="quarter" idx="10" hasCustomPrompt="1"/>
          </p:nvPr>
        </p:nvSpPr>
        <p:spPr>
          <a:xfrm>
            <a:off x="598358" y="5764373"/>
            <a:ext cx="6502400" cy="252344"/>
          </a:xfrm>
          <a:prstGeom prst="rect">
            <a:avLst/>
          </a:prstGeom>
        </p:spPr>
        <p:txBody>
          <a:bodyPr>
            <a:noAutofit/>
          </a:bodyPr>
          <a:lstStyle>
            <a:lvl1pPr marL="0" indent="0">
              <a:buNone/>
              <a:defRPr sz="1800" b="1">
                <a:solidFill>
                  <a:srgbClr val="DC8E63"/>
                </a:solidFill>
                <a:latin typeface="Ubuntu" panose="020B0504030602030204" pitchFamily="34" charset="0"/>
                <a:cs typeface="Calibri" panose="020F0502020204030204" pitchFamily="34" charset="0"/>
              </a:defRPr>
            </a:lvl1pPr>
          </a:lstStyle>
          <a:p>
            <a:pPr lvl="0"/>
            <a:r>
              <a:rPr lang="en-US"/>
              <a:t>Click to Edit Product Group</a:t>
            </a:r>
          </a:p>
        </p:txBody>
      </p:sp>
      <p:sp>
        <p:nvSpPr>
          <p:cNvPr id="28" name="Text Placeholder 11">
            <a:extLst>
              <a:ext uri="{FF2B5EF4-FFF2-40B4-BE49-F238E27FC236}">
                <a16:creationId xmlns:a16="http://schemas.microsoft.com/office/drawing/2014/main" id="{3014D09D-A936-4A9F-9A8E-397483710552}"/>
              </a:ext>
            </a:extLst>
          </p:cNvPr>
          <p:cNvSpPr>
            <a:spLocks noGrp="1"/>
          </p:cNvSpPr>
          <p:nvPr>
            <p:ph type="body" sz="quarter" idx="12" hasCustomPrompt="1"/>
          </p:nvPr>
        </p:nvSpPr>
        <p:spPr>
          <a:xfrm>
            <a:off x="598358" y="6016717"/>
            <a:ext cx="6502400" cy="349250"/>
          </a:xfrm>
          <a:prstGeom prst="rect">
            <a:avLst/>
          </a:prstGeom>
        </p:spPr>
        <p:txBody>
          <a:bodyPr>
            <a:normAutofit/>
          </a:bodyPr>
          <a:lstStyle>
            <a:lvl1pPr marL="0" indent="0">
              <a:buNone/>
              <a:defRPr sz="1400" b="0">
                <a:solidFill>
                  <a:schemeClr val="bg1"/>
                </a:solidFill>
                <a:latin typeface="Ubuntu" panose="020B0504030602030204" pitchFamily="34" charset="0"/>
                <a:cs typeface="Calibri" panose="020F0502020204030204" pitchFamily="34" charset="0"/>
              </a:defRPr>
            </a:lvl1pPr>
          </a:lstStyle>
          <a:p>
            <a:pPr lvl="0"/>
            <a:r>
              <a:rPr lang="en-US"/>
              <a:t>Click to Edit Date</a:t>
            </a:r>
          </a:p>
        </p:txBody>
      </p:sp>
      <p:sp>
        <p:nvSpPr>
          <p:cNvPr id="29" name="Text Placeholder 4">
            <a:extLst>
              <a:ext uri="{FF2B5EF4-FFF2-40B4-BE49-F238E27FC236}">
                <a16:creationId xmlns:a16="http://schemas.microsoft.com/office/drawing/2014/main" id="{00FDF6E3-F93B-4EF3-971E-FF35FD95E179}"/>
              </a:ext>
            </a:extLst>
          </p:cNvPr>
          <p:cNvSpPr>
            <a:spLocks noGrp="1"/>
          </p:cNvSpPr>
          <p:nvPr>
            <p:ph type="body" sz="quarter" idx="13" hasCustomPrompt="1"/>
          </p:nvPr>
        </p:nvSpPr>
        <p:spPr>
          <a:xfrm>
            <a:off x="550459" y="4286095"/>
            <a:ext cx="11048059" cy="674687"/>
          </a:xfrm>
          <a:prstGeom prst="rect">
            <a:avLst/>
          </a:prstGeom>
        </p:spPr>
        <p:txBody>
          <a:bodyPr/>
          <a:lstStyle>
            <a:lvl1pPr marL="0" indent="0">
              <a:buNone/>
              <a:defRPr sz="2000">
                <a:solidFill>
                  <a:schemeClr val="bg1"/>
                </a:solidFill>
                <a:latin typeface="Ubuntu" panose="020B0504030602030204" pitchFamily="34" charset="0"/>
                <a:cs typeface="Calibri" panose="020F0502020204030204" pitchFamily="34" charset="0"/>
              </a:defRPr>
            </a:lvl1pPr>
          </a:lstStyle>
          <a:p>
            <a:pPr lvl="0"/>
            <a:r>
              <a:rPr lang="en-US"/>
              <a:t>Click to edit Sub-Head Text</a:t>
            </a:r>
          </a:p>
        </p:txBody>
      </p:sp>
      <p:sp>
        <p:nvSpPr>
          <p:cNvPr id="5" name="Picture Placeholder 4">
            <a:extLst>
              <a:ext uri="{FF2B5EF4-FFF2-40B4-BE49-F238E27FC236}">
                <a16:creationId xmlns:a16="http://schemas.microsoft.com/office/drawing/2014/main" id="{324FE1BE-6F25-FD93-F65D-D1E14094667A}"/>
              </a:ext>
            </a:extLst>
          </p:cNvPr>
          <p:cNvSpPr>
            <a:spLocks noGrp="1"/>
          </p:cNvSpPr>
          <p:nvPr>
            <p:ph type="pic" sz="quarter" idx="14" hasCustomPrompt="1"/>
          </p:nvPr>
        </p:nvSpPr>
        <p:spPr>
          <a:xfrm>
            <a:off x="10501442" y="5464750"/>
            <a:ext cx="1080000" cy="1080000"/>
          </a:xfrm>
          <a:prstGeom prst="rect">
            <a:avLst/>
          </a:prstGeom>
        </p:spPr>
        <p:txBody>
          <a:bodyPr>
            <a:normAutofit/>
          </a:bodyPr>
          <a:lstStyle>
            <a:lvl1pPr>
              <a:defRPr sz="1000">
                <a:solidFill>
                  <a:schemeClr val="bg1"/>
                </a:solidFill>
              </a:defRPr>
            </a:lvl1pPr>
          </a:lstStyle>
          <a:p>
            <a:r>
              <a:rPr lang="en-US"/>
              <a:t>Placeholder for client logo</a:t>
            </a:r>
            <a:endParaRPr lang="en-GB"/>
          </a:p>
        </p:txBody>
      </p:sp>
      <p:pic>
        <p:nvPicPr>
          <p:cNvPr id="11" name="Graphic 10">
            <a:extLst>
              <a:ext uri="{FF2B5EF4-FFF2-40B4-BE49-F238E27FC236}">
                <a16:creationId xmlns:a16="http://schemas.microsoft.com/office/drawing/2014/main" id="{853F27FD-6381-32C0-C0F9-C2D8A87AA52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60219" y="267272"/>
            <a:ext cx="2657064" cy="667944"/>
          </a:xfrm>
          <a:prstGeom prst="rect">
            <a:avLst/>
          </a:prstGeom>
        </p:spPr>
      </p:pic>
    </p:spTree>
    <p:extLst>
      <p:ext uri="{BB962C8B-B14F-4D97-AF65-F5344CB8AC3E}">
        <p14:creationId xmlns:p14="http://schemas.microsoft.com/office/powerpoint/2010/main" val="1622576371"/>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Adjustable color block vertical">
    <p:spTree>
      <p:nvGrpSpPr>
        <p:cNvPr id="1" name=""/>
        <p:cNvGrpSpPr/>
        <p:nvPr/>
      </p:nvGrpSpPr>
      <p:grpSpPr>
        <a:xfrm>
          <a:off x="0" y="0"/>
          <a:ext cx="0" cy="0"/>
          <a:chOff x="0" y="0"/>
          <a:chExt cx="0" cy="0"/>
        </a:xfrm>
      </p:grpSpPr>
      <p:sp>
        <p:nvSpPr>
          <p:cNvPr id="15" name="Text Placeholder 5">
            <a:extLst>
              <a:ext uri="{FF2B5EF4-FFF2-40B4-BE49-F238E27FC236}">
                <a16:creationId xmlns:a16="http://schemas.microsoft.com/office/drawing/2014/main" id="{AF9502B8-2B02-45D1-8ECE-ED30CBBD092A}"/>
              </a:ext>
            </a:extLst>
          </p:cNvPr>
          <p:cNvSpPr>
            <a:spLocks noGrp="1"/>
          </p:cNvSpPr>
          <p:nvPr>
            <p:ph type="body" sz="quarter" idx="11"/>
          </p:nvPr>
        </p:nvSpPr>
        <p:spPr>
          <a:xfrm>
            <a:off x="442914" y="1125538"/>
            <a:ext cx="5653086" cy="4751388"/>
          </a:xfrm>
          <a:prstGeom prst="rect">
            <a:avLst/>
          </a:prstGeom>
        </p:spPr>
        <p:txBody>
          <a:bodyPr vert="horz" lIns="91440" tIns="45720" rIns="91440" bIns="45720" rtlCol="0">
            <a:normAutofit/>
          </a:bodyPr>
          <a:lstStyle>
            <a:lvl1pPr marL="0" indent="0">
              <a:buNone/>
              <a:defRPr lang="en-US" sz="1400" smtClean="0">
                <a:latin typeface="Ubuntu" panose="020B0504030602030204" pitchFamily="34" charset="0"/>
                <a:cs typeface="Calibri Light" panose="020F0302020204030204" pitchFamily="34" charset="0"/>
              </a:defRPr>
            </a:lvl1pPr>
          </a:lstStyle>
          <a:p>
            <a:pPr marL="281368" lvl="0" indent="-281368">
              <a:spcBef>
                <a:spcPts val="0"/>
              </a:spcBef>
            </a:pPr>
            <a:r>
              <a:rPr lang="en-US"/>
              <a:t>Click to edit Master text styles</a:t>
            </a:r>
          </a:p>
        </p:txBody>
      </p:sp>
      <p:sp>
        <p:nvSpPr>
          <p:cNvPr id="6" name="SmartArt Placeholder 2">
            <a:extLst>
              <a:ext uri="{FF2B5EF4-FFF2-40B4-BE49-F238E27FC236}">
                <a16:creationId xmlns:a16="http://schemas.microsoft.com/office/drawing/2014/main" id="{0102B8BF-39FD-42F4-964E-8D640199F508}"/>
              </a:ext>
            </a:extLst>
          </p:cNvPr>
          <p:cNvSpPr>
            <a:spLocks noGrp="1"/>
          </p:cNvSpPr>
          <p:nvPr>
            <p:ph type="dgm" sz="quarter" idx="18"/>
          </p:nvPr>
        </p:nvSpPr>
        <p:spPr>
          <a:xfrm>
            <a:off x="6096000" y="1125538"/>
            <a:ext cx="5653087" cy="4751388"/>
          </a:xfrm>
          <a:prstGeom prst="rect">
            <a:avLst/>
          </a:prstGeom>
          <a:solidFill>
            <a:schemeClr val="bg2"/>
          </a:solidFill>
          <a:ln>
            <a:noFill/>
          </a:ln>
        </p:spPr>
        <p:txBody>
          <a:bodyPr/>
          <a:lstStyle>
            <a:lvl1pPr>
              <a:defRPr sz="1723">
                <a:solidFill>
                  <a:schemeClr val="tx1"/>
                </a:solidFill>
                <a:latin typeface="Ubuntu" panose="020B0504030602030204" pitchFamily="34" charset="0"/>
                <a:cs typeface="Calibri Light" panose="020F0302020204030204" pitchFamily="34" charset="0"/>
              </a:defRPr>
            </a:lvl1pPr>
          </a:lstStyle>
          <a:p>
            <a:r>
              <a:rPr lang="en-US"/>
              <a:t>Click icon to add SmartArt graphic</a:t>
            </a:r>
          </a:p>
        </p:txBody>
      </p:sp>
      <p:sp>
        <p:nvSpPr>
          <p:cNvPr id="2" name="Text Placeholder 12">
            <a:extLst>
              <a:ext uri="{FF2B5EF4-FFF2-40B4-BE49-F238E27FC236}">
                <a16:creationId xmlns:a16="http://schemas.microsoft.com/office/drawing/2014/main" id="{D5FD460A-F21B-D5BA-1CC3-657F0D44C44F}"/>
              </a:ext>
            </a:extLst>
          </p:cNvPr>
          <p:cNvSpPr>
            <a:spLocks noGrp="1"/>
          </p:cNvSpPr>
          <p:nvPr>
            <p:ph type="body" sz="quarter" idx="19"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4" name="Title 3">
            <a:extLst>
              <a:ext uri="{FF2B5EF4-FFF2-40B4-BE49-F238E27FC236}">
                <a16:creationId xmlns:a16="http://schemas.microsoft.com/office/drawing/2014/main" id="{C314AC6C-50F2-4009-74D2-B0600B6D628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5434183"/>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ext left_2/3 chart right">
    <p:spTree>
      <p:nvGrpSpPr>
        <p:cNvPr id="1" name=""/>
        <p:cNvGrpSpPr/>
        <p:nvPr/>
      </p:nvGrpSpPr>
      <p:grpSpPr>
        <a:xfrm>
          <a:off x="0" y="0"/>
          <a:ext cx="0" cy="0"/>
          <a:chOff x="0" y="0"/>
          <a:chExt cx="0" cy="0"/>
        </a:xfrm>
      </p:grpSpPr>
      <p:sp>
        <p:nvSpPr>
          <p:cNvPr id="7" name="Text Placeholder 12">
            <a:extLst>
              <a:ext uri="{FF2B5EF4-FFF2-40B4-BE49-F238E27FC236}">
                <a16:creationId xmlns:a16="http://schemas.microsoft.com/office/drawing/2014/main" id="{691F7B2F-C3B5-4FEE-B527-DCF0605F0BD2}"/>
              </a:ext>
            </a:extLst>
          </p:cNvPr>
          <p:cNvSpPr>
            <a:spLocks noGrp="1"/>
          </p:cNvSpPr>
          <p:nvPr>
            <p:ph type="body" sz="quarter" idx="39" hasCustomPrompt="1"/>
          </p:nvPr>
        </p:nvSpPr>
        <p:spPr>
          <a:xfrm>
            <a:off x="3658520" y="1132053"/>
            <a:ext cx="8090567" cy="388772"/>
          </a:xfrm>
          <a:prstGeom prst="rect">
            <a:avLst/>
          </a:prstGeom>
          <a:ln>
            <a:noFill/>
          </a:ln>
        </p:spPr>
        <p:txBody>
          <a:bodyPr vert="horz" lIns="91440" tIns="45720" rIns="91440" bIns="45720" rtlCol="0" anchor="ctr">
            <a:noAutofit/>
          </a:bodyPr>
          <a:lstStyle>
            <a:lvl1pPr marL="0" indent="0">
              <a:spcBef>
                <a:spcPts val="0"/>
              </a:spcBef>
              <a:buNone/>
              <a:defRPr lang="en-US" sz="1400" b="1" dirty="0">
                <a:latin typeface="Ubuntu" panose="020B0504030602030204" pitchFamily="34" charset="0"/>
                <a:cs typeface="Calibri Light" panose="020F0302020204030204" pitchFamily="34" charset="0"/>
              </a:defRPr>
            </a:lvl1pPr>
            <a:lvl2pPr marL="0" indent="0">
              <a:spcBef>
                <a:spcPts val="0"/>
              </a:spcBef>
              <a:buNone/>
              <a:defRPr lang="en-US" sz="1200" baseline="0" dirty="0">
                <a:latin typeface="Ubuntu" panose="020B0504030602030204" pitchFamily="34" charset="0"/>
                <a:cs typeface="Calibri Light" panose="020F0302020204030204" pitchFamily="34" charset="0"/>
              </a:defRPr>
            </a:lvl2pPr>
            <a:lvl3pPr>
              <a:defRPr lang="nb-NO" sz="1354" dirty="0">
                <a:latin typeface="Arial" pitchFamily="34" charset="0"/>
                <a:cs typeface="Arial" pitchFamily="34" charset="0"/>
              </a:defRPr>
            </a:lvl3pPr>
            <a:lvl4pPr>
              <a:defRPr lang="en-US" sz="1354" noProof="0" dirty="0">
                <a:latin typeface="Arial" pitchFamily="34" charset="0"/>
                <a:cs typeface="Arial" pitchFamily="34" charset="0"/>
              </a:defRPr>
            </a:lvl4pPr>
            <a:lvl5pPr>
              <a:defRPr lang="en-US" sz="1354" noProof="0" dirty="0">
                <a:latin typeface="Arial" pitchFamily="34" charset="0"/>
                <a:cs typeface="Arial" pitchFamily="34" charset="0"/>
              </a:defRPr>
            </a:lvl5pPr>
          </a:lstStyle>
          <a:p>
            <a:pPr marL="281368" lvl="0" indent="-281368">
              <a:spcBef>
                <a:spcPts val="0"/>
              </a:spcBef>
            </a:pPr>
            <a:r>
              <a:rPr lang="en-US"/>
              <a:t>Click to enter heading</a:t>
            </a:r>
          </a:p>
          <a:p>
            <a:pPr marL="211027" lvl="1" indent="-211027">
              <a:spcBef>
                <a:spcPts val="0"/>
              </a:spcBef>
            </a:pPr>
            <a:r>
              <a:rPr lang="en-US"/>
              <a:t>Second level (for units)</a:t>
            </a:r>
          </a:p>
        </p:txBody>
      </p:sp>
      <p:sp>
        <p:nvSpPr>
          <p:cNvPr id="8" name="Content Placeholder 7">
            <a:extLst>
              <a:ext uri="{FF2B5EF4-FFF2-40B4-BE49-F238E27FC236}">
                <a16:creationId xmlns:a16="http://schemas.microsoft.com/office/drawing/2014/main" id="{FF52CDFB-4F6B-4086-B9B1-7E022C76B4D7}"/>
              </a:ext>
            </a:extLst>
          </p:cNvPr>
          <p:cNvSpPr>
            <a:spLocks noGrp="1"/>
          </p:cNvSpPr>
          <p:nvPr>
            <p:ph sz="quarter" idx="11" hasCustomPrompt="1"/>
          </p:nvPr>
        </p:nvSpPr>
        <p:spPr>
          <a:xfrm>
            <a:off x="3660478" y="1665288"/>
            <a:ext cx="8088610" cy="4211638"/>
          </a:xfrm>
          <a:prstGeom prst="rect">
            <a:avLst/>
          </a:prstGeom>
        </p:spPr>
        <p:txBody>
          <a:bodyPr vert="horz" lIns="91440" tIns="45720" rIns="91440" bIns="45720" rtlCol="0">
            <a:normAutofit/>
          </a:bodyPr>
          <a:lstStyle>
            <a:lvl1pPr marL="0" indent="0">
              <a:buNone/>
              <a:defRPr lang="en-US" sz="1400" i="1"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5" name="Text Placeholder 4">
            <a:extLst>
              <a:ext uri="{FF2B5EF4-FFF2-40B4-BE49-F238E27FC236}">
                <a16:creationId xmlns:a16="http://schemas.microsoft.com/office/drawing/2014/main" id="{B97E4F99-6CC4-155C-5071-23575D23BFE3}"/>
              </a:ext>
            </a:extLst>
          </p:cNvPr>
          <p:cNvSpPr>
            <a:spLocks noGrp="1"/>
          </p:cNvSpPr>
          <p:nvPr>
            <p:ph type="body" sz="quarter" idx="40"/>
          </p:nvPr>
        </p:nvSpPr>
        <p:spPr>
          <a:xfrm>
            <a:off x="442912" y="1132052"/>
            <a:ext cx="3130551" cy="4738359"/>
          </a:xfrm>
          <a:prstGeom prst="rect">
            <a:avLst/>
          </a:prstGeom>
        </p:spPr>
        <p:txBody>
          <a:bodyPr>
            <a:normAutofit/>
          </a:bodyPr>
          <a:lstStyle>
            <a:lvl1pPr>
              <a:defRPr sz="1400">
                <a:latin typeface="Ubuntu" panose="020B0504030602030204" pitchFamily="34" charset="0"/>
              </a:defRPr>
            </a:lvl1pPr>
            <a:lvl2pPr>
              <a:defRPr sz="1200">
                <a:latin typeface="Ubuntu" panose="020B0504030602030204" pitchFamily="34" charset="0"/>
              </a:defRPr>
            </a:lvl2pPr>
            <a:lvl3pPr>
              <a:defRPr sz="1100">
                <a:latin typeface="Ubuntu" panose="020B0504030602030204" pitchFamily="34" charset="0"/>
              </a:defRPr>
            </a:lvl3pPr>
            <a:lvl4pPr>
              <a:defRPr sz="1050">
                <a:latin typeface="Ubuntu" panose="020B0504030602030204" pitchFamily="34" charset="0"/>
              </a:defRPr>
            </a:lvl4pPr>
            <a:lvl5pPr>
              <a:defRPr sz="1000">
                <a:latin typeface="Ubuntu" panose="020B05040306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 Placeholder 12">
            <a:extLst>
              <a:ext uri="{FF2B5EF4-FFF2-40B4-BE49-F238E27FC236}">
                <a16:creationId xmlns:a16="http://schemas.microsoft.com/office/drawing/2014/main" id="{83116670-4685-ECB6-A8D9-8510D98B02E7}"/>
              </a:ext>
            </a:extLst>
          </p:cNvPr>
          <p:cNvSpPr>
            <a:spLocks noGrp="1"/>
          </p:cNvSpPr>
          <p:nvPr>
            <p:ph type="body" sz="quarter" idx="19"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4" name="Title 3">
            <a:extLst>
              <a:ext uri="{FF2B5EF4-FFF2-40B4-BE49-F238E27FC236}">
                <a16:creationId xmlns:a16="http://schemas.microsoft.com/office/drawing/2014/main" id="{3CE7F24C-E530-21F2-0BD4-AD22AA3CCFCE}"/>
              </a:ext>
            </a:extLst>
          </p:cNvPr>
          <p:cNvSpPr>
            <a:spLocks noGrp="1"/>
          </p:cNvSpPr>
          <p:nvPr>
            <p:ph type="title"/>
          </p:nvPr>
        </p:nvSpPr>
        <p:spPr/>
        <p:txBody>
          <a:bodyPr/>
          <a:lstStyle/>
          <a:p>
            <a:r>
              <a:rPr lang="en-US"/>
              <a:t>Click to edit Master title style</a:t>
            </a:r>
          </a:p>
        </p:txBody>
      </p:sp>
      <p:cxnSp>
        <p:nvCxnSpPr>
          <p:cNvPr id="6" name="Straight Connector 5">
            <a:extLst>
              <a:ext uri="{FF2B5EF4-FFF2-40B4-BE49-F238E27FC236}">
                <a16:creationId xmlns:a16="http://schemas.microsoft.com/office/drawing/2014/main" id="{62E2E0B1-12BA-ACE9-CE41-529FE4438D52}"/>
              </a:ext>
            </a:extLst>
          </p:cNvPr>
          <p:cNvCxnSpPr>
            <a:cxnSpLocks/>
          </p:cNvCxnSpPr>
          <p:nvPr/>
        </p:nvCxnSpPr>
        <p:spPr>
          <a:xfrm flipV="1">
            <a:off x="3616970" y="1125000"/>
            <a:ext cx="0" cy="4754425"/>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1720644"/>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left_2/3 text box right">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D998BD74-277F-C593-1905-9823020500C4}"/>
              </a:ext>
            </a:extLst>
          </p:cNvPr>
          <p:cNvSpPr>
            <a:spLocks noGrp="1"/>
          </p:cNvSpPr>
          <p:nvPr>
            <p:ph type="body" sz="quarter" idx="40"/>
          </p:nvPr>
        </p:nvSpPr>
        <p:spPr>
          <a:xfrm>
            <a:off x="442912" y="1132703"/>
            <a:ext cx="3130551" cy="4737057"/>
          </a:xfrm>
          <a:prstGeom prst="rect">
            <a:avLst/>
          </a:prstGeom>
        </p:spPr>
        <p:txBody>
          <a:bodyPr>
            <a:normAutofit/>
          </a:bodyPr>
          <a:lstStyle>
            <a:lvl1pPr>
              <a:defRPr sz="1400">
                <a:latin typeface="Ubuntu" panose="020B0504030602030204" pitchFamily="34" charset="0"/>
              </a:defRPr>
            </a:lvl1pPr>
            <a:lvl2pPr>
              <a:defRPr sz="1200">
                <a:latin typeface="Ubuntu" panose="020B0504030602030204" pitchFamily="34" charset="0"/>
              </a:defRPr>
            </a:lvl2pPr>
            <a:lvl3pPr>
              <a:defRPr sz="1100">
                <a:latin typeface="Ubuntu" panose="020B0504030602030204" pitchFamily="34" charset="0"/>
              </a:defRPr>
            </a:lvl3pPr>
            <a:lvl4pPr>
              <a:defRPr sz="1050">
                <a:latin typeface="Ubuntu" panose="020B0504030602030204" pitchFamily="34" charset="0"/>
              </a:defRPr>
            </a:lvl4pPr>
            <a:lvl5pPr>
              <a:defRPr sz="1000">
                <a:latin typeface="Ubuntu" panose="020B05040306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a:extLst>
              <a:ext uri="{FF2B5EF4-FFF2-40B4-BE49-F238E27FC236}">
                <a16:creationId xmlns:a16="http://schemas.microsoft.com/office/drawing/2014/main" id="{CE352A8B-B5A8-F8AE-F4F9-AB6D514F1019}"/>
              </a:ext>
            </a:extLst>
          </p:cNvPr>
          <p:cNvSpPr>
            <a:spLocks noGrp="1"/>
          </p:cNvSpPr>
          <p:nvPr>
            <p:ph type="body" sz="quarter" idx="41"/>
          </p:nvPr>
        </p:nvSpPr>
        <p:spPr>
          <a:xfrm>
            <a:off x="3660477" y="1125539"/>
            <a:ext cx="8088609" cy="4751386"/>
          </a:xfrm>
          <a:prstGeom prst="rect">
            <a:avLst/>
          </a:prstGeom>
        </p:spPr>
        <p:txBody>
          <a:bodyPr>
            <a:normAutofit/>
          </a:bodyPr>
          <a:lstStyle>
            <a:lvl1pPr>
              <a:defRPr sz="1400">
                <a:latin typeface="Ubuntu" panose="020B0504030602030204" pitchFamily="34" charset="0"/>
              </a:defRPr>
            </a:lvl1pPr>
            <a:lvl2pPr>
              <a:defRPr sz="1200">
                <a:latin typeface="Ubuntu" panose="020B0504030602030204" pitchFamily="34" charset="0"/>
              </a:defRPr>
            </a:lvl2pPr>
            <a:lvl3pPr>
              <a:defRPr sz="1100">
                <a:latin typeface="Ubuntu" panose="020B0504030602030204" pitchFamily="34" charset="0"/>
              </a:defRPr>
            </a:lvl3pPr>
            <a:lvl4pPr>
              <a:defRPr sz="1200">
                <a:latin typeface="Ubuntu" panose="020B0504030602030204" pitchFamily="34" charset="0"/>
              </a:defRPr>
            </a:lvl4pPr>
            <a:lvl5pPr>
              <a:defRPr sz="1100">
                <a:latin typeface="Ubuntu" panose="020B05040306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 Placeholder 12">
            <a:extLst>
              <a:ext uri="{FF2B5EF4-FFF2-40B4-BE49-F238E27FC236}">
                <a16:creationId xmlns:a16="http://schemas.microsoft.com/office/drawing/2014/main" id="{E575AB04-3E92-9790-D43D-ABC9FC4B6666}"/>
              </a:ext>
            </a:extLst>
          </p:cNvPr>
          <p:cNvSpPr>
            <a:spLocks noGrp="1"/>
          </p:cNvSpPr>
          <p:nvPr>
            <p:ph type="body" sz="quarter" idx="19"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4" name="Title 3">
            <a:extLst>
              <a:ext uri="{FF2B5EF4-FFF2-40B4-BE49-F238E27FC236}">
                <a16:creationId xmlns:a16="http://schemas.microsoft.com/office/drawing/2014/main" id="{CA334D56-72C1-BDF6-63EC-5F3096EB2308}"/>
              </a:ext>
            </a:extLst>
          </p:cNvPr>
          <p:cNvSpPr>
            <a:spLocks noGrp="1"/>
          </p:cNvSpPr>
          <p:nvPr>
            <p:ph type="title"/>
          </p:nvPr>
        </p:nvSpPr>
        <p:spPr/>
        <p:txBody>
          <a:bodyPr/>
          <a:lstStyle/>
          <a:p>
            <a:r>
              <a:rPr lang="en-US"/>
              <a:t>Click to edit Master title style</a:t>
            </a:r>
          </a:p>
        </p:txBody>
      </p:sp>
      <p:cxnSp>
        <p:nvCxnSpPr>
          <p:cNvPr id="5" name="Straight Connector 4">
            <a:extLst>
              <a:ext uri="{FF2B5EF4-FFF2-40B4-BE49-F238E27FC236}">
                <a16:creationId xmlns:a16="http://schemas.microsoft.com/office/drawing/2014/main" id="{7828B48C-EA9A-2BE4-2A3C-379A336468F3}"/>
              </a:ext>
            </a:extLst>
          </p:cNvPr>
          <p:cNvCxnSpPr>
            <a:cxnSpLocks/>
          </p:cNvCxnSpPr>
          <p:nvPr/>
        </p:nvCxnSpPr>
        <p:spPr>
          <a:xfrm flipV="1">
            <a:off x="3616970" y="1125000"/>
            <a:ext cx="0" cy="4754425"/>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3240720"/>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x chart or table vertical">
    <p:spTree>
      <p:nvGrpSpPr>
        <p:cNvPr id="1" name=""/>
        <p:cNvGrpSpPr/>
        <p:nvPr/>
      </p:nvGrpSpPr>
      <p:grpSpPr>
        <a:xfrm>
          <a:off x="0" y="0"/>
          <a:ext cx="0" cy="0"/>
          <a:chOff x="0" y="0"/>
          <a:chExt cx="0" cy="0"/>
        </a:xfrm>
      </p:grpSpPr>
      <p:sp>
        <p:nvSpPr>
          <p:cNvPr id="14" name="Text Placeholder 12">
            <a:extLst>
              <a:ext uri="{FF2B5EF4-FFF2-40B4-BE49-F238E27FC236}">
                <a16:creationId xmlns:a16="http://schemas.microsoft.com/office/drawing/2014/main" id="{A08EC0B8-0FAB-41BE-9F01-5B8EBFC79400}"/>
              </a:ext>
            </a:extLst>
          </p:cNvPr>
          <p:cNvSpPr>
            <a:spLocks noGrp="1"/>
          </p:cNvSpPr>
          <p:nvPr>
            <p:ph type="body" sz="quarter" idx="39" hasCustomPrompt="1"/>
          </p:nvPr>
        </p:nvSpPr>
        <p:spPr>
          <a:xfrm>
            <a:off x="464679" y="1665289"/>
            <a:ext cx="5581945" cy="4205112"/>
          </a:xfrm>
          <a:prstGeom prst="rect">
            <a:avLst/>
          </a:prstGeom>
          <a:ln>
            <a:noFill/>
          </a:ln>
        </p:spPr>
        <p:txBody>
          <a:bodyPr vert="horz" lIns="91440" tIns="45720" rIns="91440" bIns="45720" rtlCol="0">
            <a:normAutofit/>
          </a:bodyPr>
          <a:lstStyle>
            <a:lvl1pPr marL="0" indent="0">
              <a:buNone/>
              <a:defRPr lang="en-US" sz="1400" b="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15" name="Text Placeholder 12">
            <a:extLst>
              <a:ext uri="{FF2B5EF4-FFF2-40B4-BE49-F238E27FC236}">
                <a16:creationId xmlns:a16="http://schemas.microsoft.com/office/drawing/2014/main" id="{6631473F-41E5-4DE4-B187-3EEF1EBD09F2}"/>
              </a:ext>
            </a:extLst>
          </p:cNvPr>
          <p:cNvSpPr>
            <a:spLocks noGrp="1"/>
          </p:cNvSpPr>
          <p:nvPr>
            <p:ph type="body" sz="quarter" idx="40" hasCustomPrompt="1"/>
          </p:nvPr>
        </p:nvSpPr>
        <p:spPr>
          <a:xfrm>
            <a:off x="6158077" y="1665289"/>
            <a:ext cx="5591011" cy="4205112"/>
          </a:xfrm>
          <a:prstGeom prst="rect">
            <a:avLst/>
          </a:prstGeom>
          <a:ln>
            <a:noFill/>
          </a:ln>
        </p:spPr>
        <p:txBody>
          <a:bodyPr>
            <a:normAutofit/>
          </a:bodyPr>
          <a:lstStyle>
            <a:lvl1pPr marL="0" indent="0">
              <a:spcBef>
                <a:spcPts val="0"/>
              </a:spcBef>
              <a:buFont typeface="Arial" panose="020B0604020202020204" pitchFamily="34" charset="0"/>
              <a:buNone/>
              <a:defRPr sz="1400" b="0" i="0">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354" baseline="0"/>
            </a:lvl2pPr>
            <a:lvl3pPr marL="140684" indent="-140684">
              <a:spcBef>
                <a:spcPts val="0"/>
              </a:spcBef>
              <a:defRPr sz="1354"/>
            </a:lvl3pPr>
            <a:lvl4pPr marL="418145" indent="-134822">
              <a:spcBef>
                <a:spcPts val="0"/>
              </a:spcBef>
              <a:defRPr sz="1354"/>
            </a:lvl4pPr>
            <a:lvl5pPr marL="846058" indent="-140684">
              <a:spcBef>
                <a:spcPts val="0"/>
              </a:spcBef>
              <a:defRPr sz="1354"/>
            </a:lvl5pPr>
          </a:lstStyle>
          <a:p>
            <a:pPr lvl="0"/>
            <a:r>
              <a:rPr lang="en-US"/>
              <a:t>CUBEOUT chart to be placed here</a:t>
            </a:r>
          </a:p>
        </p:txBody>
      </p:sp>
      <p:sp>
        <p:nvSpPr>
          <p:cNvPr id="2" name="Text Placeholder 12">
            <a:extLst>
              <a:ext uri="{FF2B5EF4-FFF2-40B4-BE49-F238E27FC236}">
                <a16:creationId xmlns:a16="http://schemas.microsoft.com/office/drawing/2014/main" id="{461B5F8D-A275-E61A-F821-1CC7A7764CCD}"/>
              </a:ext>
            </a:extLst>
          </p:cNvPr>
          <p:cNvSpPr>
            <a:spLocks noGrp="1"/>
          </p:cNvSpPr>
          <p:nvPr>
            <p:ph type="body" sz="quarter" idx="19"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4" name="Title 3">
            <a:extLst>
              <a:ext uri="{FF2B5EF4-FFF2-40B4-BE49-F238E27FC236}">
                <a16:creationId xmlns:a16="http://schemas.microsoft.com/office/drawing/2014/main" id="{17E067CA-F11C-DFF3-F224-CF7CC5DFC18E}"/>
              </a:ext>
            </a:extLst>
          </p:cNvPr>
          <p:cNvSpPr>
            <a:spLocks noGrp="1"/>
          </p:cNvSpPr>
          <p:nvPr>
            <p:ph type="title"/>
          </p:nvPr>
        </p:nvSpPr>
        <p:spPr/>
        <p:txBody>
          <a:bodyPr/>
          <a:lstStyle/>
          <a:p>
            <a:r>
              <a:rPr lang="en-US"/>
              <a:t>Click to edit Master title style</a:t>
            </a:r>
          </a:p>
        </p:txBody>
      </p:sp>
      <p:sp>
        <p:nvSpPr>
          <p:cNvPr id="7" name="Text Placeholder 12">
            <a:extLst>
              <a:ext uri="{FF2B5EF4-FFF2-40B4-BE49-F238E27FC236}">
                <a16:creationId xmlns:a16="http://schemas.microsoft.com/office/drawing/2014/main" id="{0C6DCDB4-B579-21A7-A379-E2F5B266184D}"/>
              </a:ext>
            </a:extLst>
          </p:cNvPr>
          <p:cNvSpPr>
            <a:spLocks noGrp="1"/>
          </p:cNvSpPr>
          <p:nvPr>
            <p:ph type="body" sz="quarter" idx="41" hasCustomPrompt="1"/>
          </p:nvPr>
        </p:nvSpPr>
        <p:spPr>
          <a:xfrm>
            <a:off x="6163056" y="1127134"/>
            <a:ext cx="5586031" cy="388772"/>
          </a:xfrm>
          <a:prstGeom prst="rect">
            <a:avLst/>
          </a:prstGeom>
          <a:ln>
            <a:noFill/>
          </a:ln>
        </p:spPr>
        <p:txBody>
          <a:bodyPr vert="horz" lIns="91440" tIns="45720" rIns="91440" bIns="45720" rtlCol="0" anchor="ctr">
            <a:noAutofit/>
          </a:bodyPr>
          <a:lstStyle>
            <a:lvl1pPr marL="0" indent="0">
              <a:spcBef>
                <a:spcPts val="0"/>
              </a:spcBef>
              <a:buNone/>
              <a:defRPr lang="en-US" sz="1400" b="1" dirty="0">
                <a:latin typeface="Ubuntu" panose="020B0504030602030204" pitchFamily="34" charset="0"/>
                <a:cs typeface="Calibri Light" panose="020F0302020204030204" pitchFamily="34" charset="0"/>
              </a:defRPr>
            </a:lvl1pPr>
            <a:lvl2pPr marL="0" indent="0">
              <a:spcBef>
                <a:spcPts val="0"/>
              </a:spcBef>
              <a:buNone/>
              <a:defRPr lang="en-US" sz="1200" baseline="0" dirty="0">
                <a:latin typeface="Ubuntu" panose="020B0504030602030204" pitchFamily="34" charset="0"/>
                <a:cs typeface="Calibri Light" panose="020F0302020204030204" pitchFamily="34" charset="0"/>
              </a:defRPr>
            </a:lvl2pPr>
            <a:lvl3pPr>
              <a:defRPr lang="nb-NO" sz="1354" dirty="0">
                <a:latin typeface="Arial" pitchFamily="34" charset="0"/>
                <a:cs typeface="Arial" pitchFamily="34" charset="0"/>
              </a:defRPr>
            </a:lvl3pPr>
            <a:lvl4pPr>
              <a:defRPr lang="en-US" sz="1354" noProof="0" dirty="0">
                <a:latin typeface="Arial" pitchFamily="34" charset="0"/>
                <a:cs typeface="Arial" pitchFamily="34" charset="0"/>
              </a:defRPr>
            </a:lvl4pPr>
            <a:lvl5pPr>
              <a:defRPr lang="en-US" sz="1354" noProof="0" dirty="0">
                <a:latin typeface="Arial" pitchFamily="34" charset="0"/>
                <a:cs typeface="Arial" pitchFamily="34" charset="0"/>
              </a:defRPr>
            </a:lvl5pPr>
          </a:lstStyle>
          <a:p>
            <a:pPr marL="281368" lvl="0" indent="-281368">
              <a:spcBef>
                <a:spcPts val="0"/>
              </a:spcBef>
            </a:pPr>
            <a:r>
              <a:rPr lang="en-US"/>
              <a:t>Click to enter heading</a:t>
            </a:r>
          </a:p>
          <a:p>
            <a:pPr marL="211027" lvl="1" indent="-211027">
              <a:spcBef>
                <a:spcPts val="0"/>
              </a:spcBef>
            </a:pPr>
            <a:r>
              <a:rPr lang="en-US"/>
              <a:t>Second level (for units)</a:t>
            </a:r>
          </a:p>
        </p:txBody>
      </p:sp>
      <p:sp>
        <p:nvSpPr>
          <p:cNvPr id="9" name="Text Placeholder 12">
            <a:extLst>
              <a:ext uri="{FF2B5EF4-FFF2-40B4-BE49-F238E27FC236}">
                <a16:creationId xmlns:a16="http://schemas.microsoft.com/office/drawing/2014/main" id="{E0790087-961F-BF25-F2C3-835963BB9147}"/>
              </a:ext>
            </a:extLst>
          </p:cNvPr>
          <p:cNvSpPr>
            <a:spLocks noGrp="1"/>
          </p:cNvSpPr>
          <p:nvPr>
            <p:ph type="body" sz="quarter" idx="42" hasCustomPrompt="1"/>
          </p:nvPr>
        </p:nvSpPr>
        <p:spPr>
          <a:xfrm>
            <a:off x="451521" y="1127134"/>
            <a:ext cx="5605394" cy="388772"/>
          </a:xfrm>
          <a:prstGeom prst="rect">
            <a:avLst/>
          </a:prstGeom>
          <a:ln>
            <a:noFill/>
          </a:ln>
        </p:spPr>
        <p:txBody>
          <a:bodyPr vert="horz" lIns="91440" tIns="45720" rIns="91440" bIns="45720" rtlCol="0" anchor="ctr">
            <a:noAutofit/>
          </a:bodyPr>
          <a:lstStyle>
            <a:lvl1pPr marL="0" indent="0">
              <a:spcBef>
                <a:spcPts val="0"/>
              </a:spcBef>
              <a:buNone/>
              <a:defRPr lang="en-US" sz="1400" b="1" dirty="0">
                <a:latin typeface="Ubuntu" panose="020B0504030602030204" pitchFamily="34" charset="0"/>
                <a:cs typeface="Calibri Light" panose="020F0302020204030204" pitchFamily="34" charset="0"/>
              </a:defRPr>
            </a:lvl1pPr>
            <a:lvl2pPr marL="0" indent="0">
              <a:spcBef>
                <a:spcPts val="0"/>
              </a:spcBef>
              <a:buNone/>
              <a:defRPr lang="en-US" sz="1200" baseline="0" dirty="0">
                <a:latin typeface="Ubuntu" panose="020B0504030602030204" pitchFamily="34" charset="0"/>
                <a:cs typeface="Calibri Light" panose="020F0302020204030204" pitchFamily="34" charset="0"/>
              </a:defRPr>
            </a:lvl2pPr>
            <a:lvl3pPr>
              <a:defRPr lang="nb-NO" sz="1354" dirty="0">
                <a:latin typeface="Arial" pitchFamily="34" charset="0"/>
                <a:cs typeface="Arial" pitchFamily="34" charset="0"/>
              </a:defRPr>
            </a:lvl3pPr>
            <a:lvl4pPr>
              <a:defRPr lang="en-US" sz="1354" noProof="0" dirty="0">
                <a:latin typeface="Arial" pitchFamily="34" charset="0"/>
                <a:cs typeface="Arial" pitchFamily="34" charset="0"/>
              </a:defRPr>
            </a:lvl4pPr>
            <a:lvl5pPr>
              <a:defRPr lang="en-US" sz="1354" noProof="0" dirty="0">
                <a:latin typeface="Arial" pitchFamily="34" charset="0"/>
                <a:cs typeface="Arial" pitchFamily="34" charset="0"/>
              </a:defRPr>
            </a:lvl5pPr>
          </a:lstStyle>
          <a:p>
            <a:pPr marL="281368" lvl="0" indent="-281368">
              <a:spcBef>
                <a:spcPts val="0"/>
              </a:spcBef>
            </a:pPr>
            <a:r>
              <a:rPr lang="en-US"/>
              <a:t>Click to enter heading</a:t>
            </a:r>
          </a:p>
          <a:p>
            <a:pPr marL="211027" lvl="1" indent="-211027">
              <a:spcBef>
                <a:spcPts val="0"/>
              </a:spcBef>
            </a:pPr>
            <a:r>
              <a:rPr lang="en-US"/>
              <a:t>Second level (for units)</a:t>
            </a:r>
          </a:p>
        </p:txBody>
      </p:sp>
      <p:cxnSp>
        <p:nvCxnSpPr>
          <p:cNvPr id="10" name="Straight Connector 9">
            <a:extLst>
              <a:ext uri="{FF2B5EF4-FFF2-40B4-BE49-F238E27FC236}">
                <a16:creationId xmlns:a16="http://schemas.microsoft.com/office/drawing/2014/main" id="{0A198520-0E84-4848-C3BD-70999EF4B0A7}"/>
              </a:ext>
            </a:extLst>
          </p:cNvPr>
          <p:cNvCxnSpPr>
            <a:cxnSpLocks/>
          </p:cNvCxnSpPr>
          <p:nvPr/>
        </p:nvCxnSpPr>
        <p:spPr>
          <a:xfrm flipV="1">
            <a:off x="6102350" y="1125000"/>
            <a:ext cx="0" cy="4754425"/>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7299378"/>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ext left_4x chart or table right">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1CF98797-848B-4104-B922-5DC940899503}"/>
              </a:ext>
            </a:extLst>
          </p:cNvPr>
          <p:cNvSpPr txBox="1">
            <a:spLocks/>
          </p:cNvSpPr>
          <p:nvPr/>
        </p:nvSpPr>
        <p:spPr>
          <a:xfrm>
            <a:off x="375139" y="161196"/>
            <a:ext cx="11347938" cy="206969"/>
          </a:xfrm>
          <a:prstGeom prst="rect">
            <a:avLst/>
          </a:prstGeom>
        </p:spPr>
        <p:txBody>
          <a:bodyPr vert="horz" lIns="112542" tIns="56271" rIns="112542" bIns="56271" rtlCol="0" anchor="ctr">
            <a:noAutofit/>
          </a:bodyPr>
          <a:lstStyle/>
          <a:p>
            <a:pPr marL="0" marR="0" lvl="0" indent="0" algn="l" defTabSz="1125472" rtl="0" eaLnBrk="1" fontAlgn="auto" latinLnBrk="0" hangingPunct="1">
              <a:lnSpc>
                <a:spcPct val="100000"/>
              </a:lnSpc>
              <a:spcBef>
                <a:spcPct val="0"/>
              </a:spcBef>
              <a:spcAft>
                <a:spcPts val="0"/>
              </a:spcAft>
              <a:buClrTx/>
              <a:buSzTx/>
              <a:buFontTx/>
              <a:buNone/>
              <a:tabLst/>
              <a:defRPr/>
            </a:pPr>
            <a:endParaRPr kumimoji="0" lang="nb-NO" sz="1108" i="0" u="none" strike="noStrike" kern="1200" cap="none" spc="0" normalizeH="0" baseline="0" noProof="0">
              <a:ln>
                <a:noFill/>
              </a:ln>
              <a:solidFill>
                <a:schemeClr val="tx1"/>
              </a:solidFill>
              <a:effectLst/>
              <a:uLnTx/>
              <a:uFillTx/>
              <a:latin typeface="Ubuntu" panose="020B0504030602030204" pitchFamily="34" charset="0"/>
              <a:ea typeface="+mj-ea"/>
              <a:cs typeface="Arial" pitchFamily="34" charset="0"/>
            </a:endParaRPr>
          </a:p>
        </p:txBody>
      </p:sp>
      <p:cxnSp>
        <p:nvCxnSpPr>
          <p:cNvPr id="13" name="Straight Connector 12">
            <a:extLst>
              <a:ext uri="{FF2B5EF4-FFF2-40B4-BE49-F238E27FC236}">
                <a16:creationId xmlns:a16="http://schemas.microsoft.com/office/drawing/2014/main" id="{C34F9336-B033-4132-B9E7-D2DFD3EB67C1}"/>
              </a:ext>
            </a:extLst>
          </p:cNvPr>
          <p:cNvCxnSpPr>
            <a:cxnSpLocks/>
          </p:cNvCxnSpPr>
          <p:nvPr/>
        </p:nvCxnSpPr>
        <p:spPr>
          <a:xfrm flipV="1">
            <a:off x="7700505" y="1125000"/>
            <a:ext cx="0" cy="4754425"/>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Title 4">
            <a:extLst>
              <a:ext uri="{FF2B5EF4-FFF2-40B4-BE49-F238E27FC236}">
                <a16:creationId xmlns:a16="http://schemas.microsoft.com/office/drawing/2014/main" id="{C282F680-6156-4790-BCC1-40F7531B4266}"/>
              </a:ext>
            </a:extLst>
          </p:cNvPr>
          <p:cNvSpPr txBox="1">
            <a:spLocks/>
          </p:cNvSpPr>
          <p:nvPr/>
        </p:nvSpPr>
        <p:spPr>
          <a:xfrm>
            <a:off x="375139" y="161196"/>
            <a:ext cx="11347938" cy="206969"/>
          </a:xfrm>
          <a:prstGeom prst="rect">
            <a:avLst/>
          </a:prstGeom>
        </p:spPr>
        <p:txBody>
          <a:bodyPr vert="horz" lIns="112542" tIns="56271" rIns="112542" bIns="56271" rtlCol="0" anchor="ctr">
            <a:noAutofit/>
          </a:bodyPr>
          <a:lstStyle/>
          <a:p>
            <a:pPr marL="0" marR="0" lvl="0" indent="0" algn="l" defTabSz="1125472" rtl="0" eaLnBrk="1" fontAlgn="auto" latinLnBrk="0" hangingPunct="1">
              <a:lnSpc>
                <a:spcPct val="100000"/>
              </a:lnSpc>
              <a:spcBef>
                <a:spcPct val="0"/>
              </a:spcBef>
              <a:spcAft>
                <a:spcPts val="0"/>
              </a:spcAft>
              <a:buClrTx/>
              <a:buSzTx/>
              <a:buFontTx/>
              <a:buNone/>
              <a:tabLst/>
              <a:defRPr/>
            </a:pPr>
            <a:endParaRPr kumimoji="0" lang="nb-NO" sz="1108" i="0" u="none" strike="noStrike" kern="1200" cap="none" spc="0" normalizeH="0" baseline="0" noProof="0">
              <a:ln>
                <a:noFill/>
              </a:ln>
              <a:solidFill>
                <a:schemeClr val="tx1"/>
              </a:solidFill>
              <a:effectLst/>
              <a:uLnTx/>
              <a:uFillTx/>
              <a:latin typeface="Ubuntu" panose="020B0504030602030204" pitchFamily="34" charset="0"/>
              <a:ea typeface="+mj-ea"/>
              <a:cs typeface="Arial" pitchFamily="34" charset="0"/>
            </a:endParaRPr>
          </a:p>
        </p:txBody>
      </p:sp>
      <p:sp>
        <p:nvSpPr>
          <p:cNvPr id="19" name="Title 4">
            <a:extLst>
              <a:ext uri="{FF2B5EF4-FFF2-40B4-BE49-F238E27FC236}">
                <a16:creationId xmlns:a16="http://schemas.microsoft.com/office/drawing/2014/main" id="{1D1F5268-71B8-44A8-97FC-967E32F7D16C}"/>
              </a:ext>
            </a:extLst>
          </p:cNvPr>
          <p:cNvSpPr txBox="1">
            <a:spLocks/>
          </p:cNvSpPr>
          <p:nvPr/>
        </p:nvSpPr>
        <p:spPr>
          <a:xfrm>
            <a:off x="375139" y="161196"/>
            <a:ext cx="11347938" cy="206969"/>
          </a:xfrm>
          <a:prstGeom prst="rect">
            <a:avLst/>
          </a:prstGeom>
        </p:spPr>
        <p:txBody>
          <a:bodyPr vert="horz" lIns="112542" tIns="56271" rIns="112542" bIns="56271" rtlCol="0" anchor="ctr">
            <a:noAutofit/>
          </a:bodyPr>
          <a:lstStyle/>
          <a:p>
            <a:pPr marL="0" marR="0" lvl="0" indent="0" algn="l" defTabSz="1125472" rtl="0" eaLnBrk="1" fontAlgn="auto" latinLnBrk="0" hangingPunct="1">
              <a:lnSpc>
                <a:spcPct val="100000"/>
              </a:lnSpc>
              <a:spcBef>
                <a:spcPct val="0"/>
              </a:spcBef>
              <a:spcAft>
                <a:spcPts val="0"/>
              </a:spcAft>
              <a:buClrTx/>
              <a:buSzTx/>
              <a:buFontTx/>
              <a:buNone/>
              <a:tabLst/>
              <a:defRPr/>
            </a:pPr>
            <a:endParaRPr kumimoji="0" lang="nb-NO" sz="1108" i="0" u="none" strike="noStrike" kern="1200" cap="none" spc="0" normalizeH="0" baseline="0" noProof="0">
              <a:ln>
                <a:noFill/>
              </a:ln>
              <a:solidFill>
                <a:schemeClr val="tx1"/>
              </a:solidFill>
              <a:effectLst/>
              <a:uLnTx/>
              <a:uFillTx/>
              <a:latin typeface="Ubuntu" panose="020B0504030602030204" pitchFamily="34" charset="0"/>
              <a:ea typeface="+mj-ea"/>
              <a:cs typeface="Arial" pitchFamily="34" charset="0"/>
            </a:endParaRPr>
          </a:p>
        </p:txBody>
      </p:sp>
      <p:cxnSp>
        <p:nvCxnSpPr>
          <p:cNvPr id="22" name="Straight Connector 21">
            <a:extLst>
              <a:ext uri="{FF2B5EF4-FFF2-40B4-BE49-F238E27FC236}">
                <a16:creationId xmlns:a16="http://schemas.microsoft.com/office/drawing/2014/main" id="{DA18F17F-8490-4695-ADC4-9C05F8C7FAE9}"/>
              </a:ext>
            </a:extLst>
          </p:cNvPr>
          <p:cNvCxnSpPr>
            <a:cxnSpLocks/>
          </p:cNvCxnSpPr>
          <p:nvPr/>
        </p:nvCxnSpPr>
        <p:spPr>
          <a:xfrm rot="10800000" flipH="1">
            <a:off x="3629340" y="3519030"/>
            <a:ext cx="811071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8B378EEE-82DF-484D-A189-8FA7ECB65AF6}"/>
              </a:ext>
            </a:extLst>
          </p:cNvPr>
          <p:cNvSpPr>
            <a:spLocks noGrp="1"/>
          </p:cNvSpPr>
          <p:nvPr>
            <p:ph type="body" sz="quarter" idx="45" hasCustomPrompt="1"/>
          </p:nvPr>
        </p:nvSpPr>
        <p:spPr>
          <a:xfrm>
            <a:off x="3654479" y="1561833"/>
            <a:ext cx="4004120" cy="1836000"/>
          </a:xfrm>
          <a:prstGeom prst="rect">
            <a:avLst/>
          </a:prstGeom>
          <a:ln>
            <a:noFill/>
          </a:ln>
        </p:spPr>
        <p:txBody>
          <a:bodyPr vert="horz" lIns="91440" tIns="45720" rIns="91440" bIns="45720" rtlCol="0">
            <a:normAutofit/>
          </a:bodyPr>
          <a:lstStyle>
            <a:lvl1pPr marL="0" indent="0">
              <a:buNone/>
              <a:defRPr lang="en-US" sz="1400" b="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25" name="Text Placeholder 12">
            <a:extLst>
              <a:ext uri="{FF2B5EF4-FFF2-40B4-BE49-F238E27FC236}">
                <a16:creationId xmlns:a16="http://schemas.microsoft.com/office/drawing/2014/main" id="{1843DD0B-FEB7-421E-BE19-7C94D6189735}"/>
              </a:ext>
            </a:extLst>
          </p:cNvPr>
          <p:cNvSpPr>
            <a:spLocks noGrp="1"/>
          </p:cNvSpPr>
          <p:nvPr>
            <p:ph type="body" sz="quarter" idx="47" hasCustomPrompt="1"/>
          </p:nvPr>
        </p:nvSpPr>
        <p:spPr>
          <a:xfrm>
            <a:off x="3654478" y="4040999"/>
            <a:ext cx="4001563" cy="1836000"/>
          </a:xfrm>
          <a:prstGeom prst="rect">
            <a:avLst/>
          </a:prstGeom>
          <a:ln>
            <a:noFill/>
          </a:ln>
        </p:spPr>
        <p:txBody>
          <a:bodyPr vert="horz" lIns="91440" tIns="45720" rIns="91440" bIns="45720" rtlCol="0">
            <a:normAutofit/>
          </a:bodyPr>
          <a:lstStyle>
            <a:lvl1pPr marL="0" indent="0">
              <a:buNone/>
              <a:defRPr lang="en-US" sz="1400" b="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2" name="Text Placeholder 12">
            <a:extLst>
              <a:ext uri="{FF2B5EF4-FFF2-40B4-BE49-F238E27FC236}">
                <a16:creationId xmlns:a16="http://schemas.microsoft.com/office/drawing/2014/main" id="{6447E263-0607-B52A-7382-5064B7608DED}"/>
              </a:ext>
            </a:extLst>
          </p:cNvPr>
          <p:cNvSpPr>
            <a:spLocks noGrp="1"/>
          </p:cNvSpPr>
          <p:nvPr>
            <p:ph type="body" sz="quarter" idx="19"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4" name="Title 3">
            <a:extLst>
              <a:ext uri="{FF2B5EF4-FFF2-40B4-BE49-F238E27FC236}">
                <a16:creationId xmlns:a16="http://schemas.microsoft.com/office/drawing/2014/main" id="{9FE58178-8573-48D1-8E6C-EF4572FC3EFB}"/>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074799BD-4003-D9EC-2147-5B4F0B46592B}"/>
              </a:ext>
            </a:extLst>
          </p:cNvPr>
          <p:cNvSpPr>
            <a:spLocks noGrp="1"/>
          </p:cNvSpPr>
          <p:nvPr>
            <p:ph type="body" sz="quarter" idx="40"/>
          </p:nvPr>
        </p:nvSpPr>
        <p:spPr>
          <a:xfrm>
            <a:off x="442912" y="1132703"/>
            <a:ext cx="3130551" cy="4737057"/>
          </a:xfrm>
          <a:prstGeom prst="rect">
            <a:avLst/>
          </a:prstGeom>
        </p:spPr>
        <p:txBody>
          <a:bodyPr>
            <a:normAutofit/>
          </a:bodyPr>
          <a:lstStyle>
            <a:lvl1pPr>
              <a:defRPr sz="1400">
                <a:latin typeface="Ubuntu" panose="020B0504030602030204" pitchFamily="34" charset="0"/>
              </a:defRPr>
            </a:lvl1pPr>
            <a:lvl2pPr>
              <a:defRPr sz="1200">
                <a:latin typeface="Ubuntu" panose="020B0504030602030204" pitchFamily="34" charset="0"/>
              </a:defRPr>
            </a:lvl2pPr>
            <a:lvl3pPr>
              <a:defRPr sz="1100">
                <a:latin typeface="Ubuntu" panose="020B0504030602030204" pitchFamily="34" charset="0"/>
              </a:defRPr>
            </a:lvl3pPr>
            <a:lvl4pPr>
              <a:defRPr sz="1050">
                <a:latin typeface="Ubuntu" panose="020B0504030602030204" pitchFamily="34" charset="0"/>
              </a:defRPr>
            </a:lvl4pPr>
            <a:lvl5pPr>
              <a:defRPr sz="1000">
                <a:latin typeface="Ubuntu" panose="020B05040306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12">
            <a:extLst>
              <a:ext uri="{FF2B5EF4-FFF2-40B4-BE49-F238E27FC236}">
                <a16:creationId xmlns:a16="http://schemas.microsoft.com/office/drawing/2014/main" id="{3C7387FD-9C2C-C51A-408F-4850C7F069DA}"/>
              </a:ext>
            </a:extLst>
          </p:cNvPr>
          <p:cNvSpPr>
            <a:spLocks noGrp="1"/>
          </p:cNvSpPr>
          <p:nvPr>
            <p:ph type="body" sz="quarter" idx="41" hasCustomPrompt="1"/>
          </p:nvPr>
        </p:nvSpPr>
        <p:spPr>
          <a:xfrm>
            <a:off x="7744966" y="1132053"/>
            <a:ext cx="4004121" cy="388772"/>
          </a:xfrm>
          <a:prstGeom prst="rect">
            <a:avLst/>
          </a:prstGeom>
          <a:ln>
            <a:noFill/>
          </a:ln>
        </p:spPr>
        <p:txBody>
          <a:bodyPr vert="horz" lIns="91440" tIns="45720" rIns="91440" bIns="45720" rtlCol="0" anchor="ctr">
            <a:noAutofit/>
          </a:bodyPr>
          <a:lstStyle>
            <a:lvl1pPr marL="0" indent="0">
              <a:spcBef>
                <a:spcPts val="0"/>
              </a:spcBef>
              <a:buNone/>
              <a:defRPr lang="en-US" sz="1400" b="1" dirty="0">
                <a:latin typeface="Ubuntu" panose="020B0504030602030204" pitchFamily="34" charset="0"/>
                <a:cs typeface="Calibri Light" panose="020F0302020204030204" pitchFamily="34" charset="0"/>
              </a:defRPr>
            </a:lvl1pPr>
            <a:lvl2pPr marL="0" indent="0">
              <a:spcBef>
                <a:spcPts val="0"/>
              </a:spcBef>
              <a:buNone/>
              <a:defRPr lang="en-US" sz="1200" baseline="0" dirty="0">
                <a:latin typeface="Ubuntu" panose="020B0504030602030204" pitchFamily="34" charset="0"/>
                <a:cs typeface="Calibri Light" panose="020F0302020204030204" pitchFamily="34" charset="0"/>
              </a:defRPr>
            </a:lvl2pPr>
            <a:lvl3pPr>
              <a:defRPr lang="nb-NO" sz="1354" dirty="0">
                <a:latin typeface="Arial" pitchFamily="34" charset="0"/>
                <a:cs typeface="Arial" pitchFamily="34" charset="0"/>
              </a:defRPr>
            </a:lvl3pPr>
            <a:lvl4pPr>
              <a:defRPr lang="en-US" sz="1354" noProof="0" dirty="0">
                <a:latin typeface="Arial" pitchFamily="34" charset="0"/>
                <a:cs typeface="Arial" pitchFamily="34" charset="0"/>
              </a:defRPr>
            </a:lvl4pPr>
            <a:lvl5pPr>
              <a:defRPr lang="en-US" sz="1354" noProof="0" dirty="0">
                <a:latin typeface="Arial" pitchFamily="34" charset="0"/>
                <a:cs typeface="Arial" pitchFamily="34" charset="0"/>
              </a:defRPr>
            </a:lvl5pPr>
          </a:lstStyle>
          <a:p>
            <a:pPr marL="281368" lvl="0" indent="-281368">
              <a:spcBef>
                <a:spcPts val="0"/>
              </a:spcBef>
            </a:pPr>
            <a:r>
              <a:rPr lang="en-US"/>
              <a:t>Click to enter heading</a:t>
            </a:r>
          </a:p>
          <a:p>
            <a:pPr marL="211027" lvl="1" indent="-211027">
              <a:spcBef>
                <a:spcPts val="0"/>
              </a:spcBef>
            </a:pPr>
            <a:r>
              <a:rPr lang="en-US"/>
              <a:t>Second level (for units)</a:t>
            </a:r>
          </a:p>
        </p:txBody>
      </p:sp>
      <p:sp>
        <p:nvSpPr>
          <p:cNvPr id="10" name="Text Placeholder 12">
            <a:extLst>
              <a:ext uri="{FF2B5EF4-FFF2-40B4-BE49-F238E27FC236}">
                <a16:creationId xmlns:a16="http://schemas.microsoft.com/office/drawing/2014/main" id="{22F611F5-7E19-8984-6249-76EC1E5839B5}"/>
              </a:ext>
            </a:extLst>
          </p:cNvPr>
          <p:cNvSpPr>
            <a:spLocks noGrp="1"/>
          </p:cNvSpPr>
          <p:nvPr>
            <p:ph type="body" sz="quarter" idx="49" hasCustomPrompt="1"/>
          </p:nvPr>
        </p:nvSpPr>
        <p:spPr>
          <a:xfrm>
            <a:off x="3654478" y="1132053"/>
            <a:ext cx="4004121" cy="388772"/>
          </a:xfrm>
          <a:prstGeom prst="rect">
            <a:avLst/>
          </a:prstGeom>
          <a:ln>
            <a:noFill/>
          </a:ln>
        </p:spPr>
        <p:txBody>
          <a:bodyPr vert="horz" lIns="91440" tIns="45720" rIns="91440" bIns="45720" rtlCol="0" anchor="ctr">
            <a:noAutofit/>
          </a:bodyPr>
          <a:lstStyle>
            <a:lvl1pPr marL="0" indent="0">
              <a:spcBef>
                <a:spcPts val="0"/>
              </a:spcBef>
              <a:buNone/>
              <a:defRPr lang="en-US" sz="1400" b="1" dirty="0">
                <a:latin typeface="Ubuntu" panose="020B0504030602030204" pitchFamily="34" charset="0"/>
                <a:cs typeface="Calibri Light" panose="020F0302020204030204" pitchFamily="34" charset="0"/>
              </a:defRPr>
            </a:lvl1pPr>
            <a:lvl2pPr marL="0" indent="0">
              <a:spcBef>
                <a:spcPts val="0"/>
              </a:spcBef>
              <a:buNone/>
              <a:defRPr lang="en-US" sz="1200" baseline="0" dirty="0">
                <a:latin typeface="Ubuntu" panose="020B0504030602030204" pitchFamily="34" charset="0"/>
                <a:cs typeface="Calibri Light" panose="020F0302020204030204" pitchFamily="34" charset="0"/>
              </a:defRPr>
            </a:lvl2pPr>
            <a:lvl3pPr>
              <a:defRPr lang="nb-NO" sz="1354" dirty="0">
                <a:latin typeface="Arial" pitchFamily="34" charset="0"/>
                <a:cs typeface="Arial" pitchFamily="34" charset="0"/>
              </a:defRPr>
            </a:lvl3pPr>
            <a:lvl4pPr>
              <a:defRPr lang="en-US" sz="1354" noProof="0" dirty="0">
                <a:latin typeface="Arial" pitchFamily="34" charset="0"/>
                <a:cs typeface="Arial" pitchFamily="34" charset="0"/>
              </a:defRPr>
            </a:lvl4pPr>
            <a:lvl5pPr>
              <a:defRPr lang="en-US" sz="1354" noProof="0" dirty="0">
                <a:latin typeface="Arial" pitchFamily="34" charset="0"/>
                <a:cs typeface="Arial" pitchFamily="34" charset="0"/>
              </a:defRPr>
            </a:lvl5pPr>
          </a:lstStyle>
          <a:p>
            <a:pPr marL="281368" lvl="0" indent="-281368">
              <a:spcBef>
                <a:spcPts val="0"/>
              </a:spcBef>
            </a:pPr>
            <a:r>
              <a:rPr lang="en-US"/>
              <a:t>Click to enter heading</a:t>
            </a:r>
          </a:p>
          <a:p>
            <a:pPr marL="211027" lvl="1" indent="-211027">
              <a:spcBef>
                <a:spcPts val="0"/>
              </a:spcBef>
            </a:pPr>
            <a:r>
              <a:rPr lang="en-US"/>
              <a:t>Second level (for units)</a:t>
            </a:r>
          </a:p>
        </p:txBody>
      </p:sp>
      <p:sp>
        <p:nvSpPr>
          <p:cNvPr id="14" name="Text Placeholder 12">
            <a:extLst>
              <a:ext uri="{FF2B5EF4-FFF2-40B4-BE49-F238E27FC236}">
                <a16:creationId xmlns:a16="http://schemas.microsoft.com/office/drawing/2014/main" id="{71B521B6-20E2-7BCD-13BD-B4B634496ECE}"/>
              </a:ext>
            </a:extLst>
          </p:cNvPr>
          <p:cNvSpPr>
            <a:spLocks noGrp="1"/>
          </p:cNvSpPr>
          <p:nvPr>
            <p:ph type="body" sz="quarter" idx="50" hasCustomPrompt="1"/>
          </p:nvPr>
        </p:nvSpPr>
        <p:spPr>
          <a:xfrm>
            <a:off x="7744966" y="3607268"/>
            <a:ext cx="4004121" cy="388772"/>
          </a:xfrm>
          <a:prstGeom prst="rect">
            <a:avLst/>
          </a:prstGeom>
          <a:ln>
            <a:noFill/>
          </a:ln>
        </p:spPr>
        <p:txBody>
          <a:bodyPr vert="horz" lIns="91440" tIns="45720" rIns="91440" bIns="45720" rtlCol="0" anchor="ctr">
            <a:noAutofit/>
          </a:bodyPr>
          <a:lstStyle>
            <a:lvl1pPr marL="0" indent="0">
              <a:spcBef>
                <a:spcPts val="0"/>
              </a:spcBef>
              <a:buNone/>
              <a:defRPr lang="en-US" sz="1400" b="1" dirty="0">
                <a:latin typeface="Ubuntu" panose="020B0504030602030204" pitchFamily="34" charset="0"/>
                <a:cs typeface="Calibri Light" panose="020F0302020204030204" pitchFamily="34" charset="0"/>
              </a:defRPr>
            </a:lvl1pPr>
            <a:lvl2pPr marL="0" indent="0">
              <a:spcBef>
                <a:spcPts val="0"/>
              </a:spcBef>
              <a:buNone/>
              <a:defRPr lang="en-US" sz="1200" baseline="0" dirty="0">
                <a:latin typeface="Ubuntu" panose="020B0504030602030204" pitchFamily="34" charset="0"/>
                <a:cs typeface="Calibri Light" panose="020F0302020204030204" pitchFamily="34" charset="0"/>
              </a:defRPr>
            </a:lvl2pPr>
            <a:lvl3pPr>
              <a:defRPr lang="nb-NO" sz="1354" dirty="0">
                <a:latin typeface="Arial" pitchFamily="34" charset="0"/>
                <a:cs typeface="Arial" pitchFamily="34" charset="0"/>
              </a:defRPr>
            </a:lvl3pPr>
            <a:lvl4pPr>
              <a:defRPr lang="en-US" sz="1354" noProof="0" dirty="0">
                <a:latin typeface="Arial" pitchFamily="34" charset="0"/>
                <a:cs typeface="Arial" pitchFamily="34" charset="0"/>
              </a:defRPr>
            </a:lvl4pPr>
            <a:lvl5pPr>
              <a:defRPr lang="en-US" sz="1354" noProof="0" dirty="0">
                <a:latin typeface="Arial" pitchFamily="34" charset="0"/>
                <a:cs typeface="Arial" pitchFamily="34" charset="0"/>
              </a:defRPr>
            </a:lvl5pPr>
          </a:lstStyle>
          <a:p>
            <a:pPr marL="281368" lvl="0" indent="-281368">
              <a:spcBef>
                <a:spcPts val="0"/>
              </a:spcBef>
            </a:pPr>
            <a:r>
              <a:rPr lang="en-US"/>
              <a:t>Click to enter heading</a:t>
            </a:r>
          </a:p>
          <a:p>
            <a:pPr marL="211027" lvl="1" indent="-211027">
              <a:spcBef>
                <a:spcPts val="0"/>
              </a:spcBef>
            </a:pPr>
            <a:r>
              <a:rPr lang="en-US"/>
              <a:t>Second level (for units)</a:t>
            </a:r>
          </a:p>
        </p:txBody>
      </p:sp>
      <p:sp>
        <p:nvSpPr>
          <p:cNvPr id="16" name="Text Placeholder 12">
            <a:extLst>
              <a:ext uri="{FF2B5EF4-FFF2-40B4-BE49-F238E27FC236}">
                <a16:creationId xmlns:a16="http://schemas.microsoft.com/office/drawing/2014/main" id="{583CF6C2-9304-45DC-C95B-3182AA2BF7D9}"/>
              </a:ext>
            </a:extLst>
          </p:cNvPr>
          <p:cNvSpPr>
            <a:spLocks noGrp="1"/>
          </p:cNvSpPr>
          <p:nvPr>
            <p:ph type="body" sz="quarter" idx="51" hasCustomPrompt="1"/>
          </p:nvPr>
        </p:nvSpPr>
        <p:spPr>
          <a:xfrm>
            <a:off x="3654478" y="3607268"/>
            <a:ext cx="4004121" cy="388772"/>
          </a:xfrm>
          <a:prstGeom prst="rect">
            <a:avLst/>
          </a:prstGeom>
          <a:ln>
            <a:noFill/>
          </a:ln>
        </p:spPr>
        <p:txBody>
          <a:bodyPr vert="horz" lIns="91440" tIns="45720" rIns="91440" bIns="45720" rtlCol="0" anchor="ctr">
            <a:noAutofit/>
          </a:bodyPr>
          <a:lstStyle>
            <a:lvl1pPr marL="0" indent="0">
              <a:spcBef>
                <a:spcPts val="0"/>
              </a:spcBef>
              <a:buNone/>
              <a:defRPr lang="en-US" sz="1400" b="1" dirty="0">
                <a:latin typeface="Ubuntu" panose="020B0504030602030204" pitchFamily="34" charset="0"/>
                <a:cs typeface="Calibri Light" panose="020F0302020204030204" pitchFamily="34" charset="0"/>
              </a:defRPr>
            </a:lvl1pPr>
            <a:lvl2pPr marL="0" indent="0">
              <a:spcBef>
                <a:spcPts val="0"/>
              </a:spcBef>
              <a:buNone/>
              <a:defRPr lang="en-US" sz="1200" baseline="0" dirty="0">
                <a:latin typeface="Ubuntu" panose="020B0504030602030204" pitchFamily="34" charset="0"/>
                <a:cs typeface="Calibri Light" panose="020F0302020204030204" pitchFamily="34" charset="0"/>
              </a:defRPr>
            </a:lvl2pPr>
            <a:lvl3pPr>
              <a:defRPr lang="nb-NO" sz="1354" dirty="0">
                <a:latin typeface="Arial" pitchFamily="34" charset="0"/>
                <a:cs typeface="Arial" pitchFamily="34" charset="0"/>
              </a:defRPr>
            </a:lvl3pPr>
            <a:lvl4pPr>
              <a:defRPr lang="en-US" sz="1354" noProof="0" dirty="0">
                <a:latin typeface="Arial" pitchFamily="34" charset="0"/>
                <a:cs typeface="Arial" pitchFamily="34" charset="0"/>
              </a:defRPr>
            </a:lvl4pPr>
            <a:lvl5pPr>
              <a:defRPr lang="en-US" sz="1354" noProof="0" dirty="0">
                <a:latin typeface="Arial" pitchFamily="34" charset="0"/>
                <a:cs typeface="Arial" pitchFamily="34" charset="0"/>
              </a:defRPr>
            </a:lvl5pPr>
          </a:lstStyle>
          <a:p>
            <a:pPr marL="281368" lvl="0" indent="-281368">
              <a:spcBef>
                <a:spcPts val="0"/>
              </a:spcBef>
            </a:pPr>
            <a:r>
              <a:rPr lang="en-US"/>
              <a:t>Click to enter heading</a:t>
            </a:r>
          </a:p>
          <a:p>
            <a:pPr marL="211027" lvl="1" indent="-211027">
              <a:spcBef>
                <a:spcPts val="0"/>
              </a:spcBef>
            </a:pPr>
            <a:r>
              <a:rPr lang="en-US"/>
              <a:t>Second level (for units)</a:t>
            </a:r>
          </a:p>
        </p:txBody>
      </p:sp>
      <p:sp>
        <p:nvSpPr>
          <p:cNvPr id="17" name="Text Placeholder 12">
            <a:extLst>
              <a:ext uri="{FF2B5EF4-FFF2-40B4-BE49-F238E27FC236}">
                <a16:creationId xmlns:a16="http://schemas.microsoft.com/office/drawing/2014/main" id="{FDBD6962-978D-9195-D613-115B6C9E1088}"/>
              </a:ext>
            </a:extLst>
          </p:cNvPr>
          <p:cNvSpPr>
            <a:spLocks noGrp="1"/>
          </p:cNvSpPr>
          <p:nvPr>
            <p:ph type="body" sz="quarter" idx="52" hasCustomPrompt="1"/>
          </p:nvPr>
        </p:nvSpPr>
        <p:spPr>
          <a:xfrm>
            <a:off x="7740365" y="1561833"/>
            <a:ext cx="4004120" cy="1836000"/>
          </a:xfrm>
          <a:prstGeom prst="rect">
            <a:avLst/>
          </a:prstGeom>
          <a:ln>
            <a:noFill/>
          </a:ln>
        </p:spPr>
        <p:txBody>
          <a:bodyPr vert="horz" lIns="91440" tIns="45720" rIns="91440" bIns="45720" rtlCol="0">
            <a:normAutofit/>
          </a:bodyPr>
          <a:lstStyle>
            <a:lvl1pPr marL="0" indent="0">
              <a:buNone/>
              <a:defRPr lang="en-US" sz="1400" b="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18" name="Text Placeholder 12">
            <a:extLst>
              <a:ext uri="{FF2B5EF4-FFF2-40B4-BE49-F238E27FC236}">
                <a16:creationId xmlns:a16="http://schemas.microsoft.com/office/drawing/2014/main" id="{E2BABF69-5436-E637-B5AE-C713196A26C6}"/>
              </a:ext>
            </a:extLst>
          </p:cNvPr>
          <p:cNvSpPr>
            <a:spLocks noGrp="1"/>
          </p:cNvSpPr>
          <p:nvPr>
            <p:ph type="body" sz="quarter" idx="53" hasCustomPrompt="1"/>
          </p:nvPr>
        </p:nvSpPr>
        <p:spPr>
          <a:xfrm>
            <a:off x="7740364" y="4041000"/>
            <a:ext cx="4001563" cy="1836000"/>
          </a:xfrm>
          <a:prstGeom prst="rect">
            <a:avLst/>
          </a:prstGeom>
          <a:ln>
            <a:noFill/>
          </a:ln>
        </p:spPr>
        <p:txBody>
          <a:bodyPr vert="horz" lIns="91440" tIns="45720" rIns="91440" bIns="45720" rtlCol="0">
            <a:normAutofit/>
          </a:bodyPr>
          <a:lstStyle>
            <a:lvl1pPr marL="0" indent="0">
              <a:buNone/>
              <a:defRPr lang="en-US" sz="1400" b="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cxnSp>
        <p:nvCxnSpPr>
          <p:cNvPr id="30" name="Straight Connector 29">
            <a:extLst>
              <a:ext uri="{FF2B5EF4-FFF2-40B4-BE49-F238E27FC236}">
                <a16:creationId xmlns:a16="http://schemas.microsoft.com/office/drawing/2014/main" id="{6B159899-3187-4CD2-D915-8458B8B9F958}"/>
              </a:ext>
            </a:extLst>
          </p:cNvPr>
          <p:cNvCxnSpPr>
            <a:cxnSpLocks/>
          </p:cNvCxnSpPr>
          <p:nvPr/>
        </p:nvCxnSpPr>
        <p:spPr>
          <a:xfrm flipV="1">
            <a:off x="3616970" y="1125000"/>
            <a:ext cx="0" cy="4754425"/>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4758967"/>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4x chart or table">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1CF98797-848B-4104-B922-5DC940899503}"/>
              </a:ext>
            </a:extLst>
          </p:cNvPr>
          <p:cNvSpPr txBox="1">
            <a:spLocks/>
          </p:cNvSpPr>
          <p:nvPr/>
        </p:nvSpPr>
        <p:spPr>
          <a:xfrm>
            <a:off x="375139" y="161196"/>
            <a:ext cx="11347938" cy="206969"/>
          </a:xfrm>
          <a:prstGeom prst="rect">
            <a:avLst/>
          </a:prstGeom>
        </p:spPr>
        <p:txBody>
          <a:bodyPr vert="horz" lIns="112542" tIns="56271" rIns="112542" bIns="56271" rtlCol="0" anchor="ctr">
            <a:noAutofit/>
          </a:bodyPr>
          <a:lstStyle/>
          <a:p>
            <a:pPr marL="0" marR="0" lvl="0" indent="0" algn="l" defTabSz="1125472" rtl="0" eaLnBrk="1" fontAlgn="auto" latinLnBrk="0" hangingPunct="1">
              <a:lnSpc>
                <a:spcPct val="100000"/>
              </a:lnSpc>
              <a:spcBef>
                <a:spcPct val="0"/>
              </a:spcBef>
              <a:spcAft>
                <a:spcPts val="0"/>
              </a:spcAft>
              <a:buClrTx/>
              <a:buSzTx/>
              <a:buFontTx/>
              <a:buNone/>
              <a:tabLst/>
              <a:defRPr/>
            </a:pPr>
            <a:endParaRPr kumimoji="0" lang="nb-NO" sz="1108" i="0" u="none" strike="noStrike" kern="1200" cap="none" spc="0" normalizeH="0" baseline="0" noProof="0">
              <a:ln>
                <a:noFill/>
              </a:ln>
              <a:solidFill>
                <a:schemeClr val="tx1"/>
              </a:solidFill>
              <a:effectLst/>
              <a:uLnTx/>
              <a:uFillTx/>
              <a:latin typeface="Ubuntu" panose="020B0504030602030204" pitchFamily="34" charset="0"/>
              <a:ea typeface="+mj-ea"/>
              <a:cs typeface="Arial" pitchFamily="34" charset="0"/>
            </a:endParaRPr>
          </a:p>
        </p:txBody>
      </p:sp>
      <p:cxnSp>
        <p:nvCxnSpPr>
          <p:cNvPr id="13" name="Straight Connector 12">
            <a:extLst>
              <a:ext uri="{FF2B5EF4-FFF2-40B4-BE49-F238E27FC236}">
                <a16:creationId xmlns:a16="http://schemas.microsoft.com/office/drawing/2014/main" id="{C34F9336-B033-4132-B9E7-D2DFD3EB67C1}"/>
              </a:ext>
            </a:extLst>
          </p:cNvPr>
          <p:cNvCxnSpPr>
            <a:cxnSpLocks/>
          </p:cNvCxnSpPr>
          <p:nvPr/>
        </p:nvCxnSpPr>
        <p:spPr>
          <a:xfrm flipV="1">
            <a:off x="6096000" y="1125000"/>
            <a:ext cx="0" cy="4754425"/>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Title 4">
            <a:extLst>
              <a:ext uri="{FF2B5EF4-FFF2-40B4-BE49-F238E27FC236}">
                <a16:creationId xmlns:a16="http://schemas.microsoft.com/office/drawing/2014/main" id="{C282F680-6156-4790-BCC1-40F7531B4266}"/>
              </a:ext>
            </a:extLst>
          </p:cNvPr>
          <p:cNvSpPr txBox="1">
            <a:spLocks/>
          </p:cNvSpPr>
          <p:nvPr/>
        </p:nvSpPr>
        <p:spPr>
          <a:xfrm>
            <a:off x="375139" y="161196"/>
            <a:ext cx="11347938" cy="206969"/>
          </a:xfrm>
          <a:prstGeom prst="rect">
            <a:avLst/>
          </a:prstGeom>
        </p:spPr>
        <p:txBody>
          <a:bodyPr vert="horz" lIns="112542" tIns="56271" rIns="112542" bIns="56271" rtlCol="0" anchor="ctr">
            <a:noAutofit/>
          </a:bodyPr>
          <a:lstStyle/>
          <a:p>
            <a:pPr marL="0" marR="0" lvl="0" indent="0" algn="l" defTabSz="1125472" rtl="0" eaLnBrk="1" fontAlgn="auto" latinLnBrk="0" hangingPunct="1">
              <a:lnSpc>
                <a:spcPct val="100000"/>
              </a:lnSpc>
              <a:spcBef>
                <a:spcPct val="0"/>
              </a:spcBef>
              <a:spcAft>
                <a:spcPts val="0"/>
              </a:spcAft>
              <a:buClrTx/>
              <a:buSzTx/>
              <a:buFontTx/>
              <a:buNone/>
              <a:tabLst/>
              <a:defRPr/>
            </a:pPr>
            <a:endParaRPr kumimoji="0" lang="nb-NO" sz="1108" i="0" u="none" strike="noStrike" kern="1200" cap="none" spc="0" normalizeH="0" baseline="0" noProof="0">
              <a:ln>
                <a:noFill/>
              </a:ln>
              <a:solidFill>
                <a:schemeClr val="tx1"/>
              </a:solidFill>
              <a:effectLst/>
              <a:uLnTx/>
              <a:uFillTx/>
              <a:latin typeface="Ubuntu" panose="020B0504030602030204" pitchFamily="34" charset="0"/>
              <a:ea typeface="+mj-ea"/>
              <a:cs typeface="Arial" pitchFamily="34" charset="0"/>
            </a:endParaRPr>
          </a:p>
        </p:txBody>
      </p:sp>
      <p:sp>
        <p:nvSpPr>
          <p:cNvPr id="19" name="Title 4">
            <a:extLst>
              <a:ext uri="{FF2B5EF4-FFF2-40B4-BE49-F238E27FC236}">
                <a16:creationId xmlns:a16="http://schemas.microsoft.com/office/drawing/2014/main" id="{1D1F5268-71B8-44A8-97FC-967E32F7D16C}"/>
              </a:ext>
            </a:extLst>
          </p:cNvPr>
          <p:cNvSpPr txBox="1">
            <a:spLocks/>
          </p:cNvSpPr>
          <p:nvPr/>
        </p:nvSpPr>
        <p:spPr>
          <a:xfrm>
            <a:off x="375139" y="161196"/>
            <a:ext cx="11347938" cy="206969"/>
          </a:xfrm>
          <a:prstGeom prst="rect">
            <a:avLst/>
          </a:prstGeom>
        </p:spPr>
        <p:txBody>
          <a:bodyPr vert="horz" lIns="112542" tIns="56271" rIns="112542" bIns="56271" rtlCol="0" anchor="ctr">
            <a:noAutofit/>
          </a:bodyPr>
          <a:lstStyle/>
          <a:p>
            <a:pPr marL="0" marR="0" lvl="0" indent="0" algn="l" defTabSz="1125472" rtl="0" eaLnBrk="1" fontAlgn="auto" latinLnBrk="0" hangingPunct="1">
              <a:lnSpc>
                <a:spcPct val="100000"/>
              </a:lnSpc>
              <a:spcBef>
                <a:spcPct val="0"/>
              </a:spcBef>
              <a:spcAft>
                <a:spcPts val="0"/>
              </a:spcAft>
              <a:buClrTx/>
              <a:buSzTx/>
              <a:buFontTx/>
              <a:buNone/>
              <a:tabLst/>
              <a:defRPr/>
            </a:pPr>
            <a:endParaRPr kumimoji="0" lang="nb-NO" sz="1108" i="0" u="none" strike="noStrike" kern="1200" cap="none" spc="0" normalizeH="0" baseline="0" noProof="0">
              <a:ln>
                <a:noFill/>
              </a:ln>
              <a:solidFill>
                <a:schemeClr val="tx1"/>
              </a:solidFill>
              <a:effectLst/>
              <a:uLnTx/>
              <a:uFillTx/>
              <a:latin typeface="Ubuntu" panose="020B0504030602030204" pitchFamily="34" charset="0"/>
              <a:ea typeface="+mj-ea"/>
              <a:cs typeface="Arial" pitchFamily="34" charset="0"/>
            </a:endParaRPr>
          </a:p>
        </p:txBody>
      </p:sp>
      <p:sp>
        <p:nvSpPr>
          <p:cNvPr id="23" name="Text Placeholder 12">
            <a:extLst>
              <a:ext uri="{FF2B5EF4-FFF2-40B4-BE49-F238E27FC236}">
                <a16:creationId xmlns:a16="http://schemas.microsoft.com/office/drawing/2014/main" id="{8B378EEE-82DF-484D-A189-8FA7ECB65AF6}"/>
              </a:ext>
            </a:extLst>
          </p:cNvPr>
          <p:cNvSpPr>
            <a:spLocks noGrp="1"/>
          </p:cNvSpPr>
          <p:nvPr>
            <p:ph type="body" sz="quarter" idx="45" hasCustomPrompt="1"/>
          </p:nvPr>
        </p:nvSpPr>
        <p:spPr>
          <a:xfrm>
            <a:off x="442913" y="1561833"/>
            <a:ext cx="5581088" cy="1836000"/>
          </a:xfrm>
          <a:prstGeom prst="rect">
            <a:avLst/>
          </a:prstGeom>
          <a:ln>
            <a:noFill/>
          </a:ln>
        </p:spPr>
        <p:txBody>
          <a:bodyPr vert="horz" lIns="91440" tIns="45720" rIns="91440" bIns="45720" rtlCol="0">
            <a:normAutofit/>
          </a:bodyPr>
          <a:lstStyle>
            <a:lvl1pPr marL="0" indent="0">
              <a:buNone/>
              <a:defRPr lang="en-US" sz="1400" b="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25" name="Text Placeholder 12">
            <a:extLst>
              <a:ext uri="{FF2B5EF4-FFF2-40B4-BE49-F238E27FC236}">
                <a16:creationId xmlns:a16="http://schemas.microsoft.com/office/drawing/2014/main" id="{1843DD0B-FEB7-421E-BE19-7C94D6189735}"/>
              </a:ext>
            </a:extLst>
          </p:cNvPr>
          <p:cNvSpPr>
            <a:spLocks noGrp="1"/>
          </p:cNvSpPr>
          <p:nvPr>
            <p:ph type="body" sz="quarter" idx="47" hasCustomPrompt="1"/>
          </p:nvPr>
        </p:nvSpPr>
        <p:spPr>
          <a:xfrm>
            <a:off x="444963" y="4041000"/>
            <a:ext cx="5577524" cy="1836000"/>
          </a:xfrm>
          <a:prstGeom prst="rect">
            <a:avLst/>
          </a:prstGeom>
          <a:ln>
            <a:noFill/>
          </a:ln>
        </p:spPr>
        <p:txBody>
          <a:bodyPr vert="horz" lIns="91440" tIns="45720" rIns="91440" bIns="45720" rtlCol="0">
            <a:normAutofit/>
          </a:bodyPr>
          <a:lstStyle>
            <a:lvl1pPr marL="0" indent="0">
              <a:buNone/>
              <a:defRPr lang="en-US" sz="1400" b="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2" name="Text Placeholder 12">
            <a:extLst>
              <a:ext uri="{FF2B5EF4-FFF2-40B4-BE49-F238E27FC236}">
                <a16:creationId xmlns:a16="http://schemas.microsoft.com/office/drawing/2014/main" id="{6447E263-0607-B52A-7382-5064B7608DED}"/>
              </a:ext>
            </a:extLst>
          </p:cNvPr>
          <p:cNvSpPr>
            <a:spLocks noGrp="1"/>
          </p:cNvSpPr>
          <p:nvPr>
            <p:ph type="body" sz="quarter" idx="19"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4" name="Title 3">
            <a:extLst>
              <a:ext uri="{FF2B5EF4-FFF2-40B4-BE49-F238E27FC236}">
                <a16:creationId xmlns:a16="http://schemas.microsoft.com/office/drawing/2014/main" id="{9FE58178-8573-48D1-8E6C-EF4572FC3EFB}"/>
              </a:ext>
            </a:extLst>
          </p:cNvPr>
          <p:cNvSpPr>
            <a:spLocks noGrp="1"/>
          </p:cNvSpPr>
          <p:nvPr>
            <p:ph type="title"/>
          </p:nvPr>
        </p:nvSpPr>
        <p:spPr/>
        <p:txBody>
          <a:bodyPr/>
          <a:lstStyle/>
          <a:p>
            <a:r>
              <a:rPr lang="en-US"/>
              <a:t>Click to edit Master title style</a:t>
            </a:r>
          </a:p>
        </p:txBody>
      </p:sp>
      <p:sp>
        <p:nvSpPr>
          <p:cNvPr id="10" name="Text Placeholder 12">
            <a:extLst>
              <a:ext uri="{FF2B5EF4-FFF2-40B4-BE49-F238E27FC236}">
                <a16:creationId xmlns:a16="http://schemas.microsoft.com/office/drawing/2014/main" id="{22F611F5-7E19-8984-6249-76EC1E5839B5}"/>
              </a:ext>
            </a:extLst>
          </p:cNvPr>
          <p:cNvSpPr>
            <a:spLocks noGrp="1"/>
          </p:cNvSpPr>
          <p:nvPr>
            <p:ph type="body" sz="quarter" idx="49" hasCustomPrompt="1"/>
          </p:nvPr>
        </p:nvSpPr>
        <p:spPr>
          <a:xfrm>
            <a:off x="442911" y="1132053"/>
            <a:ext cx="5581090" cy="388772"/>
          </a:xfrm>
          <a:prstGeom prst="rect">
            <a:avLst/>
          </a:prstGeom>
          <a:ln>
            <a:noFill/>
          </a:ln>
        </p:spPr>
        <p:txBody>
          <a:bodyPr vert="horz" lIns="91440" tIns="45720" rIns="91440" bIns="45720" rtlCol="0" anchor="ctr">
            <a:noAutofit/>
          </a:bodyPr>
          <a:lstStyle>
            <a:lvl1pPr marL="0" indent="0">
              <a:spcBef>
                <a:spcPts val="0"/>
              </a:spcBef>
              <a:buNone/>
              <a:defRPr lang="en-US" sz="1400" b="1" dirty="0">
                <a:latin typeface="Ubuntu" panose="020B0504030602030204" pitchFamily="34" charset="0"/>
                <a:cs typeface="Calibri Light" panose="020F0302020204030204" pitchFamily="34" charset="0"/>
              </a:defRPr>
            </a:lvl1pPr>
            <a:lvl2pPr marL="0" indent="0">
              <a:spcBef>
                <a:spcPts val="0"/>
              </a:spcBef>
              <a:buNone/>
              <a:defRPr lang="en-US" sz="1200" baseline="0" dirty="0">
                <a:latin typeface="Ubuntu" panose="020B0504030602030204" pitchFamily="34" charset="0"/>
                <a:cs typeface="Calibri Light" panose="020F0302020204030204" pitchFamily="34" charset="0"/>
              </a:defRPr>
            </a:lvl2pPr>
            <a:lvl3pPr>
              <a:defRPr lang="nb-NO" sz="1354" dirty="0">
                <a:latin typeface="Arial" pitchFamily="34" charset="0"/>
                <a:cs typeface="Arial" pitchFamily="34" charset="0"/>
              </a:defRPr>
            </a:lvl3pPr>
            <a:lvl4pPr>
              <a:defRPr lang="en-US" sz="1354" noProof="0" dirty="0">
                <a:latin typeface="Arial" pitchFamily="34" charset="0"/>
                <a:cs typeface="Arial" pitchFamily="34" charset="0"/>
              </a:defRPr>
            </a:lvl4pPr>
            <a:lvl5pPr>
              <a:defRPr lang="en-US" sz="1354" noProof="0" dirty="0">
                <a:latin typeface="Arial" pitchFamily="34" charset="0"/>
                <a:cs typeface="Arial" pitchFamily="34" charset="0"/>
              </a:defRPr>
            </a:lvl5pPr>
          </a:lstStyle>
          <a:p>
            <a:pPr marL="281368" lvl="0" indent="-281368">
              <a:spcBef>
                <a:spcPts val="0"/>
              </a:spcBef>
            </a:pPr>
            <a:r>
              <a:rPr lang="en-US"/>
              <a:t>Click to enter heading</a:t>
            </a:r>
          </a:p>
          <a:p>
            <a:pPr marL="211027" lvl="1" indent="-211027">
              <a:spcBef>
                <a:spcPts val="0"/>
              </a:spcBef>
            </a:pPr>
            <a:r>
              <a:rPr lang="en-US"/>
              <a:t>Second level (for units)</a:t>
            </a:r>
          </a:p>
        </p:txBody>
      </p:sp>
      <p:sp>
        <p:nvSpPr>
          <p:cNvPr id="16" name="Text Placeholder 12">
            <a:extLst>
              <a:ext uri="{FF2B5EF4-FFF2-40B4-BE49-F238E27FC236}">
                <a16:creationId xmlns:a16="http://schemas.microsoft.com/office/drawing/2014/main" id="{583CF6C2-9304-45DC-C95B-3182AA2BF7D9}"/>
              </a:ext>
            </a:extLst>
          </p:cNvPr>
          <p:cNvSpPr>
            <a:spLocks noGrp="1"/>
          </p:cNvSpPr>
          <p:nvPr>
            <p:ph type="body" sz="quarter" idx="51" hasCustomPrompt="1"/>
          </p:nvPr>
        </p:nvSpPr>
        <p:spPr>
          <a:xfrm>
            <a:off x="442911" y="3607269"/>
            <a:ext cx="5581090" cy="388772"/>
          </a:xfrm>
          <a:prstGeom prst="rect">
            <a:avLst/>
          </a:prstGeom>
          <a:ln>
            <a:noFill/>
          </a:ln>
        </p:spPr>
        <p:txBody>
          <a:bodyPr vert="horz" lIns="91440" tIns="45720" rIns="91440" bIns="45720" rtlCol="0" anchor="ctr">
            <a:noAutofit/>
          </a:bodyPr>
          <a:lstStyle>
            <a:lvl1pPr marL="0" indent="0">
              <a:spcBef>
                <a:spcPts val="0"/>
              </a:spcBef>
              <a:buNone/>
              <a:defRPr lang="en-US" sz="1400" b="1" dirty="0">
                <a:latin typeface="Ubuntu" panose="020B0504030602030204" pitchFamily="34" charset="0"/>
                <a:cs typeface="Calibri Light" panose="020F0302020204030204" pitchFamily="34" charset="0"/>
              </a:defRPr>
            </a:lvl1pPr>
            <a:lvl2pPr marL="0" indent="0">
              <a:spcBef>
                <a:spcPts val="0"/>
              </a:spcBef>
              <a:buNone/>
              <a:defRPr lang="en-US" sz="1200" baseline="0" dirty="0">
                <a:latin typeface="Ubuntu" panose="020B0504030602030204" pitchFamily="34" charset="0"/>
                <a:cs typeface="Calibri Light" panose="020F0302020204030204" pitchFamily="34" charset="0"/>
              </a:defRPr>
            </a:lvl2pPr>
            <a:lvl3pPr>
              <a:defRPr lang="nb-NO" sz="1354" dirty="0">
                <a:latin typeface="Arial" pitchFamily="34" charset="0"/>
                <a:cs typeface="Arial" pitchFamily="34" charset="0"/>
              </a:defRPr>
            </a:lvl3pPr>
            <a:lvl4pPr>
              <a:defRPr lang="en-US" sz="1354" noProof="0" dirty="0">
                <a:latin typeface="Arial" pitchFamily="34" charset="0"/>
                <a:cs typeface="Arial" pitchFamily="34" charset="0"/>
              </a:defRPr>
            </a:lvl4pPr>
            <a:lvl5pPr>
              <a:defRPr lang="en-US" sz="1354" noProof="0" dirty="0">
                <a:latin typeface="Arial" pitchFamily="34" charset="0"/>
                <a:cs typeface="Arial" pitchFamily="34" charset="0"/>
              </a:defRPr>
            </a:lvl5pPr>
          </a:lstStyle>
          <a:p>
            <a:pPr marL="281368" lvl="0" indent="-281368">
              <a:spcBef>
                <a:spcPts val="0"/>
              </a:spcBef>
            </a:pPr>
            <a:r>
              <a:rPr lang="en-US"/>
              <a:t>Click to enter heading</a:t>
            </a:r>
          </a:p>
          <a:p>
            <a:pPr marL="211027" lvl="1" indent="-211027">
              <a:spcBef>
                <a:spcPts val="0"/>
              </a:spcBef>
            </a:pPr>
            <a:r>
              <a:rPr lang="en-US"/>
              <a:t>Second level (for units)</a:t>
            </a:r>
          </a:p>
        </p:txBody>
      </p:sp>
      <p:cxnSp>
        <p:nvCxnSpPr>
          <p:cNvPr id="3" name="Straight Connector 2">
            <a:extLst>
              <a:ext uri="{FF2B5EF4-FFF2-40B4-BE49-F238E27FC236}">
                <a16:creationId xmlns:a16="http://schemas.microsoft.com/office/drawing/2014/main" id="{05C042DF-3E33-FA60-85AA-33E2F1EBCB06}"/>
              </a:ext>
            </a:extLst>
          </p:cNvPr>
          <p:cNvCxnSpPr>
            <a:cxnSpLocks/>
          </p:cNvCxnSpPr>
          <p:nvPr/>
        </p:nvCxnSpPr>
        <p:spPr>
          <a:xfrm rot="10800000" flipH="1">
            <a:off x="451130" y="3519031"/>
            <a:ext cx="1129855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Text Placeholder 12">
            <a:extLst>
              <a:ext uri="{FF2B5EF4-FFF2-40B4-BE49-F238E27FC236}">
                <a16:creationId xmlns:a16="http://schemas.microsoft.com/office/drawing/2014/main" id="{FEDA0B59-2AF8-0984-E1A8-E1AAD6E49C04}"/>
              </a:ext>
            </a:extLst>
          </p:cNvPr>
          <p:cNvSpPr>
            <a:spLocks noGrp="1"/>
          </p:cNvSpPr>
          <p:nvPr>
            <p:ph type="body" sz="quarter" idx="52" hasCustomPrompt="1"/>
          </p:nvPr>
        </p:nvSpPr>
        <p:spPr>
          <a:xfrm>
            <a:off x="6167999" y="1561833"/>
            <a:ext cx="5581088" cy="1836000"/>
          </a:xfrm>
          <a:prstGeom prst="rect">
            <a:avLst/>
          </a:prstGeom>
          <a:ln>
            <a:noFill/>
          </a:ln>
        </p:spPr>
        <p:txBody>
          <a:bodyPr vert="horz" lIns="91440" tIns="45720" rIns="91440" bIns="45720" rtlCol="0">
            <a:normAutofit/>
          </a:bodyPr>
          <a:lstStyle>
            <a:lvl1pPr marL="0" indent="0">
              <a:buNone/>
              <a:defRPr lang="en-US" sz="1400" b="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9" name="Text Placeholder 12">
            <a:extLst>
              <a:ext uri="{FF2B5EF4-FFF2-40B4-BE49-F238E27FC236}">
                <a16:creationId xmlns:a16="http://schemas.microsoft.com/office/drawing/2014/main" id="{4FD64526-8AC1-4C1E-2FD5-3F37DF87AD83}"/>
              </a:ext>
            </a:extLst>
          </p:cNvPr>
          <p:cNvSpPr>
            <a:spLocks noGrp="1"/>
          </p:cNvSpPr>
          <p:nvPr>
            <p:ph type="body" sz="quarter" idx="53" hasCustomPrompt="1"/>
          </p:nvPr>
        </p:nvSpPr>
        <p:spPr>
          <a:xfrm>
            <a:off x="6170049" y="4041000"/>
            <a:ext cx="5577524" cy="1836000"/>
          </a:xfrm>
          <a:prstGeom prst="rect">
            <a:avLst/>
          </a:prstGeom>
          <a:ln>
            <a:noFill/>
          </a:ln>
        </p:spPr>
        <p:txBody>
          <a:bodyPr vert="horz" lIns="91440" tIns="45720" rIns="91440" bIns="45720" rtlCol="0">
            <a:normAutofit/>
          </a:bodyPr>
          <a:lstStyle>
            <a:lvl1pPr marL="0" indent="0">
              <a:buNone/>
              <a:defRPr lang="en-US" sz="1400" b="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11" name="Text Placeholder 12">
            <a:extLst>
              <a:ext uri="{FF2B5EF4-FFF2-40B4-BE49-F238E27FC236}">
                <a16:creationId xmlns:a16="http://schemas.microsoft.com/office/drawing/2014/main" id="{01A3BD89-8CE4-B556-0F2E-D089AAA9B502}"/>
              </a:ext>
            </a:extLst>
          </p:cNvPr>
          <p:cNvSpPr>
            <a:spLocks noGrp="1"/>
          </p:cNvSpPr>
          <p:nvPr>
            <p:ph type="body" sz="quarter" idx="54" hasCustomPrompt="1"/>
          </p:nvPr>
        </p:nvSpPr>
        <p:spPr>
          <a:xfrm>
            <a:off x="6167997" y="1132053"/>
            <a:ext cx="5581090" cy="388772"/>
          </a:xfrm>
          <a:prstGeom prst="rect">
            <a:avLst/>
          </a:prstGeom>
          <a:ln>
            <a:noFill/>
          </a:ln>
        </p:spPr>
        <p:txBody>
          <a:bodyPr vert="horz" lIns="91440" tIns="45720" rIns="91440" bIns="45720" rtlCol="0" anchor="ctr">
            <a:noAutofit/>
          </a:bodyPr>
          <a:lstStyle>
            <a:lvl1pPr marL="0" indent="0">
              <a:spcBef>
                <a:spcPts val="0"/>
              </a:spcBef>
              <a:buNone/>
              <a:defRPr lang="en-US" sz="1400" b="1" dirty="0">
                <a:latin typeface="Ubuntu" panose="020B0504030602030204" pitchFamily="34" charset="0"/>
                <a:cs typeface="Calibri Light" panose="020F0302020204030204" pitchFamily="34" charset="0"/>
              </a:defRPr>
            </a:lvl1pPr>
            <a:lvl2pPr marL="0" indent="0">
              <a:spcBef>
                <a:spcPts val="0"/>
              </a:spcBef>
              <a:buNone/>
              <a:defRPr lang="en-US" sz="1200" baseline="0" dirty="0">
                <a:latin typeface="Ubuntu" panose="020B0504030602030204" pitchFamily="34" charset="0"/>
                <a:cs typeface="Calibri Light" panose="020F0302020204030204" pitchFamily="34" charset="0"/>
              </a:defRPr>
            </a:lvl2pPr>
            <a:lvl3pPr>
              <a:defRPr lang="nb-NO" sz="1354" dirty="0">
                <a:latin typeface="Arial" pitchFamily="34" charset="0"/>
                <a:cs typeface="Arial" pitchFamily="34" charset="0"/>
              </a:defRPr>
            </a:lvl3pPr>
            <a:lvl4pPr>
              <a:defRPr lang="en-US" sz="1354" noProof="0" dirty="0">
                <a:latin typeface="Arial" pitchFamily="34" charset="0"/>
                <a:cs typeface="Arial" pitchFamily="34" charset="0"/>
              </a:defRPr>
            </a:lvl4pPr>
            <a:lvl5pPr>
              <a:defRPr lang="en-US" sz="1354" noProof="0" dirty="0">
                <a:latin typeface="Arial" pitchFamily="34" charset="0"/>
                <a:cs typeface="Arial" pitchFamily="34" charset="0"/>
              </a:defRPr>
            </a:lvl5pPr>
          </a:lstStyle>
          <a:p>
            <a:pPr marL="281368" lvl="0" indent="-281368">
              <a:spcBef>
                <a:spcPts val="0"/>
              </a:spcBef>
            </a:pPr>
            <a:r>
              <a:rPr lang="en-US"/>
              <a:t>Click to enter heading</a:t>
            </a:r>
          </a:p>
          <a:p>
            <a:pPr marL="211027" lvl="1" indent="-211027">
              <a:spcBef>
                <a:spcPts val="0"/>
              </a:spcBef>
            </a:pPr>
            <a:r>
              <a:rPr lang="en-US"/>
              <a:t>Second level (for units)</a:t>
            </a:r>
          </a:p>
        </p:txBody>
      </p:sp>
      <p:sp>
        <p:nvSpPr>
          <p:cNvPr id="12" name="Text Placeholder 12">
            <a:extLst>
              <a:ext uri="{FF2B5EF4-FFF2-40B4-BE49-F238E27FC236}">
                <a16:creationId xmlns:a16="http://schemas.microsoft.com/office/drawing/2014/main" id="{542B4346-8EE9-CEAA-7BFC-7CA9AECE3684}"/>
              </a:ext>
            </a:extLst>
          </p:cNvPr>
          <p:cNvSpPr>
            <a:spLocks noGrp="1"/>
          </p:cNvSpPr>
          <p:nvPr>
            <p:ph type="body" sz="quarter" idx="55" hasCustomPrompt="1"/>
          </p:nvPr>
        </p:nvSpPr>
        <p:spPr>
          <a:xfrm>
            <a:off x="6167997" y="3607269"/>
            <a:ext cx="5581090" cy="388772"/>
          </a:xfrm>
          <a:prstGeom prst="rect">
            <a:avLst/>
          </a:prstGeom>
          <a:ln>
            <a:noFill/>
          </a:ln>
        </p:spPr>
        <p:txBody>
          <a:bodyPr vert="horz" lIns="91440" tIns="45720" rIns="91440" bIns="45720" rtlCol="0" anchor="ctr">
            <a:noAutofit/>
          </a:bodyPr>
          <a:lstStyle>
            <a:lvl1pPr marL="0" indent="0">
              <a:spcBef>
                <a:spcPts val="0"/>
              </a:spcBef>
              <a:buNone/>
              <a:defRPr lang="en-US" sz="1400" b="1" dirty="0">
                <a:latin typeface="Ubuntu" panose="020B0504030602030204" pitchFamily="34" charset="0"/>
                <a:cs typeface="Calibri Light" panose="020F0302020204030204" pitchFamily="34" charset="0"/>
              </a:defRPr>
            </a:lvl1pPr>
            <a:lvl2pPr marL="0" indent="0">
              <a:spcBef>
                <a:spcPts val="0"/>
              </a:spcBef>
              <a:buNone/>
              <a:defRPr lang="en-US" sz="1200" baseline="0" dirty="0">
                <a:latin typeface="Ubuntu" panose="020B0504030602030204" pitchFamily="34" charset="0"/>
                <a:cs typeface="Calibri Light" panose="020F0302020204030204" pitchFamily="34" charset="0"/>
              </a:defRPr>
            </a:lvl2pPr>
            <a:lvl3pPr>
              <a:defRPr lang="nb-NO" sz="1354" dirty="0">
                <a:latin typeface="Arial" pitchFamily="34" charset="0"/>
                <a:cs typeface="Arial" pitchFamily="34" charset="0"/>
              </a:defRPr>
            </a:lvl3pPr>
            <a:lvl4pPr>
              <a:defRPr lang="en-US" sz="1354" noProof="0" dirty="0">
                <a:latin typeface="Arial" pitchFamily="34" charset="0"/>
                <a:cs typeface="Arial" pitchFamily="34" charset="0"/>
              </a:defRPr>
            </a:lvl4pPr>
            <a:lvl5pPr>
              <a:defRPr lang="en-US" sz="1354" noProof="0" dirty="0">
                <a:latin typeface="Arial" pitchFamily="34" charset="0"/>
                <a:cs typeface="Arial" pitchFamily="34" charset="0"/>
              </a:defRPr>
            </a:lvl5pPr>
          </a:lstStyle>
          <a:p>
            <a:pPr marL="281368" lvl="0" indent="-281368">
              <a:spcBef>
                <a:spcPts val="0"/>
              </a:spcBef>
            </a:pPr>
            <a:r>
              <a:rPr lang="en-US"/>
              <a:t>Click to enter heading</a:t>
            </a:r>
          </a:p>
          <a:p>
            <a:pPr marL="211027" lvl="1" indent="-211027">
              <a:spcBef>
                <a:spcPts val="0"/>
              </a:spcBef>
            </a:pPr>
            <a:r>
              <a:rPr lang="en-US"/>
              <a:t>Second level (for units)</a:t>
            </a:r>
          </a:p>
        </p:txBody>
      </p:sp>
    </p:spTree>
    <p:extLst>
      <p:ext uri="{BB962C8B-B14F-4D97-AF65-F5344CB8AC3E}">
        <p14:creationId xmlns:p14="http://schemas.microsoft.com/office/powerpoint/2010/main" val="1136922386"/>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ext top_2/3 chart or table bottom">
    <p:spTree>
      <p:nvGrpSpPr>
        <p:cNvPr id="1" name=""/>
        <p:cNvGrpSpPr/>
        <p:nvPr/>
      </p:nvGrpSpPr>
      <p:grpSpPr>
        <a:xfrm>
          <a:off x="0" y="0"/>
          <a:ext cx="0" cy="0"/>
          <a:chOff x="0" y="0"/>
          <a:chExt cx="0" cy="0"/>
        </a:xfrm>
      </p:grpSpPr>
      <p:sp>
        <p:nvSpPr>
          <p:cNvPr id="4" name="Text Placeholder 12">
            <a:extLst>
              <a:ext uri="{FF2B5EF4-FFF2-40B4-BE49-F238E27FC236}">
                <a16:creationId xmlns:a16="http://schemas.microsoft.com/office/drawing/2014/main" id="{51DCEE3E-1AEC-4544-A549-E8ABCB81B9BC}"/>
              </a:ext>
            </a:extLst>
          </p:cNvPr>
          <p:cNvSpPr>
            <a:spLocks noGrp="1"/>
          </p:cNvSpPr>
          <p:nvPr>
            <p:ph type="body" sz="quarter" idx="27"/>
          </p:nvPr>
        </p:nvSpPr>
        <p:spPr>
          <a:xfrm>
            <a:off x="442913" y="1125540"/>
            <a:ext cx="11306175" cy="1119703"/>
          </a:xfrm>
          <a:prstGeom prst="rect">
            <a:avLst/>
          </a:prstGeom>
          <a:ln>
            <a:noFill/>
          </a:ln>
        </p:spPr>
        <p:txBody>
          <a:bodyPr vert="horz" wrap="square" lIns="91440" tIns="45720" rIns="91440" bIns="45720" rtlCol="0">
            <a:noAutofit/>
          </a:bodyPr>
          <a:lstStyle>
            <a:lvl1pPr marL="0" indent="0">
              <a:buNone/>
              <a:defRPr lang="en-US" sz="1400" b="0" dirty="0">
                <a:latin typeface="Ubuntu" panose="020B0504030602030204" pitchFamily="34" charset="0"/>
                <a:cs typeface="Calibri Light" panose="020F0302020204030204" pitchFamily="34" charset="0"/>
              </a:defRPr>
            </a:lvl1pPr>
            <a:lvl2pPr marL="0" indent="0">
              <a:buNone/>
              <a:defRPr lang="en-US" sz="1400" b="0" baseline="0" dirty="0">
                <a:latin typeface="Calibri Light" panose="020F0302020204030204" pitchFamily="34" charset="0"/>
                <a:cs typeface="Calibri Light" panose="020F0302020204030204" pitchFamily="34" charset="0"/>
              </a:defRPr>
            </a:lvl2pPr>
            <a:lvl3pPr>
              <a:defRPr lang="nb-NO" sz="1400" b="0" dirty="0">
                <a:latin typeface="Calibri Light" panose="020F0302020204030204" pitchFamily="34" charset="0"/>
                <a:cs typeface="Calibri Light" panose="020F0302020204030204" pitchFamily="34" charset="0"/>
              </a:defRPr>
            </a:lvl3pPr>
            <a:lvl4pPr>
              <a:defRPr lang="en-US" sz="1400" b="0" noProof="0" dirty="0">
                <a:latin typeface="Calibri Light" panose="020F0302020204030204" pitchFamily="34" charset="0"/>
                <a:cs typeface="Calibri Light" panose="020F0302020204030204" pitchFamily="34" charset="0"/>
              </a:defRPr>
            </a:lvl4pPr>
            <a:lvl5pPr>
              <a:defRPr lang="en-US" sz="1400" b="0" dirty="0">
                <a:latin typeface="Calibri Light" panose="020F0302020204030204" pitchFamily="34" charset="0"/>
                <a:cs typeface="Calibri Light" panose="020F0302020204030204" pitchFamily="34" charset="0"/>
              </a:defRPr>
            </a:lvl5pPr>
          </a:lstStyle>
          <a:p>
            <a:pPr marL="281368" lvl="0" indent="-281368">
              <a:spcBef>
                <a:spcPts val="0"/>
              </a:spcBef>
            </a:pPr>
            <a:r>
              <a:rPr lang="en-US"/>
              <a:t>Click to edit Master text styles</a:t>
            </a:r>
          </a:p>
        </p:txBody>
      </p:sp>
      <p:sp>
        <p:nvSpPr>
          <p:cNvPr id="8" name="Title 4">
            <a:extLst>
              <a:ext uri="{FF2B5EF4-FFF2-40B4-BE49-F238E27FC236}">
                <a16:creationId xmlns:a16="http://schemas.microsoft.com/office/drawing/2014/main" id="{FD9C8663-63C4-46E3-B717-A58C569C0842}"/>
              </a:ext>
            </a:extLst>
          </p:cNvPr>
          <p:cNvSpPr txBox="1">
            <a:spLocks/>
          </p:cNvSpPr>
          <p:nvPr/>
        </p:nvSpPr>
        <p:spPr>
          <a:xfrm>
            <a:off x="375139" y="583757"/>
            <a:ext cx="11347938" cy="206969"/>
          </a:xfrm>
          <a:prstGeom prst="rect">
            <a:avLst/>
          </a:prstGeom>
        </p:spPr>
        <p:txBody>
          <a:bodyPr vert="horz" lIns="112542" tIns="56271" rIns="112542" bIns="56271" rtlCol="0" anchor="ctr">
            <a:noAutofit/>
          </a:bodyPr>
          <a:lstStyle/>
          <a:p>
            <a:pPr marL="0" marR="0" lvl="0" indent="0" algn="l" defTabSz="1125472" rtl="0" eaLnBrk="1" fontAlgn="auto" latinLnBrk="0" hangingPunct="1">
              <a:lnSpc>
                <a:spcPct val="100000"/>
              </a:lnSpc>
              <a:spcBef>
                <a:spcPct val="0"/>
              </a:spcBef>
              <a:spcAft>
                <a:spcPts val="0"/>
              </a:spcAft>
              <a:buClrTx/>
              <a:buSzTx/>
              <a:buFontTx/>
              <a:buNone/>
              <a:tabLst/>
              <a:defRPr/>
            </a:pPr>
            <a:endParaRPr kumimoji="0" lang="nb-NO" sz="1108" i="0" u="none" strike="noStrike" kern="1200" cap="none" spc="0" normalizeH="0" baseline="0" noProof="0">
              <a:ln>
                <a:noFill/>
              </a:ln>
              <a:solidFill>
                <a:schemeClr val="tx1"/>
              </a:solidFill>
              <a:effectLst/>
              <a:uLnTx/>
              <a:uFillTx/>
              <a:latin typeface="Ubuntu" panose="020B0504030602030204" pitchFamily="34" charset="0"/>
              <a:ea typeface="+mj-ea"/>
              <a:cs typeface="Arial" pitchFamily="34" charset="0"/>
            </a:endParaRPr>
          </a:p>
        </p:txBody>
      </p:sp>
      <p:sp>
        <p:nvSpPr>
          <p:cNvPr id="10" name="Title 4">
            <a:extLst>
              <a:ext uri="{FF2B5EF4-FFF2-40B4-BE49-F238E27FC236}">
                <a16:creationId xmlns:a16="http://schemas.microsoft.com/office/drawing/2014/main" id="{AD9AE9AE-D359-47E9-8D63-B2DE14B569BB}"/>
              </a:ext>
            </a:extLst>
          </p:cNvPr>
          <p:cNvSpPr txBox="1">
            <a:spLocks/>
          </p:cNvSpPr>
          <p:nvPr/>
        </p:nvSpPr>
        <p:spPr>
          <a:xfrm>
            <a:off x="375139" y="583757"/>
            <a:ext cx="11347938" cy="206969"/>
          </a:xfrm>
          <a:prstGeom prst="rect">
            <a:avLst/>
          </a:prstGeom>
        </p:spPr>
        <p:txBody>
          <a:bodyPr vert="horz" lIns="112542" tIns="56271" rIns="112542" bIns="56271" rtlCol="0" anchor="ctr">
            <a:noAutofit/>
          </a:bodyPr>
          <a:lstStyle/>
          <a:p>
            <a:pPr marL="0" marR="0" lvl="0" indent="0" algn="l" defTabSz="1125472" rtl="0" eaLnBrk="1" fontAlgn="auto" latinLnBrk="0" hangingPunct="1">
              <a:lnSpc>
                <a:spcPct val="100000"/>
              </a:lnSpc>
              <a:spcBef>
                <a:spcPct val="0"/>
              </a:spcBef>
              <a:spcAft>
                <a:spcPts val="0"/>
              </a:spcAft>
              <a:buClrTx/>
              <a:buSzTx/>
              <a:buFontTx/>
              <a:buNone/>
              <a:tabLst/>
              <a:defRPr/>
            </a:pPr>
            <a:endParaRPr kumimoji="0" lang="nb-NO" sz="1108" i="0" u="none" strike="noStrike" kern="1200" cap="none" spc="0" normalizeH="0" baseline="0" noProof="0">
              <a:ln>
                <a:noFill/>
              </a:ln>
              <a:solidFill>
                <a:schemeClr val="tx1"/>
              </a:solidFill>
              <a:effectLst/>
              <a:uLnTx/>
              <a:uFillTx/>
              <a:latin typeface="Ubuntu" panose="020B0504030602030204" pitchFamily="34" charset="0"/>
              <a:ea typeface="+mj-ea"/>
              <a:cs typeface="Arial" pitchFamily="34" charset="0"/>
            </a:endParaRPr>
          </a:p>
        </p:txBody>
      </p:sp>
      <p:cxnSp>
        <p:nvCxnSpPr>
          <p:cNvPr id="13" name="Straight Connector 12">
            <a:extLst>
              <a:ext uri="{FF2B5EF4-FFF2-40B4-BE49-F238E27FC236}">
                <a16:creationId xmlns:a16="http://schemas.microsoft.com/office/drawing/2014/main" id="{08C2F7D1-7DCD-4EBF-81DB-FB085428B1DF}"/>
              </a:ext>
            </a:extLst>
          </p:cNvPr>
          <p:cNvCxnSpPr/>
          <p:nvPr/>
        </p:nvCxnSpPr>
        <p:spPr>
          <a:xfrm rot="10800000" flipH="1">
            <a:off x="471769" y="2284863"/>
            <a:ext cx="1124438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Text Placeholder 12">
            <a:extLst>
              <a:ext uri="{FF2B5EF4-FFF2-40B4-BE49-F238E27FC236}">
                <a16:creationId xmlns:a16="http://schemas.microsoft.com/office/drawing/2014/main" id="{9C2B8204-96AE-44E5-9A61-740342437220}"/>
              </a:ext>
            </a:extLst>
          </p:cNvPr>
          <p:cNvSpPr>
            <a:spLocks noGrp="1"/>
          </p:cNvSpPr>
          <p:nvPr>
            <p:ph type="body" sz="quarter" idx="48" hasCustomPrompt="1"/>
          </p:nvPr>
        </p:nvSpPr>
        <p:spPr>
          <a:xfrm>
            <a:off x="442913" y="2797552"/>
            <a:ext cx="11306175" cy="3079373"/>
          </a:xfrm>
          <a:prstGeom prst="rect">
            <a:avLst/>
          </a:prstGeom>
          <a:ln>
            <a:noFill/>
          </a:ln>
        </p:spPr>
        <p:txBody>
          <a:bodyPr vert="horz" lIns="91440" tIns="45720" rIns="91440" bIns="45720" rtlCol="0">
            <a:normAutofit/>
          </a:bodyPr>
          <a:lstStyle>
            <a:lvl1pPr marL="0" indent="0">
              <a:buNone/>
              <a:defRPr lang="en-US" sz="1400" b="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3" name="Text Placeholder 12">
            <a:extLst>
              <a:ext uri="{FF2B5EF4-FFF2-40B4-BE49-F238E27FC236}">
                <a16:creationId xmlns:a16="http://schemas.microsoft.com/office/drawing/2014/main" id="{E8D15F4D-B918-0F9B-0B8B-53139DAE01CF}"/>
              </a:ext>
            </a:extLst>
          </p:cNvPr>
          <p:cNvSpPr>
            <a:spLocks noGrp="1"/>
          </p:cNvSpPr>
          <p:nvPr>
            <p:ph type="body" sz="quarter" idx="19"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5" name="Title 4">
            <a:extLst>
              <a:ext uri="{FF2B5EF4-FFF2-40B4-BE49-F238E27FC236}">
                <a16:creationId xmlns:a16="http://schemas.microsoft.com/office/drawing/2014/main" id="{77F581A1-1A66-27E3-777F-42C5A1F34C04}"/>
              </a:ext>
            </a:extLst>
          </p:cNvPr>
          <p:cNvSpPr>
            <a:spLocks noGrp="1"/>
          </p:cNvSpPr>
          <p:nvPr>
            <p:ph type="title"/>
          </p:nvPr>
        </p:nvSpPr>
        <p:spPr/>
        <p:txBody>
          <a:bodyPr/>
          <a:lstStyle/>
          <a:p>
            <a:r>
              <a:rPr lang="en-US"/>
              <a:t>Click to edit Master title style</a:t>
            </a:r>
          </a:p>
        </p:txBody>
      </p:sp>
      <p:sp>
        <p:nvSpPr>
          <p:cNvPr id="6" name="Text Placeholder 12">
            <a:extLst>
              <a:ext uri="{FF2B5EF4-FFF2-40B4-BE49-F238E27FC236}">
                <a16:creationId xmlns:a16="http://schemas.microsoft.com/office/drawing/2014/main" id="{F31CFA3B-F9BF-6663-69D4-84EE1B95011F}"/>
              </a:ext>
            </a:extLst>
          </p:cNvPr>
          <p:cNvSpPr>
            <a:spLocks noGrp="1"/>
          </p:cNvSpPr>
          <p:nvPr>
            <p:ph type="body" sz="quarter" idx="42" hasCustomPrompt="1"/>
          </p:nvPr>
        </p:nvSpPr>
        <p:spPr>
          <a:xfrm>
            <a:off x="451521" y="2349000"/>
            <a:ext cx="11306174" cy="388772"/>
          </a:xfrm>
          <a:prstGeom prst="rect">
            <a:avLst/>
          </a:prstGeom>
          <a:ln>
            <a:noFill/>
          </a:ln>
        </p:spPr>
        <p:txBody>
          <a:bodyPr vert="horz" lIns="91440" tIns="45720" rIns="91440" bIns="45720" rtlCol="0" anchor="ctr">
            <a:noAutofit/>
          </a:bodyPr>
          <a:lstStyle>
            <a:lvl1pPr marL="0" indent="0">
              <a:spcBef>
                <a:spcPts val="0"/>
              </a:spcBef>
              <a:buNone/>
              <a:defRPr lang="en-US" sz="1400" b="1" dirty="0">
                <a:latin typeface="Ubuntu" panose="020B0504030602030204" pitchFamily="34" charset="0"/>
                <a:cs typeface="Calibri Light" panose="020F0302020204030204" pitchFamily="34" charset="0"/>
              </a:defRPr>
            </a:lvl1pPr>
            <a:lvl2pPr marL="0" indent="0">
              <a:spcBef>
                <a:spcPts val="0"/>
              </a:spcBef>
              <a:buNone/>
              <a:defRPr lang="en-US" sz="1200" baseline="0" dirty="0">
                <a:latin typeface="Ubuntu" panose="020B0504030602030204" pitchFamily="34" charset="0"/>
                <a:cs typeface="Calibri Light" panose="020F0302020204030204" pitchFamily="34" charset="0"/>
              </a:defRPr>
            </a:lvl2pPr>
            <a:lvl3pPr>
              <a:defRPr lang="nb-NO" sz="1354" dirty="0">
                <a:latin typeface="Arial" pitchFamily="34" charset="0"/>
                <a:cs typeface="Arial" pitchFamily="34" charset="0"/>
              </a:defRPr>
            </a:lvl3pPr>
            <a:lvl4pPr>
              <a:defRPr lang="en-US" sz="1354" noProof="0" dirty="0">
                <a:latin typeface="Arial" pitchFamily="34" charset="0"/>
                <a:cs typeface="Arial" pitchFamily="34" charset="0"/>
              </a:defRPr>
            </a:lvl4pPr>
            <a:lvl5pPr>
              <a:defRPr lang="en-US" sz="1354" noProof="0" dirty="0">
                <a:latin typeface="Arial" pitchFamily="34" charset="0"/>
                <a:cs typeface="Arial" pitchFamily="34" charset="0"/>
              </a:defRPr>
            </a:lvl5pPr>
          </a:lstStyle>
          <a:p>
            <a:pPr marL="281368" lvl="0" indent="-281368">
              <a:spcBef>
                <a:spcPts val="0"/>
              </a:spcBef>
            </a:pPr>
            <a:r>
              <a:rPr lang="en-US"/>
              <a:t>Click to enter heading</a:t>
            </a:r>
          </a:p>
          <a:p>
            <a:pPr marL="211027" lvl="1" indent="-211027">
              <a:spcBef>
                <a:spcPts val="0"/>
              </a:spcBef>
            </a:pPr>
            <a:r>
              <a:rPr lang="en-US"/>
              <a:t>Second level (for units)</a:t>
            </a:r>
          </a:p>
        </p:txBody>
      </p:sp>
    </p:spTree>
    <p:extLst>
      <p:ext uri="{BB962C8B-B14F-4D97-AF65-F5344CB8AC3E}">
        <p14:creationId xmlns:p14="http://schemas.microsoft.com/office/powerpoint/2010/main" val="2142281043"/>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x chart or table horizontal">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1CF98797-848B-4104-B922-5DC940899503}"/>
              </a:ext>
            </a:extLst>
          </p:cNvPr>
          <p:cNvSpPr txBox="1">
            <a:spLocks/>
          </p:cNvSpPr>
          <p:nvPr/>
        </p:nvSpPr>
        <p:spPr>
          <a:xfrm>
            <a:off x="375139" y="161196"/>
            <a:ext cx="11347938" cy="206969"/>
          </a:xfrm>
          <a:prstGeom prst="rect">
            <a:avLst/>
          </a:prstGeom>
        </p:spPr>
        <p:txBody>
          <a:bodyPr vert="horz" lIns="112542" tIns="56271" rIns="112542" bIns="56271" rtlCol="0" anchor="ctr">
            <a:noAutofit/>
          </a:bodyPr>
          <a:lstStyle/>
          <a:p>
            <a:pPr marL="0" marR="0" lvl="0" indent="0" algn="l" defTabSz="1125472" rtl="0" eaLnBrk="1" fontAlgn="auto" latinLnBrk="0" hangingPunct="1">
              <a:lnSpc>
                <a:spcPct val="100000"/>
              </a:lnSpc>
              <a:spcBef>
                <a:spcPct val="0"/>
              </a:spcBef>
              <a:spcAft>
                <a:spcPts val="0"/>
              </a:spcAft>
              <a:buClrTx/>
              <a:buSzTx/>
              <a:buFontTx/>
              <a:buNone/>
              <a:tabLst/>
              <a:defRPr/>
            </a:pPr>
            <a:endParaRPr kumimoji="0" lang="nb-NO" sz="1108" i="0" u="none" strike="noStrike" kern="1200" cap="none" spc="0" normalizeH="0" baseline="0" noProof="0">
              <a:ln>
                <a:noFill/>
              </a:ln>
              <a:solidFill>
                <a:schemeClr val="tx1"/>
              </a:solidFill>
              <a:effectLst/>
              <a:uLnTx/>
              <a:uFillTx/>
              <a:latin typeface="Ubuntu" panose="020B0504030602030204" pitchFamily="34" charset="0"/>
              <a:ea typeface="+mj-ea"/>
              <a:cs typeface="Arial" pitchFamily="34" charset="0"/>
            </a:endParaRPr>
          </a:p>
        </p:txBody>
      </p:sp>
      <p:sp>
        <p:nvSpPr>
          <p:cNvPr id="15" name="Title 4">
            <a:extLst>
              <a:ext uri="{FF2B5EF4-FFF2-40B4-BE49-F238E27FC236}">
                <a16:creationId xmlns:a16="http://schemas.microsoft.com/office/drawing/2014/main" id="{C282F680-6156-4790-BCC1-40F7531B4266}"/>
              </a:ext>
            </a:extLst>
          </p:cNvPr>
          <p:cNvSpPr txBox="1">
            <a:spLocks/>
          </p:cNvSpPr>
          <p:nvPr/>
        </p:nvSpPr>
        <p:spPr>
          <a:xfrm>
            <a:off x="375139" y="161196"/>
            <a:ext cx="11347938" cy="206969"/>
          </a:xfrm>
          <a:prstGeom prst="rect">
            <a:avLst/>
          </a:prstGeom>
        </p:spPr>
        <p:txBody>
          <a:bodyPr vert="horz" lIns="112542" tIns="56271" rIns="112542" bIns="56271" rtlCol="0" anchor="ctr">
            <a:noAutofit/>
          </a:bodyPr>
          <a:lstStyle/>
          <a:p>
            <a:pPr marL="0" marR="0" lvl="0" indent="0" algn="l" defTabSz="1125472" rtl="0" eaLnBrk="1" fontAlgn="auto" latinLnBrk="0" hangingPunct="1">
              <a:lnSpc>
                <a:spcPct val="100000"/>
              </a:lnSpc>
              <a:spcBef>
                <a:spcPct val="0"/>
              </a:spcBef>
              <a:spcAft>
                <a:spcPts val="0"/>
              </a:spcAft>
              <a:buClrTx/>
              <a:buSzTx/>
              <a:buFontTx/>
              <a:buNone/>
              <a:tabLst/>
              <a:defRPr/>
            </a:pPr>
            <a:endParaRPr kumimoji="0" lang="nb-NO" sz="1108" i="0" u="none" strike="noStrike" kern="1200" cap="none" spc="0" normalizeH="0" baseline="0" noProof="0">
              <a:ln>
                <a:noFill/>
              </a:ln>
              <a:solidFill>
                <a:schemeClr val="tx1"/>
              </a:solidFill>
              <a:effectLst/>
              <a:uLnTx/>
              <a:uFillTx/>
              <a:latin typeface="Ubuntu" panose="020B0504030602030204" pitchFamily="34" charset="0"/>
              <a:ea typeface="+mj-ea"/>
              <a:cs typeface="Arial" pitchFamily="34" charset="0"/>
            </a:endParaRPr>
          </a:p>
        </p:txBody>
      </p:sp>
      <p:sp>
        <p:nvSpPr>
          <p:cNvPr id="19" name="Title 4">
            <a:extLst>
              <a:ext uri="{FF2B5EF4-FFF2-40B4-BE49-F238E27FC236}">
                <a16:creationId xmlns:a16="http://schemas.microsoft.com/office/drawing/2014/main" id="{1D1F5268-71B8-44A8-97FC-967E32F7D16C}"/>
              </a:ext>
            </a:extLst>
          </p:cNvPr>
          <p:cNvSpPr txBox="1">
            <a:spLocks/>
          </p:cNvSpPr>
          <p:nvPr/>
        </p:nvSpPr>
        <p:spPr>
          <a:xfrm>
            <a:off x="375139" y="161196"/>
            <a:ext cx="11347938" cy="206969"/>
          </a:xfrm>
          <a:prstGeom prst="rect">
            <a:avLst/>
          </a:prstGeom>
        </p:spPr>
        <p:txBody>
          <a:bodyPr vert="horz" lIns="112542" tIns="56271" rIns="112542" bIns="56271" rtlCol="0" anchor="ctr">
            <a:noAutofit/>
          </a:bodyPr>
          <a:lstStyle/>
          <a:p>
            <a:pPr marL="0" marR="0" lvl="0" indent="0" algn="l" defTabSz="1125472" rtl="0" eaLnBrk="1" fontAlgn="auto" latinLnBrk="0" hangingPunct="1">
              <a:lnSpc>
                <a:spcPct val="100000"/>
              </a:lnSpc>
              <a:spcBef>
                <a:spcPct val="0"/>
              </a:spcBef>
              <a:spcAft>
                <a:spcPts val="0"/>
              </a:spcAft>
              <a:buClrTx/>
              <a:buSzTx/>
              <a:buFontTx/>
              <a:buNone/>
              <a:tabLst/>
              <a:defRPr/>
            </a:pPr>
            <a:endParaRPr kumimoji="0" lang="nb-NO" sz="1108" i="0" u="none" strike="noStrike" kern="1200" cap="none" spc="0" normalizeH="0" baseline="0" noProof="0">
              <a:ln>
                <a:noFill/>
              </a:ln>
              <a:solidFill>
                <a:schemeClr val="tx1"/>
              </a:solidFill>
              <a:effectLst/>
              <a:uLnTx/>
              <a:uFillTx/>
              <a:latin typeface="Ubuntu" panose="020B0504030602030204" pitchFamily="34" charset="0"/>
              <a:ea typeface="+mj-ea"/>
              <a:cs typeface="Arial" pitchFamily="34" charset="0"/>
            </a:endParaRPr>
          </a:p>
        </p:txBody>
      </p:sp>
      <p:sp>
        <p:nvSpPr>
          <p:cNvPr id="23" name="Text Placeholder 12">
            <a:extLst>
              <a:ext uri="{FF2B5EF4-FFF2-40B4-BE49-F238E27FC236}">
                <a16:creationId xmlns:a16="http://schemas.microsoft.com/office/drawing/2014/main" id="{8B378EEE-82DF-484D-A189-8FA7ECB65AF6}"/>
              </a:ext>
            </a:extLst>
          </p:cNvPr>
          <p:cNvSpPr>
            <a:spLocks noGrp="1"/>
          </p:cNvSpPr>
          <p:nvPr>
            <p:ph type="body" sz="quarter" idx="45" hasCustomPrompt="1"/>
          </p:nvPr>
        </p:nvSpPr>
        <p:spPr>
          <a:xfrm>
            <a:off x="442912" y="1561833"/>
            <a:ext cx="11306175" cy="1836000"/>
          </a:xfrm>
          <a:prstGeom prst="rect">
            <a:avLst/>
          </a:prstGeom>
          <a:ln>
            <a:noFill/>
          </a:ln>
        </p:spPr>
        <p:txBody>
          <a:bodyPr vert="horz" lIns="91440" tIns="45720" rIns="91440" bIns="45720" rtlCol="0">
            <a:normAutofit/>
          </a:bodyPr>
          <a:lstStyle>
            <a:lvl1pPr marL="0" indent="0">
              <a:buNone/>
              <a:defRPr lang="en-US" sz="1400" b="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25" name="Text Placeholder 12">
            <a:extLst>
              <a:ext uri="{FF2B5EF4-FFF2-40B4-BE49-F238E27FC236}">
                <a16:creationId xmlns:a16="http://schemas.microsoft.com/office/drawing/2014/main" id="{1843DD0B-FEB7-421E-BE19-7C94D6189735}"/>
              </a:ext>
            </a:extLst>
          </p:cNvPr>
          <p:cNvSpPr>
            <a:spLocks noGrp="1"/>
          </p:cNvSpPr>
          <p:nvPr>
            <p:ph type="body" sz="quarter" idx="47" hasCustomPrompt="1"/>
          </p:nvPr>
        </p:nvSpPr>
        <p:spPr>
          <a:xfrm>
            <a:off x="444962" y="4041000"/>
            <a:ext cx="11298955" cy="1836000"/>
          </a:xfrm>
          <a:prstGeom prst="rect">
            <a:avLst/>
          </a:prstGeom>
          <a:ln>
            <a:noFill/>
          </a:ln>
        </p:spPr>
        <p:txBody>
          <a:bodyPr vert="horz" lIns="91440" tIns="45720" rIns="91440" bIns="45720" rtlCol="0">
            <a:normAutofit/>
          </a:bodyPr>
          <a:lstStyle>
            <a:lvl1pPr marL="0" indent="0">
              <a:buNone/>
              <a:defRPr lang="en-US" sz="1400" b="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2" name="Text Placeholder 12">
            <a:extLst>
              <a:ext uri="{FF2B5EF4-FFF2-40B4-BE49-F238E27FC236}">
                <a16:creationId xmlns:a16="http://schemas.microsoft.com/office/drawing/2014/main" id="{6447E263-0607-B52A-7382-5064B7608DED}"/>
              </a:ext>
            </a:extLst>
          </p:cNvPr>
          <p:cNvSpPr>
            <a:spLocks noGrp="1"/>
          </p:cNvSpPr>
          <p:nvPr>
            <p:ph type="body" sz="quarter" idx="19"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4" name="Title 3">
            <a:extLst>
              <a:ext uri="{FF2B5EF4-FFF2-40B4-BE49-F238E27FC236}">
                <a16:creationId xmlns:a16="http://schemas.microsoft.com/office/drawing/2014/main" id="{9FE58178-8573-48D1-8E6C-EF4572FC3EFB}"/>
              </a:ext>
            </a:extLst>
          </p:cNvPr>
          <p:cNvSpPr>
            <a:spLocks noGrp="1"/>
          </p:cNvSpPr>
          <p:nvPr>
            <p:ph type="title"/>
          </p:nvPr>
        </p:nvSpPr>
        <p:spPr/>
        <p:txBody>
          <a:bodyPr/>
          <a:lstStyle/>
          <a:p>
            <a:r>
              <a:rPr lang="en-US"/>
              <a:t>Click to edit Master title style</a:t>
            </a:r>
          </a:p>
        </p:txBody>
      </p:sp>
      <p:sp>
        <p:nvSpPr>
          <p:cNvPr id="10" name="Text Placeholder 12">
            <a:extLst>
              <a:ext uri="{FF2B5EF4-FFF2-40B4-BE49-F238E27FC236}">
                <a16:creationId xmlns:a16="http://schemas.microsoft.com/office/drawing/2014/main" id="{22F611F5-7E19-8984-6249-76EC1E5839B5}"/>
              </a:ext>
            </a:extLst>
          </p:cNvPr>
          <p:cNvSpPr>
            <a:spLocks noGrp="1"/>
          </p:cNvSpPr>
          <p:nvPr>
            <p:ph type="body" sz="quarter" idx="49" hasCustomPrompt="1"/>
          </p:nvPr>
        </p:nvSpPr>
        <p:spPr>
          <a:xfrm>
            <a:off x="442910" y="1132053"/>
            <a:ext cx="11306179" cy="388772"/>
          </a:xfrm>
          <a:prstGeom prst="rect">
            <a:avLst/>
          </a:prstGeom>
          <a:ln>
            <a:noFill/>
          </a:ln>
        </p:spPr>
        <p:txBody>
          <a:bodyPr vert="horz" lIns="91440" tIns="45720" rIns="91440" bIns="45720" rtlCol="0" anchor="ctr">
            <a:noAutofit/>
          </a:bodyPr>
          <a:lstStyle>
            <a:lvl1pPr marL="0" indent="0">
              <a:spcBef>
                <a:spcPts val="0"/>
              </a:spcBef>
              <a:buNone/>
              <a:defRPr lang="en-US" sz="1400" b="1" dirty="0">
                <a:latin typeface="Ubuntu" panose="020B0504030602030204" pitchFamily="34" charset="0"/>
                <a:cs typeface="Calibri Light" panose="020F0302020204030204" pitchFamily="34" charset="0"/>
              </a:defRPr>
            </a:lvl1pPr>
            <a:lvl2pPr marL="0" indent="0">
              <a:spcBef>
                <a:spcPts val="0"/>
              </a:spcBef>
              <a:buNone/>
              <a:defRPr lang="en-US" sz="1200" baseline="0" dirty="0">
                <a:latin typeface="Ubuntu" panose="020B0504030602030204" pitchFamily="34" charset="0"/>
                <a:cs typeface="Calibri Light" panose="020F0302020204030204" pitchFamily="34" charset="0"/>
              </a:defRPr>
            </a:lvl2pPr>
            <a:lvl3pPr>
              <a:defRPr lang="nb-NO" sz="1354" dirty="0">
                <a:latin typeface="Arial" pitchFamily="34" charset="0"/>
                <a:cs typeface="Arial" pitchFamily="34" charset="0"/>
              </a:defRPr>
            </a:lvl3pPr>
            <a:lvl4pPr>
              <a:defRPr lang="en-US" sz="1354" noProof="0" dirty="0">
                <a:latin typeface="Arial" pitchFamily="34" charset="0"/>
                <a:cs typeface="Arial" pitchFamily="34" charset="0"/>
              </a:defRPr>
            </a:lvl4pPr>
            <a:lvl5pPr>
              <a:defRPr lang="en-US" sz="1354" noProof="0" dirty="0">
                <a:latin typeface="Arial" pitchFamily="34" charset="0"/>
                <a:cs typeface="Arial" pitchFamily="34" charset="0"/>
              </a:defRPr>
            </a:lvl5pPr>
          </a:lstStyle>
          <a:p>
            <a:pPr marL="281368" lvl="0" indent="-281368">
              <a:spcBef>
                <a:spcPts val="0"/>
              </a:spcBef>
            </a:pPr>
            <a:r>
              <a:rPr lang="en-US"/>
              <a:t>Click to enter heading</a:t>
            </a:r>
          </a:p>
          <a:p>
            <a:pPr marL="211027" lvl="1" indent="-211027">
              <a:spcBef>
                <a:spcPts val="0"/>
              </a:spcBef>
            </a:pPr>
            <a:r>
              <a:rPr lang="en-US"/>
              <a:t>Second level (for units)</a:t>
            </a:r>
          </a:p>
        </p:txBody>
      </p:sp>
      <p:sp>
        <p:nvSpPr>
          <p:cNvPr id="16" name="Text Placeholder 12">
            <a:extLst>
              <a:ext uri="{FF2B5EF4-FFF2-40B4-BE49-F238E27FC236}">
                <a16:creationId xmlns:a16="http://schemas.microsoft.com/office/drawing/2014/main" id="{583CF6C2-9304-45DC-C95B-3182AA2BF7D9}"/>
              </a:ext>
            </a:extLst>
          </p:cNvPr>
          <p:cNvSpPr>
            <a:spLocks noGrp="1"/>
          </p:cNvSpPr>
          <p:nvPr>
            <p:ph type="body" sz="quarter" idx="51" hasCustomPrompt="1"/>
          </p:nvPr>
        </p:nvSpPr>
        <p:spPr>
          <a:xfrm>
            <a:off x="442910" y="3607269"/>
            <a:ext cx="11306179" cy="388772"/>
          </a:xfrm>
          <a:prstGeom prst="rect">
            <a:avLst/>
          </a:prstGeom>
          <a:ln>
            <a:noFill/>
          </a:ln>
        </p:spPr>
        <p:txBody>
          <a:bodyPr vert="horz" lIns="91440" tIns="45720" rIns="91440" bIns="45720" rtlCol="0" anchor="ctr">
            <a:noAutofit/>
          </a:bodyPr>
          <a:lstStyle>
            <a:lvl1pPr marL="0" indent="0">
              <a:spcBef>
                <a:spcPts val="0"/>
              </a:spcBef>
              <a:buNone/>
              <a:defRPr lang="en-US" sz="1400" b="1" dirty="0">
                <a:latin typeface="Ubuntu" panose="020B0504030602030204" pitchFamily="34" charset="0"/>
                <a:cs typeface="Calibri Light" panose="020F0302020204030204" pitchFamily="34" charset="0"/>
              </a:defRPr>
            </a:lvl1pPr>
            <a:lvl2pPr marL="0" indent="0">
              <a:spcBef>
                <a:spcPts val="0"/>
              </a:spcBef>
              <a:buNone/>
              <a:defRPr lang="en-US" sz="1200" baseline="0" dirty="0">
                <a:latin typeface="Ubuntu" panose="020B0504030602030204" pitchFamily="34" charset="0"/>
                <a:cs typeface="Calibri Light" panose="020F0302020204030204" pitchFamily="34" charset="0"/>
              </a:defRPr>
            </a:lvl2pPr>
            <a:lvl3pPr>
              <a:defRPr lang="nb-NO" sz="1354" dirty="0">
                <a:latin typeface="Arial" pitchFamily="34" charset="0"/>
                <a:cs typeface="Arial" pitchFamily="34" charset="0"/>
              </a:defRPr>
            </a:lvl3pPr>
            <a:lvl4pPr>
              <a:defRPr lang="en-US" sz="1354" noProof="0" dirty="0">
                <a:latin typeface="Arial" pitchFamily="34" charset="0"/>
                <a:cs typeface="Arial" pitchFamily="34" charset="0"/>
              </a:defRPr>
            </a:lvl4pPr>
            <a:lvl5pPr>
              <a:defRPr lang="en-US" sz="1354" noProof="0" dirty="0">
                <a:latin typeface="Arial" pitchFamily="34" charset="0"/>
                <a:cs typeface="Arial" pitchFamily="34" charset="0"/>
              </a:defRPr>
            </a:lvl5pPr>
          </a:lstStyle>
          <a:p>
            <a:pPr marL="281368" lvl="0" indent="-281368">
              <a:spcBef>
                <a:spcPts val="0"/>
              </a:spcBef>
            </a:pPr>
            <a:r>
              <a:rPr lang="en-US"/>
              <a:t>Click to enter heading</a:t>
            </a:r>
          </a:p>
          <a:p>
            <a:pPr marL="211027" lvl="1" indent="-211027">
              <a:spcBef>
                <a:spcPts val="0"/>
              </a:spcBef>
            </a:pPr>
            <a:r>
              <a:rPr lang="en-US"/>
              <a:t>Second level (for units)</a:t>
            </a:r>
          </a:p>
        </p:txBody>
      </p:sp>
      <p:cxnSp>
        <p:nvCxnSpPr>
          <p:cNvPr id="3" name="Straight Connector 2">
            <a:extLst>
              <a:ext uri="{FF2B5EF4-FFF2-40B4-BE49-F238E27FC236}">
                <a16:creationId xmlns:a16="http://schemas.microsoft.com/office/drawing/2014/main" id="{05C042DF-3E33-FA60-85AA-33E2F1EBCB06}"/>
              </a:ext>
            </a:extLst>
          </p:cNvPr>
          <p:cNvCxnSpPr>
            <a:cxnSpLocks/>
          </p:cNvCxnSpPr>
          <p:nvPr/>
        </p:nvCxnSpPr>
        <p:spPr>
          <a:xfrm rot="10800000" flipH="1">
            <a:off x="451130" y="3519031"/>
            <a:ext cx="1129855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4716965"/>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ext left_2x chart or table right">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1CF98797-848B-4104-B922-5DC940899503}"/>
              </a:ext>
            </a:extLst>
          </p:cNvPr>
          <p:cNvSpPr txBox="1">
            <a:spLocks/>
          </p:cNvSpPr>
          <p:nvPr/>
        </p:nvSpPr>
        <p:spPr>
          <a:xfrm>
            <a:off x="375139" y="161196"/>
            <a:ext cx="11347938" cy="206969"/>
          </a:xfrm>
          <a:prstGeom prst="rect">
            <a:avLst/>
          </a:prstGeom>
        </p:spPr>
        <p:txBody>
          <a:bodyPr vert="horz" lIns="112542" tIns="56271" rIns="112542" bIns="56271" rtlCol="0" anchor="ctr">
            <a:noAutofit/>
          </a:bodyPr>
          <a:lstStyle/>
          <a:p>
            <a:pPr marL="0" marR="0" lvl="0" indent="0" algn="l" defTabSz="1125472" rtl="0" eaLnBrk="1" fontAlgn="auto" latinLnBrk="0" hangingPunct="1">
              <a:lnSpc>
                <a:spcPct val="100000"/>
              </a:lnSpc>
              <a:spcBef>
                <a:spcPct val="0"/>
              </a:spcBef>
              <a:spcAft>
                <a:spcPts val="0"/>
              </a:spcAft>
              <a:buClrTx/>
              <a:buSzTx/>
              <a:buFontTx/>
              <a:buNone/>
              <a:tabLst/>
              <a:defRPr/>
            </a:pPr>
            <a:endParaRPr kumimoji="0" lang="nb-NO" sz="1108" i="0" u="none" strike="noStrike" kern="1200" cap="none" spc="0" normalizeH="0" baseline="0" noProof="0">
              <a:ln>
                <a:noFill/>
              </a:ln>
              <a:solidFill>
                <a:schemeClr val="tx1"/>
              </a:solidFill>
              <a:effectLst/>
              <a:uLnTx/>
              <a:uFillTx/>
              <a:latin typeface="Ubuntu" panose="020B0504030602030204" pitchFamily="34" charset="0"/>
              <a:ea typeface="+mj-ea"/>
              <a:cs typeface="Arial" pitchFamily="34" charset="0"/>
            </a:endParaRPr>
          </a:p>
        </p:txBody>
      </p:sp>
      <p:sp>
        <p:nvSpPr>
          <p:cNvPr id="15" name="Title 4">
            <a:extLst>
              <a:ext uri="{FF2B5EF4-FFF2-40B4-BE49-F238E27FC236}">
                <a16:creationId xmlns:a16="http://schemas.microsoft.com/office/drawing/2014/main" id="{C282F680-6156-4790-BCC1-40F7531B4266}"/>
              </a:ext>
            </a:extLst>
          </p:cNvPr>
          <p:cNvSpPr txBox="1">
            <a:spLocks/>
          </p:cNvSpPr>
          <p:nvPr/>
        </p:nvSpPr>
        <p:spPr>
          <a:xfrm>
            <a:off x="375139" y="161196"/>
            <a:ext cx="11347938" cy="206969"/>
          </a:xfrm>
          <a:prstGeom prst="rect">
            <a:avLst/>
          </a:prstGeom>
        </p:spPr>
        <p:txBody>
          <a:bodyPr vert="horz" lIns="112542" tIns="56271" rIns="112542" bIns="56271" rtlCol="0" anchor="ctr">
            <a:noAutofit/>
          </a:bodyPr>
          <a:lstStyle/>
          <a:p>
            <a:pPr marL="0" marR="0" lvl="0" indent="0" algn="l" defTabSz="1125472" rtl="0" eaLnBrk="1" fontAlgn="auto" latinLnBrk="0" hangingPunct="1">
              <a:lnSpc>
                <a:spcPct val="100000"/>
              </a:lnSpc>
              <a:spcBef>
                <a:spcPct val="0"/>
              </a:spcBef>
              <a:spcAft>
                <a:spcPts val="0"/>
              </a:spcAft>
              <a:buClrTx/>
              <a:buSzTx/>
              <a:buFontTx/>
              <a:buNone/>
              <a:tabLst/>
              <a:defRPr/>
            </a:pPr>
            <a:endParaRPr kumimoji="0" lang="nb-NO" sz="1108" i="0" u="none" strike="noStrike" kern="1200" cap="none" spc="0" normalizeH="0" baseline="0" noProof="0">
              <a:ln>
                <a:noFill/>
              </a:ln>
              <a:solidFill>
                <a:schemeClr val="tx1"/>
              </a:solidFill>
              <a:effectLst/>
              <a:uLnTx/>
              <a:uFillTx/>
              <a:latin typeface="Ubuntu" panose="020B0504030602030204" pitchFamily="34" charset="0"/>
              <a:ea typeface="+mj-ea"/>
              <a:cs typeface="Arial" pitchFamily="34" charset="0"/>
            </a:endParaRPr>
          </a:p>
        </p:txBody>
      </p:sp>
      <p:sp>
        <p:nvSpPr>
          <p:cNvPr id="19" name="Title 4">
            <a:extLst>
              <a:ext uri="{FF2B5EF4-FFF2-40B4-BE49-F238E27FC236}">
                <a16:creationId xmlns:a16="http://schemas.microsoft.com/office/drawing/2014/main" id="{1D1F5268-71B8-44A8-97FC-967E32F7D16C}"/>
              </a:ext>
            </a:extLst>
          </p:cNvPr>
          <p:cNvSpPr txBox="1">
            <a:spLocks/>
          </p:cNvSpPr>
          <p:nvPr/>
        </p:nvSpPr>
        <p:spPr>
          <a:xfrm>
            <a:off x="375139" y="161196"/>
            <a:ext cx="11347938" cy="206969"/>
          </a:xfrm>
          <a:prstGeom prst="rect">
            <a:avLst/>
          </a:prstGeom>
        </p:spPr>
        <p:txBody>
          <a:bodyPr vert="horz" lIns="112542" tIns="56271" rIns="112542" bIns="56271" rtlCol="0" anchor="ctr">
            <a:noAutofit/>
          </a:bodyPr>
          <a:lstStyle/>
          <a:p>
            <a:pPr marL="0" marR="0" lvl="0" indent="0" algn="l" defTabSz="1125472" rtl="0" eaLnBrk="1" fontAlgn="auto" latinLnBrk="0" hangingPunct="1">
              <a:lnSpc>
                <a:spcPct val="100000"/>
              </a:lnSpc>
              <a:spcBef>
                <a:spcPct val="0"/>
              </a:spcBef>
              <a:spcAft>
                <a:spcPts val="0"/>
              </a:spcAft>
              <a:buClrTx/>
              <a:buSzTx/>
              <a:buFontTx/>
              <a:buNone/>
              <a:tabLst/>
              <a:defRPr/>
            </a:pPr>
            <a:endParaRPr kumimoji="0" lang="nb-NO" sz="1108" i="0" u="none" strike="noStrike" kern="1200" cap="none" spc="0" normalizeH="0" baseline="0" noProof="0">
              <a:ln>
                <a:noFill/>
              </a:ln>
              <a:solidFill>
                <a:schemeClr val="tx1"/>
              </a:solidFill>
              <a:effectLst/>
              <a:uLnTx/>
              <a:uFillTx/>
              <a:latin typeface="Ubuntu" panose="020B0504030602030204" pitchFamily="34" charset="0"/>
              <a:ea typeface="+mj-ea"/>
              <a:cs typeface="Arial" pitchFamily="34" charset="0"/>
            </a:endParaRPr>
          </a:p>
        </p:txBody>
      </p:sp>
      <p:sp>
        <p:nvSpPr>
          <p:cNvPr id="23" name="Text Placeholder 12">
            <a:extLst>
              <a:ext uri="{FF2B5EF4-FFF2-40B4-BE49-F238E27FC236}">
                <a16:creationId xmlns:a16="http://schemas.microsoft.com/office/drawing/2014/main" id="{8B378EEE-82DF-484D-A189-8FA7ECB65AF6}"/>
              </a:ext>
            </a:extLst>
          </p:cNvPr>
          <p:cNvSpPr>
            <a:spLocks noGrp="1"/>
          </p:cNvSpPr>
          <p:nvPr>
            <p:ph type="body" sz="quarter" idx="45" hasCustomPrompt="1"/>
          </p:nvPr>
        </p:nvSpPr>
        <p:spPr>
          <a:xfrm>
            <a:off x="3660478" y="1561833"/>
            <a:ext cx="8088609" cy="1836000"/>
          </a:xfrm>
          <a:prstGeom prst="rect">
            <a:avLst/>
          </a:prstGeom>
          <a:ln>
            <a:noFill/>
          </a:ln>
        </p:spPr>
        <p:txBody>
          <a:bodyPr vert="horz" lIns="91440" tIns="45720" rIns="91440" bIns="45720" rtlCol="0">
            <a:normAutofit/>
          </a:bodyPr>
          <a:lstStyle>
            <a:lvl1pPr marL="0" indent="0">
              <a:buNone/>
              <a:defRPr lang="en-US" sz="1400" b="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25" name="Text Placeholder 12">
            <a:extLst>
              <a:ext uri="{FF2B5EF4-FFF2-40B4-BE49-F238E27FC236}">
                <a16:creationId xmlns:a16="http://schemas.microsoft.com/office/drawing/2014/main" id="{1843DD0B-FEB7-421E-BE19-7C94D6189735}"/>
              </a:ext>
            </a:extLst>
          </p:cNvPr>
          <p:cNvSpPr>
            <a:spLocks noGrp="1"/>
          </p:cNvSpPr>
          <p:nvPr>
            <p:ph type="body" sz="quarter" idx="47" hasCustomPrompt="1"/>
          </p:nvPr>
        </p:nvSpPr>
        <p:spPr>
          <a:xfrm>
            <a:off x="3660473" y="4041000"/>
            <a:ext cx="8083444" cy="1836000"/>
          </a:xfrm>
          <a:prstGeom prst="rect">
            <a:avLst/>
          </a:prstGeom>
          <a:ln>
            <a:noFill/>
          </a:ln>
        </p:spPr>
        <p:txBody>
          <a:bodyPr vert="horz" lIns="91440" tIns="45720" rIns="91440" bIns="45720" rtlCol="0">
            <a:normAutofit/>
          </a:bodyPr>
          <a:lstStyle>
            <a:lvl1pPr marL="0" indent="0">
              <a:buNone/>
              <a:defRPr lang="en-US" sz="1400" b="0" i="0" dirty="0">
                <a:latin typeface="Ubuntu" panose="020B0504030602030204" pitchFamily="34" charset="0"/>
                <a:cs typeface="Calibri Light" panose="020F0302020204030204" pitchFamily="34" charset="0"/>
              </a:defRPr>
            </a:lvl1pPr>
          </a:lstStyle>
          <a:p>
            <a:pPr marL="281368" lvl="0" indent="-281368">
              <a:spcBef>
                <a:spcPts val="0"/>
              </a:spcBef>
            </a:pPr>
            <a:r>
              <a:rPr lang="en-US"/>
              <a:t>CUBEOUT chart to be placed here</a:t>
            </a:r>
          </a:p>
        </p:txBody>
      </p:sp>
      <p:sp>
        <p:nvSpPr>
          <p:cNvPr id="2" name="Text Placeholder 12">
            <a:extLst>
              <a:ext uri="{FF2B5EF4-FFF2-40B4-BE49-F238E27FC236}">
                <a16:creationId xmlns:a16="http://schemas.microsoft.com/office/drawing/2014/main" id="{6447E263-0607-B52A-7382-5064B7608DED}"/>
              </a:ext>
            </a:extLst>
          </p:cNvPr>
          <p:cNvSpPr>
            <a:spLocks noGrp="1"/>
          </p:cNvSpPr>
          <p:nvPr>
            <p:ph type="body" sz="quarter" idx="19"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4" name="Title 3">
            <a:extLst>
              <a:ext uri="{FF2B5EF4-FFF2-40B4-BE49-F238E27FC236}">
                <a16:creationId xmlns:a16="http://schemas.microsoft.com/office/drawing/2014/main" id="{9FE58178-8573-48D1-8E6C-EF4572FC3EFB}"/>
              </a:ext>
            </a:extLst>
          </p:cNvPr>
          <p:cNvSpPr>
            <a:spLocks noGrp="1"/>
          </p:cNvSpPr>
          <p:nvPr>
            <p:ph type="title"/>
          </p:nvPr>
        </p:nvSpPr>
        <p:spPr/>
        <p:txBody>
          <a:bodyPr/>
          <a:lstStyle/>
          <a:p>
            <a:r>
              <a:rPr lang="en-US"/>
              <a:t>Click to edit Master title style</a:t>
            </a:r>
          </a:p>
        </p:txBody>
      </p:sp>
      <p:sp>
        <p:nvSpPr>
          <p:cNvPr id="10" name="Text Placeholder 12">
            <a:extLst>
              <a:ext uri="{FF2B5EF4-FFF2-40B4-BE49-F238E27FC236}">
                <a16:creationId xmlns:a16="http://schemas.microsoft.com/office/drawing/2014/main" id="{22F611F5-7E19-8984-6249-76EC1E5839B5}"/>
              </a:ext>
            </a:extLst>
          </p:cNvPr>
          <p:cNvSpPr>
            <a:spLocks noGrp="1"/>
          </p:cNvSpPr>
          <p:nvPr>
            <p:ph type="body" sz="quarter" idx="49" hasCustomPrompt="1"/>
          </p:nvPr>
        </p:nvSpPr>
        <p:spPr>
          <a:xfrm>
            <a:off x="3660477" y="1132053"/>
            <a:ext cx="8088612" cy="388772"/>
          </a:xfrm>
          <a:prstGeom prst="rect">
            <a:avLst/>
          </a:prstGeom>
          <a:ln>
            <a:noFill/>
          </a:ln>
        </p:spPr>
        <p:txBody>
          <a:bodyPr vert="horz" lIns="91440" tIns="45720" rIns="91440" bIns="45720" rtlCol="0" anchor="ctr">
            <a:noAutofit/>
          </a:bodyPr>
          <a:lstStyle>
            <a:lvl1pPr marL="0" indent="0">
              <a:spcBef>
                <a:spcPts val="0"/>
              </a:spcBef>
              <a:buNone/>
              <a:defRPr lang="en-US" sz="1400" b="1" dirty="0">
                <a:latin typeface="Ubuntu" panose="020B0504030602030204" pitchFamily="34" charset="0"/>
                <a:cs typeface="Calibri Light" panose="020F0302020204030204" pitchFamily="34" charset="0"/>
              </a:defRPr>
            </a:lvl1pPr>
            <a:lvl2pPr marL="0" indent="0">
              <a:spcBef>
                <a:spcPts val="0"/>
              </a:spcBef>
              <a:buNone/>
              <a:defRPr lang="en-US" sz="1200" baseline="0" dirty="0">
                <a:latin typeface="Ubuntu" panose="020B0504030602030204" pitchFamily="34" charset="0"/>
                <a:cs typeface="Calibri Light" panose="020F0302020204030204" pitchFamily="34" charset="0"/>
              </a:defRPr>
            </a:lvl2pPr>
            <a:lvl3pPr>
              <a:defRPr lang="nb-NO" sz="1354" dirty="0">
                <a:latin typeface="Arial" pitchFamily="34" charset="0"/>
                <a:cs typeface="Arial" pitchFamily="34" charset="0"/>
              </a:defRPr>
            </a:lvl3pPr>
            <a:lvl4pPr>
              <a:defRPr lang="en-US" sz="1354" noProof="0" dirty="0">
                <a:latin typeface="Arial" pitchFamily="34" charset="0"/>
                <a:cs typeface="Arial" pitchFamily="34" charset="0"/>
              </a:defRPr>
            </a:lvl4pPr>
            <a:lvl5pPr>
              <a:defRPr lang="en-US" sz="1354" noProof="0" dirty="0">
                <a:latin typeface="Arial" pitchFamily="34" charset="0"/>
                <a:cs typeface="Arial" pitchFamily="34" charset="0"/>
              </a:defRPr>
            </a:lvl5pPr>
          </a:lstStyle>
          <a:p>
            <a:pPr marL="281368" lvl="0" indent="-281368">
              <a:spcBef>
                <a:spcPts val="0"/>
              </a:spcBef>
            </a:pPr>
            <a:r>
              <a:rPr lang="en-US"/>
              <a:t>Click to enter heading</a:t>
            </a:r>
          </a:p>
          <a:p>
            <a:pPr marL="211027" lvl="1" indent="-211027">
              <a:spcBef>
                <a:spcPts val="0"/>
              </a:spcBef>
            </a:pPr>
            <a:r>
              <a:rPr lang="en-US"/>
              <a:t>Second level (for units)</a:t>
            </a:r>
          </a:p>
        </p:txBody>
      </p:sp>
      <p:sp>
        <p:nvSpPr>
          <p:cNvPr id="16" name="Text Placeholder 12">
            <a:extLst>
              <a:ext uri="{FF2B5EF4-FFF2-40B4-BE49-F238E27FC236}">
                <a16:creationId xmlns:a16="http://schemas.microsoft.com/office/drawing/2014/main" id="{583CF6C2-9304-45DC-C95B-3182AA2BF7D9}"/>
              </a:ext>
            </a:extLst>
          </p:cNvPr>
          <p:cNvSpPr>
            <a:spLocks noGrp="1"/>
          </p:cNvSpPr>
          <p:nvPr>
            <p:ph type="body" sz="quarter" idx="51" hasCustomPrompt="1"/>
          </p:nvPr>
        </p:nvSpPr>
        <p:spPr>
          <a:xfrm>
            <a:off x="3660477" y="3607269"/>
            <a:ext cx="8088612" cy="388772"/>
          </a:xfrm>
          <a:prstGeom prst="rect">
            <a:avLst/>
          </a:prstGeom>
          <a:ln>
            <a:noFill/>
          </a:ln>
        </p:spPr>
        <p:txBody>
          <a:bodyPr vert="horz" lIns="91440" tIns="45720" rIns="91440" bIns="45720" rtlCol="0" anchor="ctr">
            <a:noAutofit/>
          </a:bodyPr>
          <a:lstStyle>
            <a:lvl1pPr marL="0" indent="0">
              <a:spcBef>
                <a:spcPts val="0"/>
              </a:spcBef>
              <a:buNone/>
              <a:defRPr lang="en-US" sz="1400" b="1" dirty="0">
                <a:latin typeface="Ubuntu" panose="020B0504030602030204" pitchFamily="34" charset="0"/>
                <a:cs typeface="Calibri Light" panose="020F0302020204030204" pitchFamily="34" charset="0"/>
              </a:defRPr>
            </a:lvl1pPr>
            <a:lvl2pPr marL="0" indent="0">
              <a:spcBef>
                <a:spcPts val="0"/>
              </a:spcBef>
              <a:buNone/>
              <a:defRPr lang="en-US" sz="1200" baseline="0" dirty="0">
                <a:latin typeface="Ubuntu" panose="020B0504030602030204" pitchFamily="34" charset="0"/>
                <a:cs typeface="Calibri Light" panose="020F0302020204030204" pitchFamily="34" charset="0"/>
              </a:defRPr>
            </a:lvl2pPr>
            <a:lvl3pPr>
              <a:defRPr lang="nb-NO" sz="1354" dirty="0">
                <a:latin typeface="Arial" pitchFamily="34" charset="0"/>
                <a:cs typeface="Arial" pitchFamily="34" charset="0"/>
              </a:defRPr>
            </a:lvl3pPr>
            <a:lvl4pPr>
              <a:defRPr lang="en-US" sz="1354" noProof="0" dirty="0">
                <a:latin typeface="Arial" pitchFamily="34" charset="0"/>
                <a:cs typeface="Arial" pitchFamily="34" charset="0"/>
              </a:defRPr>
            </a:lvl4pPr>
            <a:lvl5pPr>
              <a:defRPr lang="en-US" sz="1354" noProof="0" dirty="0">
                <a:latin typeface="Arial" pitchFamily="34" charset="0"/>
                <a:cs typeface="Arial" pitchFamily="34" charset="0"/>
              </a:defRPr>
            </a:lvl5pPr>
          </a:lstStyle>
          <a:p>
            <a:pPr marL="281368" lvl="0" indent="-281368">
              <a:spcBef>
                <a:spcPts val="0"/>
              </a:spcBef>
            </a:pPr>
            <a:r>
              <a:rPr lang="en-US"/>
              <a:t>Click to enter heading</a:t>
            </a:r>
          </a:p>
          <a:p>
            <a:pPr marL="211027" lvl="1" indent="-211027">
              <a:spcBef>
                <a:spcPts val="0"/>
              </a:spcBef>
            </a:pPr>
            <a:r>
              <a:rPr lang="en-US"/>
              <a:t>Second level (for units)</a:t>
            </a:r>
          </a:p>
        </p:txBody>
      </p:sp>
      <p:sp>
        <p:nvSpPr>
          <p:cNvPr id="5" name="Text Placeholder 4">
            <a:extLst>
              <a:ext uri="{FF2B5EF4-FFF2-40B4-BE49-F238E27FC236}">
                <a16:creationId xmlns:a16="http://schemas.microsoft.com/office/drawing/2014/main" id="{A0934FAD-4FAE-9C19-9A0A-53B94229A7FF}"/>
              </a:ext>
            </a:extLst>
          </p:cNvPr>
          <p:cNvSpPr>
            <a:spLocks noGrp="1"/>
          </p:cNvSpPr>
          <p:nvPr>
            <p:ph type="body" sz="quarter" idx="40"/>
          </p:nvPr>
        </p:nvSpPr>
        <p:spPr>
          <a:xfrm>
            <a:off x="442912" y="1132703"/>
            <a:ext cx="3130551" cy="4737057"/>
          </a:xfrm>
          <a:prstGeom prst="rect">
            <a:avLst/>
          </a:prstGeom>
        </p:spPr>
        <p:txBody>
          <a:bodyPr>
            <a:normAutofit/>
          </a:bodyPr>
          <a:lstStyle>
            <a:lvl1pPr>
              <a:defRPr sz="1400">
                <a:latin typeface="Ubuntu" panose="020B0504030602030204" pitchFamily="34" charset="0"/>
              </a:defRPr>
            </a:lvl1pPr>
            <a:lvl2pPr>
              <a:defRPr sz="1200">
                <a:latin typeface="Ubuntu" panose="020B0504030602030204" pitchFamily="34" charset="0"/>
              </a:defRPr>
            </a:lvl2pPr>
            <a:lvl3pPr>
              <a:defRPr sz="1100">
                <a:latin typeface="Ubuntu" panose="020B0504030602030204" pitchFamily="34" charset="0"/>
              </a:defRPr>
            </a:lvl3pPr>
            <a:lvl4pPr>
              <a:defRPr sz="1050">
                <a:latin typeface="Ubuntu" panose="020B0504030602030204" pitchFamily="34" charset="0"/>
              </a:defRPr>
            </a:lvl4pPr>
            <a:lvl5pPr>
              <a:defRPr sz="1000">
                <a:latin typeface="Ubuntu" panose="020B05040306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6" name="Straight Connector 5">
            <a:extLst>
              <a:ext uri="{FF2B5EF4-FFF2-40B4-BE49-F238E27FC236}">
                <a16:creationId xmlns:a16="http://schemas.microsoft.com/office/drawing/2014/main" id="{806FD478-6742-601A-23EC-717831071227}"/>
              </a:ext>
            </a:extLst>
          </p:cNvPr>
          <p:cNvCxnSpPr>
            <a:cxnSpLocks/>
          </p:cNvCxnSpPr>
          <p:nvPr/>
        </p:nvCxnSpPr>
        <p:spPr>
          <a:xfrm flipV="1">
            <a:off x="3616970" y="1125000"/>
            <a:ext cx="0" cy="4754425"/>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18A83E2-25CD-7E0C-7153-DFC69F0A579C}"/>
              </a:ext>
            </a:extLst>
          </p:cNvPr>
          <p:cNvCxnSpPr>
            <a:cxnSpLocks/>
          </p:cNvCxnSpPr>
          <p:nvPr/>
        </p:nvCxnSpPr>
        <p:spPr>
          <a:xfrm rot="10800000" flipH="1">
            <a:off x="3629340" y="3519030"/>
            <a:ext cx="811071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4219326"/>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Quals 1">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617DB6D-347A-430D-A893-009731D22A71}"/>
              </a:ext>
            </a:extLst>
          </p:cNvPr>
          <p:cNvSpPr txBox="1"/>
          <p:nvPr/>
        </p:nvSpPr>
        <p:spPr>
          <a:xfrm>
            <a:off x="466301" y="1307769"/>
            <a:ext cx="11254154" cy="369332"/>
          </a:xfrm>
          <a:prstGeom prst="rect">
            <a:avLst/>
          </a:prstGeom>
          <a:noFill/>
        </p:spPr>
        <p:txBody>
          <a:bodyPr wrap="square" rtlCol="0">
            <a:spAutoFit/>
          </a:bodyPr>
          <a:lstStyle/>
          <a:p>
            <a:pPr>
              <a:spcAft>
                <a:spcPts val="738"/>
              </a:spcAft>
            </a:pPr>
            <a:r>
              <a:rPr lang="en-US" sz="1800" b="1">
                <a:latin typeface="Ubuntu" panose="020B0504030602030204" pitchFamily="34" charset="0"/>
                <a:cs typeface="Calibri Light" panose="020F0302020204030204" pitchFamily="34" charset="0"/>
              </a:rPr>
              <a:t>Situation</a:t>
            </a:r>
          </a:p>
        </p:txBody>
      </p:sp>
      <p:cxnSp>
        <p:nvCxnSpPr>
          <p:cNvPr id="4" name="Straight Connector 3">
            <a:extLst>
              <a:ext uri="{FF2B5EF4-FFF2-40B4-BE49-F238E27FC236}">
                <a16:creationId xmlns:a16="http://schemas.microsoft.com/office/drawing/2014/main" id="{931DEDC8-D13A-48AF-8AF9-878CED79A0C4}"/>
              </a:ext>
            </a:extLst>
          </p:cNvPr>
          <p:cNvCxnSpPr>
            <a:cxnSpLocks/>
          </p:cNvCxnSpPr>
          <p:nvPr/>
        </p:nvCxnSpPr>
        <p:spPr bwMode="auto">
          <a:xfrm>
            <a:off x="6281257" y="3037498"/>
            <a:ext cx="5436304" cy="0"/>
          </a:xfrm>
          <a:prstGeom prst="line">
            <a:avLst/>
          </a:prstGeom>
          <a:solidFill>
            <a:srgbClr val="FF7C8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5" name="Straight Connector 4">
            <a:extLst>
              <a:ext uri="{FF2B5EF4-FFF2-40B4-BE49-F238E27FC236}">
                <a16:creationId xmlns:a16="http://schemas.microsoft.com/office/drawing/2014/main" id="{3A7878AD-5B6F-4708-B6C8-6FBA61F1C545}"/>
              </a:ext>
            </a:extLst>
          </p:cNvPr>
          <p:cNvCxnSpPr>
            <a:cxnSpLocks/>
          </p:cNvCxnSpPr>
          <p:nvPr/>
        </p:nvCxnSpPr>
        <p:spPr bwMode="auto">
          <a:xfrm>
            <a:off x="496507" y="3037498"/>
            <a:ext cx="5414240" cy="0"/>
          </a:xfrm>
          <a:prstGeom prst="line">
            <a:avLst/>
          </a:prstGeom>
          <a:solidFill>
            <a:srgbClr val="FF7C8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cxnSp>
      <p:sp>
        <p:nvSpPr>
          <p:cNvPr id="6" name="TextBox 5">
            <a:extLst>
              <a:ext uri="{FF2B5EF4-FFF2-40B4-BE49-F238E27FC236}">
                <a16:creationId xmlns:a16="http://schemas.microsoft.com/office/drawing/2014/main" id="{E2162491-5288-4DBC-BC6F-8359CF8CE7A0}"/>
              </a:ext>
            </a:extLst>
          </p:cNvPr>
          <p:cNvSpPr txBox="1"/>
          <p:nvPr/>
        </p:nvSpPr>
        <p:spPr>
          <a:xfrm>
            <a:off x="468923" y="2739594"/>
            <a:ext cx="5441824" cy="369332"/>
          </a:xfrm>
          <a:prstGeom prst="rect">
            <a:avLst/>
          </a:prstGeom>
          <a:noFill/>
        </p:spPr>
        <p:txBody>
          <a:bodyPr wrap="square" rtlCol="0">
            <a:spAutoFit/>
          </a:bodyPr>
          <a:lstStyle/>
          <a:p>
            <a:r>
              <a:rPr lang="en-US" sz="1800" b="1">
                <a:latin typeface="Ubuntu" panose="020B0504030602030204" pitchFamily="34" charset="0"/>
                <a:cs typeface="Calibri Light" panose="020F0302020204030204" pitchFamily="34" charset="0"/>
              </a:rPr>
              <a:t>Approach</a:t>
            </a:r>
          </a:p>
        </p:txBody>
      </p:sp>
      <p:sp>
        <p:nvSpPr>
          <p:cNvPr id="7" name="TextBox 6">
            <a:extLst>
              <a:ext uri="{FF2B5EF4-FFF2-40B4-BE49-F238E27FC236}">
                <a16:creationId xmlns:a16="http://schemas.microsoft.com/office/drawing/2014/main" id="{D1F9C664-A841-4410-92AE-DC0EEFFA423F}"/>
              </a:ext>
            </a:extLst>
          </p:cNvPr>
          <p:cNvSpPr txBox="1"/>
          <p:nvPr/>
        </p:nvSpPr>
        <p:spPr>
          <a:xfrm>
            <a:off x="6281256" y="2739594"/>
            <a:ext cx="5435730" cy="369332"/>
          </a:xfrm>
          <a:prstGeom prst="rect">
            <a:avLst/>
          </a:prstGeom>
          <a:noFill/>
        </p:spPr>
        <p:txBody>
          <a:bodyPr wrap="square" rtlCol="0">
            <a:spAutoFit/>
          </a:bodyPr>
          <a:lstStyle/>
          <a:p>
            <a:r>
              <a:rPr lang="en-US" sz="1800" b="1">
                <a:latin typeface="Ubuntu" panose="020B0504030602030204" pitchFamily="34" charset="0"/>
                <a:cs typeface="Calibri Light" panose="020F0302020204030204" pitchFamily="34" charset="0"/>
              </a:rPr>
              <a:t>Impact &amp; Value Add</a:t>
            </a:r>
          </a:p>
        </p:txBody>
      </p:sp>
      <p:cxnSp>
        <p:nvCxnSpPr>
          <p:cNvPr id="8" name="Straight Connector 7">
            <a:extLst>
              <a:ext uri="{FF2B5EF4-FFF2-40B4-BE49-F238E27FC236}">
                <a16:creationId xmlns:a16="http://schemas.microsoft.com/office/drawing/2014/main" id="{DDC018EE-C403-4155-8A31-5F4A1DF0E660}"/>
              </a:ext>
            </a:extLst>
          </p:cNvPr>
          <p:cNvCxnSpPr>
            <a:cxnSpLocks/>
          </p:cNvCxnSpPr>
          <p:nvPr/>
        </p:nvCxnSpPr>
        <p:spPr bwMode="auto">
          <a:xfrm>
            <a:off x="468926" y="1585543"/>
            <a:ext cx="11263920" cy="0"/>
          </a:xfrm>
          <a:prstGeom prst="line">
            <a:avLst/>
          </a:prstGeom>
          <a:solidFill>
            <a:srgbClr val="FF7C8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cxnSp>
      <p:sp>
        <p:nvSpPr>
          <p:cNvPr id="9" name="Title 1">
            <a:extLst>
              <a:ext uri="{FF2B5EF4-FFF2-40B4-BE49-F238E27FC236}">
                <a16:creationId xmlns:a16="http://schemas.microsoft.com/office/drawing/2014/main" id="{21EFA5FE-67CD-4A22-A89F-59F0F2FA8DF8}"/>
              </a:ext>
            </a:extLst>
          </p:cNvPr>
          <p:cNvSpPr>
            <a:spLocks noGrp="1"/>
          </p:cNvSpPr>
          <p:nvPr>
            <p:ph type="title" hasCustomPrompt="1"/>
          </p:nvPr>
        </p:nvSpPr>
        <p:spPr>
          <a:xfrm>
            <a:off x="468923" y="434643"/>
            <a:ext cx="11254154" cy="772119"/>
          </a:xfrm>
          <a:prstGeom prst="rect">
            <a:avLst/>
          </a:prstGeom>
        </p:spPr>
        <p:txBody>
          <a:bodyPr vert="horz" lIns="91440" tIns="45720" rIns="91440" bIns="45720" rtlCol="0" anchor="ctr">
            <a:noAutofit/>
          </a:bodyPr>
          <a:lstStyle>
            <a:lvl1pPr>
              <a:defRPr lang="en-US" sz="2200" dirty="0">
                <a:latin typeface="Ubuntu" panose="020B0504030602030204" pitchFamily="34" charset="0"/>
                <a:cs typeface="Calibri" panose="020F0502020204030204" pitchFamily="34" charset="0"/>
              </a:defRPr>
            </a:lvl1pPr>
          </a:lstStyle>
          <a:p>
            <a:pPr lvl="0"/>
            <a:r>
              <a:rPr lang="en-US">
                <a:solidFill>
                  <a:schemeClr val="tx1">
                    <a:lumMod val="50000"/>
                    <a:lumOff val="50000"/>
                  </a:schemeClr>
                </a:solidFill>
              </a:rPr>
              <a:t>Project Category</a:t>
            </a:r>
            <a:br>
              <a:rPr lang="en-US" b="1"/>
            </a:br>
            <a:r>
              <a:rPr lang="en-US"/>
              <a:t>&lt;Deliverable&gt; driven by </a:t>
            </a:r>
            <a:br>
              <a:rPr lang="en-US"/>
            </a:br>
            <a:r>
              <a:rPr lang="en-US"/>
              <a:t>&lt;Approach&gt;</a:t>
            </a:r>
          </a:p>
        </p:txBody>
      </p:sp>
      <p:sp>
        <p:nvSpPr>
          <p:cNvPr id="10" name="Text Placeholder 2">
            <a:extLst>
              <a:ext uri="{FF2B5EF4-FFF2-40B4-BE49-F238E27FC236}">
                <a16:creationId xmlns:a16="http://schemas.microsoft.com/office/drawing/2014/main" id="{7AA7BE74-4275-4137-B146-607431659282}"/>
              </a:ext>
            </a:extLst>
          </p:cNvPr>
          <p:cNvSpPr>
            <a:spLocks noGrp="1"/>
          </p:cNvSpPr>
          <p:nvPr>
            <p:ph type="body" sz="quarter" idx="15" hasCustomPrompt="1"/>
          </p:nvPr>
        </p:nvSpPr>
        <p:spPr>
          <a:xfrm>
            <a:off x="473392" y="1594384"/>
            <a:ext cx="11254153" cy="357470"/>
          </a:xfrm>
          <a:prstGeom prst="rect">
            <a:avLst/>
          </a:prstGeom>
        </p:spPr>
        <p:txBody>
          <a:bodyPr wrap="square" anchor="t" anchorCtr="0">
            <a:spAutoFit/>
          </a:bodyPr>
          <a:lstStyle>
            <a:lvl1pPr marL="351701" indent="-351701">
              <a:lnSpc>
                <a:spcPct val="100000"/>
              </a:lnSpc>
              <a:spcBef>
                <a:spcPts val="0"/>
              </a:spcBef>
              <a:buFont typeface="Arial" panose="020B0604020202020204" pitchFamily="34" charset="0"/>
              <a:buChar char="•"/>
              <a:defRPr sz="1600">
                <a:latin typeface="Ubuntu" panose="020B0504030602030204" pitchFamily="34" charset="0"/>
                <a:ea typeface="Verdana" panose="020B0604030504040204" pitchFamily="34" charset="0"/>
                <a:cs typeface="Calibri Light" panose="020F0302020204030204" pitchFamily="34" charset="0"/>
              </a:defRPr>
            </a:lvl1pPr>
            <a:lvl2pPr marL="893965" indent="-412093">
              <a:buFont typeface="Arial" panose="020B0604020202020204" pitchFamily="34" charset="0"/>
              <a:buChar char="•"/>
              <a:defRPr sz="1683">
                <a:latin typeface="Verdana" panose="020B0604030504040204" pitchFamily="34" charset="0"/>
                <a:ea typeface="Verdana" panose="020B0604030504040204" pitchFamily="34" charset="0"/>
                <a:cs typeface="Verdana" panose="020B0604030504040204" pitchFamily="34" charset="0"/>
              </a:defRPr>
            </a:lvl2pPr>
            <a:lvl3pPr marL="1307155" indent="-343409">
              <a:buFont typeface="Arial" panose="020B0604020202020204" pitchFamily="34" charset="0"/>
              <a:buChar char="•"/>
              <a:defRPr sz="1322">
                <a:latin typeface="Verdana" panose="020B0604030504040204" pitchFamily="34" charset="0"/>
                <a:ea typeface="Verdana" panose="020B0604030504040204" pitchFamily="34" charset="0"/>
                <a:cs typeface="Verdana" panose="020B0604030504040204" pitchFamily="34" charset="0"/>
              </a:defRPr>
            </a:lvl3pPr>
            <a:lvl4pPr marL="1789026"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4pPr>
            <a:lvl5pPr marL="2270899"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5pPr>
          </a:lstStyle>
          <a:p>
            <a:pPr marL="285750" indent="-285750">
              <a:buFont typeface="Arial" panose="020B0604020202020204" pitchFamily="34" charset="0"/>
              <a:buChar char="•"/>
            </a:pPr>
            <a:r>
              <a:rPr lang="en-US" sz="1723"/>
              <a:t>&lt;Case for change, quantified where possible&gt;</a:t>
            </a:r>
          </a:p>
        </p:txBody>
      </p:sp>
      <p:sp>
        <p:nvSpPr>
          <p:cNvPr id="11" name="Text Placeholder 2">
            <a:extLst>
              <a:ext uri="{FF2B5EF4-FFF2-40B4-BE49-F238E27FC236}">
                <a16:creationId xmlns:a16="http://schemas.microsoft.com/office/drawing/2014/main" id="{E0BBE607-7DEF-41AB-B54B-D4BD1FAFFE0A}"/>
              </a:ext>
            </a:extLst>
          </p:cNvPr>
          <p:cNvSpPr>
            <a:spLocks noGrp="1"/>
          </p:cNvSpPr>
          <p:nvPr>
            <p:ph type="body" sz="quarter" idx="16" hasCustomPrompt="1"/>
          </p:nvPr>
        </p:nvSpPr>
        <p:spPr>
          <a:xfrm>
            <a:off x="473392" y="5136786"/>
            <a:ext cx="5437356" cy="357470"/>
          </a:xfrm>
          <a:prstGeom prst="rect">
            <a:avLst/>
          </a:prstGeom>
        </p:spPr>
        <p:txBody>
          <a:bodyPr wrap="square" anchor="t" anchorCtr="0">
            <a:spAutoFit/>
          </a:bodyPr>
          <a:lstStyle>
            <a:lvl1pPr marL="351701" indent="-351701">
              <a:lnSpc>
                <a:spcPct val="100000"/>
              </a:lnSpc>
              <a:spcBef>
                <a:spcPts val="0"/>
              </a:spcBef>
              <a:buFont typeface="Arial" panose="020B0604020202020204" pitchFamily="34" charset="0"/>
              <a:buChar char="•"/>
              <a:defRPr sz="1477">
                <a:latin typeface="Ubuntu" panose="020B0504030602030204" pitchFamily="34" charset="0"/>
                <a:ea typeface="Verdana" panose="020B0604030504040204" pitchFamily="34" charset="0"/>
                <a:cs typeface="Calibri Light" panose="020F0302020204030204" pitchFamily="34" charset="0"/>
              </a:defRPr>
            </a:lvl1pPr>
            <a:lvl2pPr marL="893965" indent="-412093">
              <a:buFont typeface="Arial" panose="020B0604020202020204" pitchFamily="34" charset="0"/>
              <a:buChar char="•"/>
              <a:defRPr sz="1683">
                <a:latin typeface="Verdana" panose="020B0604030504040204" pitchFamily="34" charset="0"/>
                <a:ea typeface="Verdana" panose="020B0604030504040204" pitchFamily="34" charset="0"/>
                <a:cs typeface="Verdana" panose="020B0604030504040204" pitchFamily="34" charset="0"/>
              </a:defRPr>
            </a:lvl2pPr>
            <a:lvl3pPr marL="1307155" indent="-343409">
              <a:buFont typeface="Arial" panose="020B0604020202020204" pitchFamily="34" charset="0"/>
              <a:buChar char="•"/>
              <a:defRPr sz="1322">
                <a:latin typeface="Verdana" panose="020B0604030504040204" pitchFamily="34" charset="0"/>
                <a:ea typeface="Verdana" panose="020B0604030504040204" pitchFamily="34" charset="0"/>
                <a:cs typeface="Verdana" panose="020B0604030504040204" pitchFamily="34" charset="0"/>
              </a:defRPr>
            </a:lvl3pPr>
            <a:lvl4pPr marL="1789026"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4pPr>
            <a:lvl5pPr marL="2270899"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5pPr>
          </a:lstStyle>
          <a:p>
            <a:pPr marL="285750" indent="-285750">
              <a:buFont typeface="Arial" panose="020B0604020202020204" pitchFamily="34" charset="0"/>
              <a:buChar char="•"/>
            </a:pPr>
            <a:r>
              <a:rPr lang="en-US" sz="1723"/>
              <a:t>&lt;Our methodology&gt;</a:t>
            </a:r>
          </a:p>
        </p:txBody>
      </p:sp>
      <p:sp>
        <p:nvSpPr>
          <p:cNvPr id="12" name="Text Placeholder 2">
            <a:extLst>
              <a:ext uri="{FF2B5EF4-FFF2-40B4-BE49-F238E27FC236}">
                <a16:creationId xmlns:a16="http://schemas.microsoft.com/office/drawing/2014/main" id="{C978BF27-3218-4C3E-A8BA-80C014C0D7C5}"/>
              </a:ext>
            </a:extLst>
          </p:cNvPr>
          <p:cNvSpPr>
            <a:spLocks noGrp="1"/>
          </p:cNvSpPr>
          <p:nvPr>
            <p:ph type="body" sz="quarter" idx="17" hasCustomPrompt="1"/>
          </p:nvPr>
        </p:nvSpPr>
        <p:spPr>
          <a:xfrm>
            <a:off x="6281252" y="5136786"/>
            <a:ext cx="5414240" cy="357470"/>
          </a:xfrm>
          <a:prstGeom prst="rect">
            <a:avLst/>
          </a:prstGeom>
        </p:spPr>
        <p:txBody>
          <a:bodyPr wrap="square" anchor="t" anchorCtr="0">
            <a:spAutoFit/>
          </a:bodyPr>
          <a:lstStyle>
            <a:lvl1pPr marL="351701" indent="-351701">
              <a:lnSpc>
                <a:spcPct val="100000"/>
              </a:lnSpc>
              <a:spcBef>
                <a:spcPts val="0"/>
              </a:spcBef>
              <a:buFont typeface="Arial" panose="020B0604020202020204" pitchFamily="34" charset="0"/>
              <a:buChar char="•"/>
              <a:defRPr sz="1477">
                <a:latin typeface="Ubuntu" panose="020B0504030602030204" pitchFamily="34" charset="0"/>
                <a:ea typeface="Verdana" panose="020B0604030504040204" pitchFamily="34" charset="0"/>
                <a:cs typeface="Calibri Light" panose="020F0302020204030204" pitchFamily="34" charset="0"/>
              </a:defRPr>
            </a:lvl1pPr>
            <a:lvl2pPr marL="893965" indent="-412093">
              <a:buFont typeface="Arial" panose="020B0604020202020204" pitchFamily="34" charset="0"/>
              <a:buChar char="•"/>
              <a:defRPr sz="1683">
                <a:latin typeface="Verdana" panose="020B0604030504040204" pitchFamily="34" charset="0"/>
                <a:ea typeface="Verdana" panose="020B0604030504040204" pitchFamily="34" charset="0"/>
                <a:cs typeface="Verdana" panose="020B0604030504040204" pitchFamily="34" charset="0"/>
              </a:defRPr>
            </a:lvl2pPr>
            <a:lvl3pPr marL="1307155" indent="-343409">
              <a:buFont typeface="Arial" panose="020B0604020202020204" pitchFamily="34" charset="0"/>
              <a:buChar char="•"/>
              <a:defRPr sz="1322">
                <a:latin typeface="Verdana" panose="020B0604030504040204" pitchFamily="34" charset="0"/>
                <a:ea typeface="Verdana" panose="020B0604030504040204" pitchFamily="34" charset="0"/>
                <a:cs typeface="Verdana" panose="020B0604030504040204" pitchFamily="34" charset="0"/>
              </a:defRPr>
            </a:lvl3pPr>
            <a:lvl4pPr marL="1789026"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4pPr>
            <a:lvl5pPr marL="2270899"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5pPr>
          </a:lstStyle>
          <a:p>
            <a:pPr marL="285750" indent="-285750">
              <a:buFont typeface="Arial" panose="020B0604020202020204" pitchFamily="34" charset="0"/>
              <a:buChar char="•"/>
            </a:pPr>
            <a:r>
              <a:rPr lang="en-US" sz="1723"/>
              <a:t>&lt;Impact quantified where possible&gt;</a:t>
            </a:r>
          </a:p>
        </p:txBody>
      </p:sp>
      <p:sp>
        <p:nvSpPr>
          <p:cNvPr id="13" name="Text Placeholder 2">
            <a:extLst>
              <a:ext uri="{FF2B5EF4-FFF2-40B4-BE49-F238E27FC236}">
                <a16:creationId xmlns:a16="http://schemas.microsoft.com/office/drawing/2014/main" id="{A91247A8-5338-4322-BBE2-AEEA209CD7D5}"/>
              </a:ext>
            </a:extLst>
          </p:cNvPr>
          <p:cNvSpPr>
            <a:spLocks noGrp="1"/>
          </p:cNvSpPr>
          <p:nvPr>
            <p:ph type="body" sz="quarter" idx="18" hasCustomPrompt="1"/>
          </p:nvPr>
        </p:nvSpPr>
        <p:spPr>
          <a:xfrm>
            <a:off x="470167" y="4557370"/>
            <a:ext cx="2672504" cy="357470"/>
          </a:xfrm>
          <a:prstGeom prst="rect">
            <a:avLst/>
          </a:prstGeom>
        </p:spPr>
        <p:txBody>
          <a:bodyPr wrap="square" anchor="t" anchorCtr="0">
            <a:spAutoFit/>
          </a:bodyPr>
          <a:lstStyle>
            <a:lvl1pPr marL="351701" indent="-351701">
              <a:lnSpc>
                <a:spcPct val="100000"/>
              </a:lnSpc>
              <a:spcBef>
                <a:spcPts val="0"/>
              </a:spcBef>
              <a:buFont typeface="Arial" panose="020B0604020202020204" pitchFamily="34" charset="0"/>
              <a:buChar char="•"/>
              <a:defRPr sz="1600">
                <a:latin typeface="Ubuntu" panose="020B0504030602030204" pitchFamily="34" charset="0"/>
                <a:ea typeface="Verdana" panose="020B0604030504040204" pitchFamily="34" charset="0"/>
                <a:cs typeface="Calibri Light" panose="020F0302020204030204" pitchFamily="34" charset="0"/>
              </a:defRPr>
            </a:lvl1pPr>
            <a:lvl2pPr marL="893965" indent="-412093">
              <a:buFont typeface="Arial" panose="020B0604020202020204" pitchFamily="34" charset="0"/>
              <a:buChar char="•"/>
              <a:defRPr sz="1683">
                <a:latin typeface="Verdana" panose="020B0604030504040204" pitchFamily="34" charset="0"/>
                <a:ea typeface="Verdana" panose="020B0604030504040204" pitchFamily="34" charset="0"/>
                <a:cs typeface="Verdana" panose="020B0604030504040204" pitchFamily="34" charset="0"/>
              </a:defRPr>
            </a:lvl2pPr>
            <a:lvl3pPr marL="1307155" indent="-343409">
              <a:buFont typeface="Arial" panose="020B0604020202020204" pitchFamily="34" charset="0"/>
              <a:buChar char="•"/>
              <a:defRPr sz="1322">
                <a:latin typeface="Verdana" panose="020B0604030504040204" pitchFamily="34" charset="0"/>
                <a:ea typeface="Verdana" panose="020B0604030504040204" pitchFamily="34" charset="0"/>
                <a:cs typeface="Verdana" panose="020B0604030504040204" pitchFamily="34" charset="0"/>
              </a:defRPr>
            </a:lvl3pPr>
            <a:lvl4pPr marL="1789026"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4pPr>
            <a:lvl5pPr marL="2270899"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5pPr>
          </a:lstStyle>
          <a:p>
            <a:pPr marL="285750" indent="-285750">
              <a:buFont typeface="Arial" panose="020B0604020202020204" pitchFamily="34" charset="0"/>
              <a:buChar char="•"/>
            </a:pPr>
            <a:r>
              <a:rPr lang="en-US" sz="1723"/>
              <a:t>Short description</a:t>
            </a:r>
          </a:p>
        </p:txBody>
      </p:sp>
      <p:sp>
        <p:nvSpPr>
          <p:cNvPr id="14" name="Content Placeholder 9">
            <a:extLst>
              <a:ext uri="{FF2B5EF4-FFF2-40B4-BE49-F238E27FC236}">
                <a16:creationId xmlns:a16="http://schemas.microsoft.com/office/drawing/2014/main" id="{0F6B3267-0C1E-4165-AD3C-0A754EBB1D4D}"/>
              </a:ext>
            </a:extLst>
          </p:cNvPr>
          <p:cNvSpPr>
            <a:spLocks noGrp="1"/>
          </p:cNvSpPr>
          <p:nvPr>
            <p:ph sz="quarter" idx="22" hasCustomPrompt="1"/>
          </p:nvPr>
        </p:nvSpPr>
        <p:spPr>
          <a:xfrm>
            <a:off x="473391" y="3126218"/>
            <a:ext cx="2667841" cy="1431925"/>
          </a:xfrm>
          <a:prstGeom prst="rect">
            <a:avLst/>
          </a:prstGeom>
        </p:spPr>
        <p:txBody>
          <a:bodyPr/>
          <a:lstStyle>
            <a:lvl1pPr marL="0" indent="0">
              <a:buNone/>
              <a:defRPr sz="1477">
                <a:latin typeface="Ubuntu" panose="020B0504030602030204" pitchFamily="34" charset="0"/>
                <a:cs typeface="Calibri Light" panose="020F0302020204030204" pitchFamily="34" charset="0"/>
              </a:defRPr>
            </a:lvl1pPr>
            <a:lvl5pPr>
              <a:defRPr/>
            </a:lvl5pPr>
          </a:lstStyle>
          <a:p>
            <a:pPr lvl="0"/>
            <a:r>
              <a:rPr lang="en-US"/>
              <a:t>Graphics</a:t>
            </a:r>
          </a:p>
          <a:p>
            <a:pPr lvl="4"/>
            <a:endParaRPr lang="en-US"/>
          </a:p>
        </p:txBody>
      </p:sp>
      <p:sp>
        <p:nvSpPr>
          <p:cNvPr id="15" name="Text Placeholder 2">
            <a:extLst>
              <a:ext uri="{FF2B5EF4-FFF2-40B4-BE49-F238E27FC236}">
                <a16:creationId xmlns:a16="http://schemas.microsoft.com/office/drawing/2014/main" id="{DCC5E76B-5F33-4C68-B21D-ED4D8DC7DA13}"/>
              </a:ext>
            </a:extLst>
          </p:cNvPr>
          <p:cNvSpPr>
            <a:spLocks noGrp="1"/>
          </p:cNvSpPr>
          <p:nvPr>
            <p:ph type="body" sz="quarter" idx="23" hasCustomPrompt="1"/>
          </p:nvPr>
        </p:nvSpPr>
        <p:spPr>
          <a:xfrm>
            <a:off x="3266024" y="4556595"/>
            <a:ext cx="2646162" cy="357470"/>
          </a:xfrm>
          <a:prstGeom prst="rect">
            <a:avLst/>
          </a:prstGeom>
        </p:spPr>
        <p:txBody>
          <a:bodyPr wrap="square" anchor="t" anchorCtr="0">
            <a:spAutoFit/>
          </a:bodyPr>
          <a:lstStyle>
            <a:lvl1pPr marL="351701" indent="-351701">
              <a:lnSpc>
                <a:spcPct val="100000"/>
              </a:lnSpc>
              <a:spcBef>
                <a:spcPts val="0"/>
              </a:spcBef>
              <a:buFont typeface="Arial" panose="020B0604020202020204" pitchFamily="34" charset="0"/>
              <a:buChar char="•"/>
              <a:defRPr sz="1477">
                <a:latin typeface="Ubuntu" panose="020B0504030602030204" pitchFamily="34" charset="0"/>
                <a:ea typeface="Verdana" panose="020B0604030504040204" pitchFamily="34" charset="0"/>
                <a:cs typeface="Calibri Light" panose="020F0302020204030204" pitchFamily="34" charset="0"/>
              </a:defRPr>
            </a:lvl1pPr>
            <a:lvl2pPr marL="893965" indent="-412093">
              <a:buFont typeface="Arial" panose="020B0604020202020204" pitchFamily="34" charset="0"/>
              <a:buChar char="•"/>
              <a:defRPr sz="1683">
                <a:latin typeface="Verdana" panose="020B0604030504040204" pitchFamily="34" charset="0"/>
                <a:ea typeface="Verdana" panose="020B0604030504040204" pitchFamily="34" charset="0"/>
                <a:cs typeface="Verdana" panose="020B0604030504040204" pitchFamily="34" charset="0"/>
              </a:defRPr>
            </a:lvl2pPr>
            <a:lvl3pPr marL="1307155" indent="-343409">
              <a:buFont typeface="Arial" panose="020B0604020202020204" pitchFamily="34" charset="0"/>
              <a:buChar char="•"/>
              <a:defRPr sz="1322">
                <a:latin typeface="Verdana" panose="020B0604030504040204" pitchFamily="34" charset="0"/>
                <a:ea typeface="Verdana" panose="020B0604030504040204" pitchFamily="34" charset="0"/>
                <a:cs typeface="Verdana" panose="020B0604030504040204" pitchFamily="34" charset="0"/>
              </a:defRPr>
            </a:lvl3pPr>
            <a:lvl4pPr marL="1789026"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4pPr>
            <a:lvl5pPr marL="2270899"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5pPr>
          </a:lstStyle>
          <a:p>
            <a:pPr marL="285750" indent="-285750">
              <a:buFont typeface="Arial" panose="020B0604020202020204" pitchFamily="34" charset="0"/>
              <a:buChar char="•"/>
            </a:pPr>
            <a:r>
              <a:rPr lang="en-US" sz="1723"/>
              <a:t>Short description</a:t>
            </a:r>
          </a:p>
        </p:txBody>
      </p:sp>
      <p:sp>
        <p:nvSpPr>
          <p:cNvPr id="16" name="Content Placeholder 9">
            <a:extLst>
              <a:ext uri="{FF2B5EF4-FFF2-40B4-BE49-F238E27FC236}">
                <a16:creationId xmlns:a16="http://schemas.microsoft.com/office/drawing/2014/main" id="{27324D47-E55F-412A-AE08-EA6FA5C31F4F}"/>
              </a:ext>
            </a:extLst>
          </p:cNvPr>
          <p:cNvSpPr>
            <a:spLocks noGrp="1"/>
          </p:cNvSpPr>
          <p:nvPr>
            <p:ph sz="quarter" idx="24" hasCustomPrompt="1"/>
          </p:nvPr>
        </p:nvSpPr>
        <p:spPr>
          <a:xfrm>
            <a:off x="3266021" y="3125447"/>
            <a:ext cx="2644726" cy="1431925"/>
          </a:xfrm>
          <a:prstGeom prst="rect">
            <a:avLst/>
          </a:prstGeom>
        </p:spPr>
        <p:txBody>
          <a:bodyPr/>
          <a:lstStyle>
            <a:lvl1pPr marL="0" indent="0">
              <a:buNone/>
              <a:defRPr sz="1477">
                <a:latin typeface="Ubuntu" panose="020B0504030602030204" pitchFamily="34" charset="0"/>
                <a:cs typeface="Calibri Light" panose="020F0302020204030204" pitchFamily="34" charset="0"/>
              </a:defRPr>
            </a:lvl1pPr>
            <a:lvl5pPr>
              <a:defRPr/>
            </a:lvl5pPr>
          </a:lstStyle>
          <a:p>
            <a:pPr lvl="0"/>
            <a:r>
              <a:rPr lang="en-US"/>
              <a:t>Graphics</a:t>
            </a:r>
          </a:p>
          <a:p>
            <a:pPr lvl="4"/>
            <a:endParaRPr lang="en-US"/>
          </a:p>
        </p:txBody>
      </p:sp>
      <p:sp>
        <p:nvSpPr>
          <p:cNvPr id="17" name="Text Placeholder 2">
            <a:extLst>
              <a:ext uri="{FF2B5EF4-FFF2-40B4-BE49-F238E27FC236}">
                <a16:creationId xmlns:a16="http://schemas.microsoft.com/office/drawing/2014/main" id="{E0F6305C-E679-4806-ABEB-E336E7E8E330}"/>
              </a:ext>
            </a:extLst>
          </p:cNvPr>
          <p:cNvSpPr>
            <a:spLocks noGrp="1"/>
          </p:cNvSpPr>
          <p:nvPr>
            <p:ph type="body" sz="quarter" idx="25" hasCustomPrompt="1"/>
          </p:nvPr>
        </p:nvSpPr>
        <p:spPr>
          <a:xfrm>
            <a:off x="6302749" y="4556595"/>
            <a:ext cx="2646162" cy="357470"/>
          </a:xfrm>
          <a:prstGeom prst="rect">
            <a:avLst/>
          </a:prstGeom>
        </p:spPr>
        <p:txBody>
          <a:bodyPr wrap="square" anchor="t" anchorCtr="0">
            <a:spAutoFit/>
          </a:bodyPr>
          <a:lstStyle>
            <a:lvl1pPr marL="351701" indent="-351701">
              <a:lnSpc>
                <a:spcPct val="100000"/>
              </a:lnSpc>
              <a:spcBef>
                <a:spcPts val="0"/>
              </a:spcBef>
              <a:buFont typeface="Arial" panose="020B0604020202020204" pitchFamily="34" charset="0"/>
              <a:buChar char="•"/>
              <a:defRPr sz="1477">
                <a:latin typeface="Ubuntu" panose="020B0504030602030204" pitchFamily="34" charset="0"/>
                <a:ea typeface="Verdana" panose="020B0604030504040204" pitchFamily="34" charset="0"/>
                <a:cs typeface="Calibri Light" panose="020F0302020204030204" pitchFamily="34" charset="0"/>
              </a:defRPr>
            </a:lvl1pPr>
            <a:lvl2pPr marL="893965" indent="-412093">
              <a:buFont typeface="Arial" panose="020B0604020202020204" pitchFamily="34" charset="0"/>
              <a:buChar char="•"/>
              <a:defRPr sz="1683">
                <a:latin typeface="Verdana" panose="020B0604030504040204" pitchFamily="34" charset="0"/>
                <a:ea typeface="Verdana" panose="020B0604030504040204" pitchFamily="34" charset="0"/>
                <a:cs typeface="Verdana" panose="020B0604030504040204" pitchFamily="34" charset="0"/>
              </a:defRPr>
            </a:lvl2pPr>
            <a:lvl3pPr marL="1307155" indent="-343409">
              <a:buFont typeface="Arial" panose="020B0604020202020204" pitchFamily="34" charset="0"/>
              <a:buChar char="•"/>
              <a:defRPr sz="1322">
                <a:latin typeface="Verdana" panose="020B0604030504040204" pitchFamily="34" charset="0"/>
                <a:ea typeface="Verdana" panose="020B0604030504040204" pitchFamily="34" charset="0"/>
                <a:cs typeface="Verdana" panose="020B0604030504040204" pitchFamily="34" charset="0"/>
              </a:defRPr>
            </a:lvl3pPr>
            <a:lvl4pPr marL="1789026"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4pPr>
            <a:lvl5pPr marL="2270899"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5pPr>
          </a:lstStyle>
          <a:p>
            <a:pPr marL="285750" indent="-285750">
              <a:buFont typeface="Arial" panose="020B0604020202020204" pitchFamily="34" charset="0"/>
              <a:buChar char="•"/>
            </a:pPr>
            <a:r>
              <a:rPr lang="en-US" sz="1723"/>
              <a:t>Short description</a:t>
            </a:r>
          </a:p>
        </p:txBody>
      </p:sp>
      <p:sp>
        <p:nvSpPr>
          <p:cNvPr id="18" name="Content Placeholder 9">
            <a:extLst>
              <a:ext uri="{FF2B5EF4-FFF2-40B4-BE49-F238E27FC236}">
                <a16:creationId xmlns:a16="http://schemas.microsoft.com/office/drawing/2014/main" id="{E92A7D2E-BFB1-4C6C-9049-9B6931D5ED9D}"/>
              </a:ext>
            </a:extLst>
          </p:cNvPr>
          <p:cNvSpPr>
            <a:spLocks noGrp="1"/>
          </p:cNvSpPr>
          <p:nvPr>
            <p:ph sz="quarter" idx="26" hasCustomPrompt="1"/>
          </p:nvPr>
        </p:nvSpPr>
        <p:spPr>
          <a:xfrm>
            <a:off x="6302746" y="3125447"/>
            <a:ext cx="2644726" cy="1431925"/>
          </a:xfrm>
          <a:prstGeom prst="rect">
            <a:avLst/>
          </a:prstGeom>
        </p:spPr>
        <p:txBody>
          <a:bodyPr/>
          <a:lstStyle>
            <a:lvl1pPr marL="0" indent="0">
              <a:buNone/>
              <a:defRPr sz="1477">
                <a:latin typeface="Ubuntu" panose="020B0504030602030204" pitchFamily="34" charset="0"/>
                <a:cs typeface="Calibri Light" panose="020F0302020204030204" pitchFamily="34" charset="0"/>
              </a:defRPr>
            </a:lvl1pPr>
            <a:lvl5pPr>
              <a:defRPr/>
            </a:lvl5pPr>
          </a:lstStyle>
          <a:p>
            <a:pPr lvl="0"/>
            <a:r>
              <a:rPr lang="en-US"/>
              <a:t>Graphics</a:t>
            </a:r>
          </a:p>
          <a:p>
            <a:pPr lvl="4"/>
            <a:endParaRPr lang="en-US"/>
          </a:p>
        </p:txBody>
      </p:sp>
      <p:sp>
        <p:nvSpPr>
          <p:cNvPr id="19" name="Text Placeholder 2">
            <a:extLst>
              <a:ext uri="{FF2B5EF4-FFF2-40B4-BE49-F238E27FC236}">
                <a16:creationId xmlns:a16="http://schemas.microsoft.com/office/drawing/2014/main" id="{85197877-0871-4E5D-81A1-94C33C44EBD3}"/>
              </a:ext>
            </a:extLst>
          </p:cNvPr>
          <p:cNvSpPr>
            <a:spLocks noGrp="1"/>
          </p:cNvSpPr>
          <p:nvPr>
            <p:ph type="body" sz="quarter" idx="27" hasCustomPrompt="1"/>
          </p:nvPr>
        </p:nvSpPr>
        <p:spPr>
          <a:xfrm>
            <a:off x="9072263" y="4555820"/>
            <a:ext cx="2646162" cy="357470"/>
          </a:xfrm>
          <a:prstGeom prst="rect">
            <a:avLst/>
          </a:prstGeom>
        </p:spPr>
        <p:txBody>
          <a:bodyPr wrap="square" anchor="t" anchorCtr="0">
            <a:spAutoFit/>
          </a:bodyPr>
          <a:lstStyle>
            <a:lvl1pPr marL="351701" indent="-351701">
              <a:lnSpc>
                <a:spcPct val="100000"/>
              </a:lnSpc>
              <a:spcBef>
                <a:spcPts val="0"/>
              </a:spcBef>
              <a:buFont typeface="Arial" panose="020B0604020202020204" pitchFamily="34" charset="0"/>
              <a:buChar char="•"/>
              <a:defRPr sz="1477">
                <a:latin typeface="Ubuntu" panose="020B0504030602030204" pitchFamily="34" charset="0"/>
                <a:ea typeface="Verdana" panose="020B0604030504040204" pitchFamily="34" charset="0"/>
                <a:cs typeface="Calibri Light" panose="020F0302020204030204" pitchFamily="34" charset="0"/>
              </a:defRPr>
            </a:lvl1pPr>
            <a:lvl2pPr marL="893965" indent="-412093">
              <a:buFont typeface="Arial" panose="020B0604020202020204" pitchFamily="34" charset="0"/>
              <a:buChar char="•"/>
              <a:defRPr sz="1683">
                <a:latin typeface="Verdana" panose="020B0604030504040204" pitchFamily="34" charset="0"/>
                <a:ea typeface="Verdana" panose="020B0604030504040204" pitchFamily="34" charset="0"/>
                <a:cs typeface="Verdana" panose="020B0604030504040204" pitchFamily="34" charset="0"/>
              </a:defRPr>
            </a:lvl2pPr>
            <a:lvl3pPr marL="1307155" indent="-343409">
              <a:buFont typeface="Arial" panose="020B0604020202020204" pitchFamily="34" charset="0"/>
              <a:buChar char="•"/>
              <a:defRPr sz="1322">
                <a:latin typeface="Verdana" panose="020B0604030504040204" pitchFamily="34" charset="0"/>
                <a:ea typeface="Verdana" panose="020B0604030504040204" pitchFamily="34" charset="0"/>
                <a:cs typeface="Verdana" panose="020B0604030504040204" pitchFamily="34" charset="0"/>
              </a:defRPr>
            </a:lvl3pPr>
            <a:lvl4pPr marL="1789026"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4pPr>
            <a:lvl5pPr marL="2270899"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5pPr>
          </a:lstStyle>
          <a:p>
            <a:pPr marL="285750" indent="-285750">
              <a:buFont typeface="Arial" panose="020B0604020202020204" pitchFamily="34" charset="0"/>
              <a:buChar char="•"/>
            </a:pPr>
            <a:r>
              <a:rPr lang="en-US" sz="1723"/>
              <a:t>Short description</a:t>
            </a:r>
          </a:p>
        </p:txBody>
      </p:sp>
      <p:sp>
        <p:nvSpPr>
          <p:cNvPr id="20" name="Content Placeholder 9">
            <a:extLst>
              <a:ext uri="{FF2B5EF4-FFF2-40B4-BE49-F238E27FC236}">
                <a16:creationId xmlns:a16="http://schemas.microsoft.com/office/drawing/2014/main" id="{10AAFD2F-5C91-48D5-BA50-421FBDBED361}"/>
              </a:ext>
            </a:extLst>
          </p:cNvPr>
          <p:cNvSpPr>
            <a:spLocks noGrp="1"/>
          </p:cNvSpPr>
          <p:nvPr>
            <p:ph sz="quarter" idx="28" hasCustomPrompt="1"/>
          </p:nvPr>
        </p:nvSpPr>
        <p:spPr>
          <a:xfrm>
            <a:off x="9072260" y="3124672"/>
            <a:ext cx="2644726" cy="1431925"/>
          </a:xfrm>
          <a:prstGeom prst="rect">
            <a:avLst/>
          </a:prstGeom>
        </p:spPr>
        <p:txBody>
          <a:bodyPr/>
          <a:lstStyle>
            <a:lvl1pPr marL="0" indent="0">
              <a:buNone/>
              <a:defRPr sz="1477">
                <a:latin typeface="Ubuntu" panose="020B0504030602030204" pitchFamily="34" charset="0"/>
                <a:cs typeface="Calibri Light" panose="020F0302020204030204" pitchFamily="34" charset="0"/>
              </a:defRPr>
            </a:lvl1pPr>
            <a:lvl5pPr>
              <a:defRPr/>
            </a:lvl5pPr>
          </a:lstStyle>
          <a:p>
            <a:pPr lvl="0"/>
            <a:r>
              <a:rPr lang="en-US"/>
              <a:t>Graphics</a:t>
            </a:r>
          </a:p>
          <a:p>
            <a:pPr lvl="4"/>
            <a:endParaRPr lang="en-US"/>
          </a:p>
        </p:txBody>
      </p:sp>
    </p:spTree>
    <p:extLst>
      <p:ext uri="{BB962C8B-B14F-4D97-AF65-F5344CB8AC3E}">
        <p14:creationId xmlns:p14="http://schemas.microsoft.com/office/powerpoint/2010/main" val="1134082144"/>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Front page with photo and client logo">
    <p:bg>
      <p:bgPr>
        <a:blipFill dpi="0" rotWithShape="1">
          <a:blip r:embed="rId2">
            <a:lum/>
          </a:blip>
          <a:srcRect/>
          <a:tile tx="-171450" ty="-95250" sx="100000" sy="100000" flip="none" algn="tl"/>
        </a:blipFill>
        <a:effectLst/>
      </p:bgPr>
    </p:bg>
    <p:spTree>
      <p:nvGrpSpPr>
        <p:cNvPr id="1" name=""/>
        <p:cNvGrpSpPr/>
        <p:nvPr/>
      </p:nvGrpSpPr>
      <p:grpSpPr>
        <a:xfrm>
          <a:off x="0" y="0"/>
          <a:ext cx="0" cy="0"/>
          <a:chOff x="0" y="0"/>
          <a:chExt cx="0" cy="0"/>
        </a:xfrm>
      </p:grpSpPr>
      <p:sp>
        <p:nvSpPr>
          <p:cNvPr id="5" name="cover_dark_blue">
            <a:extLst>
              <a:ext uri="{FF2B5EF4-FFF2-40B4-BE49-F238E27FC236}">
                <a16:creationId xmlns:a16="http://schemas.microsoft.com/office/drawing/2014/main" id="{5CAC3196-2DE2-CBFC-1E0C-68E622C9EFE1}"/>
              </a:ext>
            </a:extLst>
          </p:cNvPr>
          <p:cNvSpPr>
            <a:spLocks/>
          </p:cNvSpPr>
          <p:nvPr/>
        </p:nvSpPr>
        <p:spPr>
          <a:xfrm>
            <a:off x="0" y="0"/>
            <a:ext cx="12192000" cy="6858000"/>
          </a:xfrm>
          <a:prstGeom prst="rect">
            <a:avLst/>
          </a:prstGeom>
          <a:gradFill flip="none" rotWithShape="1">
            <a:gsLst>
              <a:gs pos="62000">
                <a:srgbClr val="1A2C58">
                  <a:alpha val="64791"/>
                </a:srgbClr>
              </a:gs>
              <a:gs pos="0">
                <a:srgbClr val="03132B">
                  <a:alpha val="65343"/>
                </a:srgbClr>
              </a:gs>
            </a:gsLst>
            <a:lin ang="13500000" scaled="1"/>
            <a:tileRect/>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accent6"/>
              </a:solidFill>
              <a:latin typeface="Ubuntu" panose="020B0504030602030204" pitchFamily="34" charset="0"/>
            </a:endParaRPr>
          </a:p>
        </p:txBody>
      </p:sp>
      <p:pic>
        <p:nvPicPr>
          <p:cNvPr id="7" name="Graphic 6">
            <a:extLst>
              <a:ext uri="{FF2B5EF4-FFF2-40B4-BE49-F238E27FC236}">
                <a16:creationId xmlns:a16="http://schemas.microsoft.com/office/drawing/2014/main" id="{83AFF963-6B2E-E1B6-F667-8871A1807BB0}"/>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671" r="8674" b="46902"/>
          <a:stretch/>
        </p:blipFill>
        <p:spPr>
          <a:xfrm>
            <a:off x="0" y="5257800"/>
            <a:ext cx="12192001" cy="1600200"/>
          </a:xfrm>
          <a:prstGeom prst="rect">
            <a:avLst/>
          </a:prstGeom>
        </p:spPr>
      </p:pic>
      <p:pic>
        <p:nvPicPr>
          <p:cNvPr id="8" name="Graphic 7">
            <a:extLst>
              <a:ext uri="{FF2B5EF4-FFF2-40B4-BE49-F238E27FC236}">
                <a16:creationId xmlns:a16="http://schemas.microsoft.com/office/drawing/2014/main" id="{0476D5A7-FF34-3572-B202-794F1F494E5C}"/>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671" r="8674" b="46902"/>
          <a:stretch/>
        </p:blipFill>
        <p:spPr>
          <a:xfrm>
            <a:off x="0" y="5257800"/>
            <a:ext cx="12192001" cy="1600200"/>
          </a:xfrm>
          <a:prstGeom prst="rect">
            <a:avLst/>
          </a:prstGeom>
        </p:spPr>
      </p:pic>
      <p:sp>
        <p:nvSpPr>
          <p:cNvPr id="6" name="cover_green" hidden="1">
            <a:extLst>
              <a:ext uri="{FF2B5EF4-FFF2-40B4-BE49-F238E27FC236}">
                <a16:creationId xmlns:a16="http://schemas.microsoft.com/office/drawing/2014/main" id="{1BCCE156-B7D0-5354-8274-A6986F2F2088}"/>
              </a:ext>
            </a:extLst>
          </p:cNvPr>
          <p:cNvSpPr/>
          <p:nvPr/>
        </p:nvSpPr>
        <p:spPr>
          <a:xfrm>
            <a:off x="0" y="0"/>
            <a:ext cx="12192000" cy="6858000"/>
          </a:xfrm>
          <a:prstGeom prst="rect">
            <a:avLst/>
          </a:prstGeom>
          <a:gradFill flip="none" rotWithShape="1">
            <a:gsLst>
              <a:gs pos="21000">
                <a:srgbClr val="748367">
                  <a:alpha val="64776"/>
                </a:srgbClr>
              </a:gs>
              <a:gs pos="0">
                <a:srgbClr val="DCE692">
                  <a:alpha val="64761"/>
                </a:srgbClr>
              </a:gs>
              <a:gs pos="55000">
                <a:srgbClr val="041938">
                  <a:alpha val="65000"/>
                </a:srgbClr>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12" name="cover_orange" hidden="1">
            <a:extLst>
              <a:ext uri="{FF2B5EF4-FFF2-40B4-BE49-F238E27FC236}">
                <a16:creationId xmlns:a16="http://schemas.microsoft.com/office/drawing/2014/main" id="{F4A2787A-1944-8C55-C7E1-2EF1465C22BC}"/>
              </a:ext>
            </a:extLst>
          </p:cNvPr>
          <p:cNvSpPr/>
          <p:nvPr/>
        </p:nvSpPr>
        <p:spPr>
          <a:xfrm>
            <a:off x="0" y="0"/>
            <a:ext cx="12192000" cy="6858002"/>
          </a:xfrm>
          <a:prstGeom prst="rect">
            <a:avLst/>
          </a:prstGeom>
          <a:gradFill flip="none" rotWithShape="1">
            <a:gsLst>
              <a:gs pos="0">
                <a:srgbClr val="E58843">
                  <a:alpha val="64912"/>
                </a:srgbClr>
              </a:gs>
              <a:gs pos="21000">
                <a:srgbClr val="93603F">
                  <a:alpha val="65024"/>
                </a:srgbClr>
              </a:gs>
              <a:gs pos="54000">
                <a:srgbClr val="041938">
                  <a:alpha val="65143"/>
                </a:srgbClr>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2" name="cover_blue" hidden="1">
            <a:extLst>
              <a:ext uri="{FF2B5EF4-FFF2-40B4-BE49-F238E27FC236}">
                <a16:creationId xmlns:a16="http://schemas.microsoft.com/office/drawing/2014/main" id="{6316E8FE-ACC3-430B-28EC-9174B9907563}"/>
              </a:ext>
            </a:extLst>
          </p:cNvPr>
          <p:cNvSpPr/>
          <p:nvPr/>
        </p:nvSpPr>
        <p:spPr>
          <a:xfrm>
            <a:off x="0" y="0"/>
            <a:ext cx="12211832" cy="6858000"/>
          </a:xfrm>
          <a:prstGeom prst="rect">
            <a:avLst/>
          </a:prstGeom>
          <a:gradFill flip="none" rotWithShape="1">
            <a:gsLst>
              <a:gs pos="21000">
                <a:srgbClr val="497E9E">
                  <a:alpha val="64733"/>
                </a:srgbClr>
              </a:gs>
              <a:gs pos="0">
                <a:srgbClr val="67AACB">
                  <a:alpha val="64575"/>
                </a:srgbClr>
              </a:gs>
              <a:gs pos="56000">
                <a:srgbClr val="041938">
                  <a:alpha val="65000"/>
                </a:srgbClr>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25" name="Title 1">
            <a:extLst>
              <a:ext uri="{FF2B5EF4-FFF2-40B4-BE49-F238E27FC236}">
                <a16:creationId xmlns:a16="http://schemas.microsoft.com/office/drawing/2014/main" id="{896689C1-E7A9-4DFC-A32E-FE74168165BB}"/>
              </a:ext>
            </a:extLst>
          </p:cNvPr>
          <p:cNvSpPr>
            <a:spLocks noGrp="1"/>
          </p:cNvSpPr>
          <p:nvPr>
            <p:ph type="ctrTitle" hasCustomPrompt="1"/>
          </p:nvPr>
        </p:nvSpPr>
        <p:spPr>
          <a:xfrm>
            <a:off x="552244" y="1093632"/>
            <a:ext cx="11046276" cy="2335373"/>
          </a:xfrm>
          <a:prstGeom prst="rect">
            <a:avLst/>
          </a:prstGeom>
        </p:spPr>
        <p:txBody>
          <a:bodyPr anchor="b">
            <a:normAutofit/>
          </a:bodyPr>
          <a:lstStyle>
            <a:lvl1pPr algn="l">
              <a:defRPr sz="6000">
                <a:solidFill>
                  <a:schemeClr val="bg1"/>
                </a:solidFill>
                <a:latin typeface="Ubuntu" panose="020B0504030602030204" pitchFamily="34" charset="0"/>
                <a:cs typeface="Calibri Light" panose="020F0302020204030204" pitchFamily="34" charset="0"/>
              </a:defRPr>
            </a:lvl1pPr>
          </a:lstStyle>
          <a:p>
            <a:r>
              <a:rPr lang="en-US"/>
              <a:t>Click to Edit Report Title</a:t>
            </a:r>
          </a:p>
        </p:txBody>
      </p:sp>
      <p:sp>
        <p:nvSpPr>
          <p:cNvPr id="26" name="Subtitle 2">
            <a:extLst>
              <a:ext uri="{FF2B5EF4-FFF2-40B4-BE49-F238E27FC236}">
                <a16:creationId xmlns:a16="http://schemas.microsoft.com/office/drawing/2014/main" id="{F03857F0-C570-4C45-9543-8E15849E8BE4}"/>
              </a:ext>
            </a:extLst>
          </p:cNvPr>
          <p:cNvSpPr>
            <a:spLocks noGrp="1"/>
          </p:cNvSpPr>
          <p:nvPr>
            <p:ph type="subTitle" idx="1" hasCustomPrompt="1"/>
          </p:nvPr>
        </p:nvSpPr>
        <p:spPr>
          <a:xfrm>
            <a:off x="552244" y="3359049"/>
            <a:ext cx="11046276" cy="350162"/>
          </a:xfrm>
          <a:prstGeom prst="rect">
            <a:avLst/>
          </a:prstGeom>
        </p:spPr>
        <p:txBody>
          <a:bodyPr>
            <a:noAutofit/>
          </a:bodyPr>
          <a:lstStyle>
            <a:lvl1pPr marL="0" indent="0" algn="l">
              <a:buNone/>
              <a:defRPr sz="3000" b="0">
                <a:solidFill>
                  <a:srgbClr val="DC8E63"/>
                </a:solidFill>
                <a:latin typeface="Ubuntu" panose="020B0504030602030204" pitchFamily="34" charset="0"/>
                <a:cs typeface="Calibri Light" panose="020F0302020204030204" pitchFamily="34" charset="0"/>
              </a:defRPr>
            </a:lvl1pPr>
            <a:lvl2pPr marL="422051" indent="0" algn="ctr">
              <a:buNone/>
              <a:defRPr sz="1846"/>
            </a:lvl2pPr>
            <a:lvl3pPr marL="844104" indent="0" algn="ctr">
              <a:buNone/>
              <a:defRPr sz="1662"/>
            </a:lvl3pPr>
            <a:lvl4pPr marL="1266156" indent="0" algn="ctr">
              <a:buNone/>
              <a:defRPr sz="1477"/>
            </a:lvl4pPr>
            <a:lvl5pPr marL="1688207" indent="0" algn="ctr">
              <a:buNone/>
              <a:defRPr sz="1477"/>
            </a:lvl5pPr>
            <a:lvl6pPr marL="2110260" indent="0" algn="ctr">
              <a:buNone/>
              <a:defRPr sz="1477"/>
            </a:lvl6pPr>
            <a:lvl7pPr marL="2532312" indent="0" algn="ctr">
              <a:buNone/>
              <a:defRPr sz="1477"/>
            </a:lvl7pPr>
            <a:lvl8pPr marL="2954363" indent="0" algn="ctr">
              <a:buNone/>
              <a:defRPr sz="1477"/>
            </a:lvl8pPr>
            <a:lvl9pPr marL="3376415" indent="0" algn="ctr">
              <a:buNone/>
              <a:defRPr sz="1477"/>
            </a:lvl9pPr>
          </a:lstStyle>
          <a:p>
            <a:r>
              <a:rPr lang="en-US"/>
              <a:t>Click to edit Edition</a:t>
            </a:r>
          </a:p>
        </p:txBody>
      </p:sp>
      <p:sp>
        <p:nvSpPr>
          <p:cNvPr id="27" name="Text Placeholder 11">
            <a:extLst>
              <a:ext uri="{FF2B5EF4-FFF2-40B4-BE49-F238E27FC236}">
                <a16:creationId xmlns:a16="http://schemas.microsoft.com/office/drawing/2014/main" id="{16EA4C8E-A0B0-4C66-A696-815EF3CFC32C}"/>
              </a:ext>
            </a:extLst>
          </p:cNvPr>
          <p:cNvSpPr>
            <a:spLocks noGrp="1"/>
          </p:cNvSpPr>
          <p:nvPr>
            <p:ph type="body" sz="quarter" idx="10" hasCustomPrompt="1"/>
          </p:nvPr>
        </p:nvSpPr>
        <p:spPr>
          <a:xfrm>
            <a:off x="598358" y="5764373"/>
            <a:ext cx="6502400" cy="252344"/>
          </a:xfrm>
          <a:prstGeom prst="rect">
            <a:avLst/>
          </a:prstGeom>
        </p:spPr>
        <p:txBody>
          <a:bodyPr>
            <a:noAutofit/>
          </a:bodyPr>
          <a:lstStyle>
            <a:lvl1pPr marL="0" indent="0">
              <a:buNone/>
              <a:defRPr sz="1800" b="1">
                <a:solidFill>
                  <a:srgbClr val="DC8E63"/>
                </a:solidFill>
                <a:latin typeface="Ubuntu" panose="020B0504030602030204" pitchFamily="34" charset="0"/>
                <a:cs typeface="Calibri" panose="020F0502020204030204" pitchFamily="34" charset="0"/>
              </a:defRPr>
            </a:lvl1pPr>
          </a:lstStyle>
          <a:p>
            <a:pPr lvl="0"/>
            <a:r>
              <a:rPr lang="en-US"/>
              <a:t>Click to Edit Product Group</a:t>
            </a:r>
          </a:p>
        </p:txBody>
      </p:sp>
      <p:sp>
        <p:nvSpPr>
          <p:cNvPr id="28" name="Text Placeholder 11">
            <a:extLst>
              <a:ext uri="{FF2B5EF4-FFF2-40B4-BE49-F238E27FC236}">
                <a16:creationId xmlns:a16="http://schemas.microsoft.com/office/drawing/2014/main" id="{3014D09D-A936-4A9F-9A8E-397483710552}"/>
              </a:ext>
            </a:extLst>
          </p:cNvPr>
          <p:cNvSpPr>
            <a:spLocks noGrp="1"/>
          </p:cNvSpPr>
          <p:nvPr>
            <p:ph type="body" sz="quarter" idx="12" hasCustomPrompt="1"/>
          </p:nvPr>
        </p:nvSpPr>
        <p:spPr>
          <a:xfrm>
            <a:off x="598358" y="6016717"/>
            <a:ext cx="6502400" cy="349250"/>
          </a:xfrm>
          <a:prstGeom prst="rect">
            <a:avLst/>
          </a:prstGeom>
        </p:spPr>
        <p:txBody>
          <a:bodyPr>
            <a:normAutofit/>
          </a:bodyPr>
          <a:lstStyle>
            <a:lvl1pPr marL="0" indent="0">
              <a:buNone/>
              <a:defRPr sz="1400" b="0">
                <a:solidFill>
                  <a:schemeClr val="bg1"/>
                </a:solidFill>
                <a:latin typeface="Ubuntu" panose="020B0504030602030204" pitchFamily="34" charset="0"/>
                <a:cs typeface="Calibri" panose="020F0502020204030204" pitchFamily="34" charset="0"/>
              </a:defRPr>
            </a:lvl1pPr>
          </a:lstStyle>
          <a:p>
            <a:pPr lvl="0"/>
            <a:r>
              <a:rPr lang="en-US"/>
              <a:t>Click to Edit Date</a:t>
            </a:r>
          </a:p>
        </p:txBody>
      </p:sp>
      <p:sp>
        <p:nvSpPr>
          <p:cNvPr id="29" name="Text Placeholder 4">
            <a:extLst>
              <a:ext uri="{FF2B5EF4-FFF2-40B4-BE49-F238E27FC236}">
                <a16:creationId xmlns:a16="http://schemas.microsoft.com/office/drawing/2014/main" id="{00FDF6E3-F93B-4EF3-971E-FF35FD95E179}"/>
              </a:ext>
            </a:extLst>
          </p:cNvPr>
          <p:cNvSpPr>
            <a:spLocks noGrp="1"/>
          </p:cNvSpPr>
          <p:nvPr>
            <p:ph type="body" sz="quarter" idx="13" hasCustomPrompt="1"/>
          </p:nvPr>
        </p:nvSpPr>
        <p:spPr>
          <a:xfrm>
            <a:off x="550459" y="4286095"/>
            <a:ext cx="11048059" cy="674687"/>
          </a:xfrm>
          <a:prstGeom prst="rect">
            <a:avLst/>
          </a:prstGeom>
        </p:spPr>
        <p:txBody>
          <a:bodyPr/>
          <a:lstStyle>
            <a:lvl1pPr marL="0" indent="0">
              <a:buNone/>
              <a:defRPr sz="2000">
                <a:solidFill>
                  <a:schemeClr val="bg1"/>
                </a:solidFill>
                <a:latin typeface="Ubuntu" panose="020B0504030602030204" pitchFamily="34" charset="0"/>
                <a:cs typeface="Calibri" panose="020F0502020204030204" pitchFamily="34" charset="0"/>
              </a:defRPr>
            </a:lvl1pPr>
          </a:lstStyle>
          <a:p>
            <a:pPr lvl="0"/>
            <a:r>
              <a:rPr lang="en-US"/>
              <a:t>Click to edit Sub-Head Text</a:t>
            </a:r>
          </a:p>
        </p:txBody>
      </p:sp>
      <p:pic>
        <p:nvPicPr>
          <p:cNvPr id="17" name="Graphic 16">
            <a:extLst>
              <a:ext uri="{FF2B5EF4-FFF2-40B4-BE49-F238E27FC236}">
                <a16:creationId xmlns:a16="http://schemas.microsoft.com/office/drawing/2014/main" id="{489DC885-976F-9DAE-D2DF-2368CFA7DA5F}"/>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b="9253"/>
          <a:stretch/>
        </p:blipFill>
        <p:spPr>
          <a:xfrm>
            <a:off x="7828573" y="2902269"/>
            <a:ext cx="4310244" cy="3955731"/>
          </a:xfrm>
          <a:prstGeom prst="rect">
            <a:avLst/>
          </a:prstGeom>
        </p:spPr>
      </p:pic>
      <p:sp>
        <p:nvSpPr>
          <p:cNvPr id="16" name="Picture Placeholder 4">
            <a:extLst>
              <a:ext uri="{FF2B5EF4-FFF2-40B4-BE49-F238E27FC236}">
                <a16:creationId xmlns:a16="http://schemas.microsoft.com/office/drawing/2014/main" id="{4C02B1CB-3891-589C-8ECE-EE3C49CD3DFF}"/>
              </a:ext>
            </a:extLst>
          </p:cNvPr>
          <p:cNvSpPr>
            <a:spLocks noGrp="1"/>
          </p:cNvSpPr>
          <p:nvPr>
            <p:ph type="pic" sz="quarter" idx="14" hasCustomPrompt="1"/>
          </p:nvPr>
        </p:nvSpPr>
        <p:spPr>
          <a:xfrm>
            <a:off x="9666941" y="4689351"/>
            <a:ext cx="1080000" cy="1080000"/>
          </a:xfrm>
          <a:prstGeom prst="rect">
            <a:avLst/>
          </a:prstGeom>
        </p:spPr>
        <p:txBody>
          <a:bodyPr>
            <a:normAutofit/>
          </a:bodyPr>
          <a:lstStyle>
            <a:lvl1pPr>
              <a:defRPr sz="1500"/>
            </a:lvl1pPr>
          </a:lstStyle>
          <a:p>
            <a:r>
              <a:rPr lang="en-US"/>
              <a:t>Placeholder for client logo</a:t>
            </a:r>
            <a:endParaRPr lang="en-GB"/>
          </a:p>
        </p:txBody>
      </p:sp>
      <p:pic>
        <p:nvPicPr>
          <p:cNvPr id="9" name="Graphic 8">
            <a:extLst>
              <a:ext uri="{FF2B5EF4-FFF2-40B4-BE49-F238E27FC236}">
                <a16:creationId xmlns:a16="http://schemas.microsoft.com/office/drawing/2014/main" id="{7D70E505-5653-2E5F-13CB-04FAFCEAA3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60219" y="267272"/>
            <a:ext cx="2657064" cy="667944"/>
          </a:xfrm>
          <a:prstGeom prst="rect">
            <a:avLst/>
          </a:prstGeom>
        </p:spPr>
      </p:pic>
    </p:spTree>
    <p:extLst>
      <p:ext uri="{BB962C8B-B14F-4D97-AF65-F5344CB8AC3E}">
        <p14:creationId xmlns:p14="http://schemas.microsoft.com/office/powerpoint/2010/main" val="4256759575"/>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Quals 2">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617DB6D-347A-430D-A893-009731D22A71}"/>
              </a:ext>
            </a:extLst>
          </p:cNvPr>
          <p:cNvSpPr txBox="1"/>
          <p:nvPr/>
        </p:nvSpPr>
        <p:spPr>
          <a:xfrm>
            <a:off x="466301" y="1307769"/>
            <a:ext cx="11254154" cy="369332"/>
          </a:xfrm>
          <a:prstGeom prst="rect">
            <a:avLst/>
          </a:prstGeom>
          <a:noFill/>
        </p:spPr>
        <p:txBody>
          <a:bodyPr wrap="square" rtlCol="0">
            <a:spAutoFit/>
          </a:bodyPr>
          <a:lstStyle/>
          <a:p>
            <a:pPr>
              <a:spcAft>
                <a:spcPts val="738"/>
              </a:spcAft>
            </a:pPr>
            <a:r>
              <a:rPr lang="en-US" sz="1800" b="1">
                <a:latin typeface="Ubuntu" panose="020B0504030602030204" pitchFamily="34" charset="0"/>
                <a:cs typeface="Calibri Light" panose="020F0302020204030204" pitchFamily="34" charset="0"/>
              </a:rPr>
              <a:t>Situation</a:t>
            </a:r>
          </a:p>
        </p:txBody>
      </p:sp>
      <p:cxnSp>
        <p:nvCxnSpPr>
          <p:cNvPr id="8" name="Straight Connector 7">
            <a:extLst>
              <a:ext uri="{FF2B5EF4-FFF2-40B4-BE49-F238E27FC236}">
                <a16:creationId xmlns:a16="http://schemas.microsoft.com/office/drawing/2014/main" id="{DDC018EE-C403-4155-8A31-5F4A1DF0E660}"/>
              </a:ext>
            </a:extLst>
          </p:cNvPr>
          <p:cNvCxnSpPr>
            <a:cxnSpLocks/>
          </p:cNvCxnSpPr>
          <p:nvPr/>
        </p:nvCxnSpPr>
        <p:spPr bwMode="auto">
          <a:xfrm>
            <a:off x="468926" y="1585543"/>
            <a:ext cx="11263920" cy="0"/>
          </a:xfrm>
          <a:prstGeom prst="line">
            <a:avLst/>
          </a:prstGeom>
          <a:solidFill>
            <a:srgbClr val="FF7C8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cxnSp>
      <p:sp>
        <p:nvSpPr>
          <p:cNvPr id="9" name="Title 1">
            <a:extLst>
              <a:ext uri="{FF2B5EF4-FFF2-40B4-BE49-F238E27FC236}">
                <a16:creationId xmlns:a16="http://schemas.microsoft.com/office/drawing/2014/main" id="{21EFA5FE-67CD-4A22-A89F-59F0F2FA8DF8}"/>
              </a:ext>
            </a:extLst>
          </p:cNvPr>
          <p:cNvSpPr>
            <a:spLocks noGrp="1"/>
          </p:cNvSpPr>
          <p:nvPr>
            <p:ph type="title" hasCustomPrompt="1"/>
          </p:nvPr>
        </p:nvSpPr>
        <p:spPr>
          <a:xfrm>
            <a:off x="468923" y="434643"/>
            <a:ext cx="11254154" cy="772119"/>
          </a:xfrm>
          <a:prstGeom prst="rect">
            <a:avLst/>
          </a:prstGeom>
        </p:spPr>
        <p:txBody>
          <a:bodyPr vert="horz" lIns="91440" tIns="45720" rIns="91440" bIns="45720" rtlCol="0" anchor="ctr">
            <a:noAutofit/>
          </a:bodyPr>
          <a:lstStyle>
            <a:lvl1pPr>
              <a:defRPr lang="en-US" sz="2200" dirty="0">
                <a:latin typeface="Ubuntu" panose="020B0504030602030204" pitchFamily="34" charset="0"/>
                <a:cs typeface="Calibri" panose="020F0502020204030204" pitchFamily="34" charset="0"/>
              </a:defRPr>
            </a:lvl1pPr>
          </a:lstStyle>
          <a:p>
            <a:pPr lvl="0"/>
            <a:r>
              <a:rPr lang="en-US">
                <a:solidFill>
                  <a:schemeClr val="tx1">
                    <a:lumMod val="50000"/>
                    <a:lumOff val="50000"/>
                  </a:schemeClr>
                </a:solidFill>
              </a:rPr>
              <a:t>Project Category</a:t>
            </a:r>
            <a:br>
              <a:rPr lang="en-US" b="1"/>
            </a:br>
            <a:r>
              <a:rPr lang="en-US"/>
              <a:t>&lt;Deliverable&gt; driven by </a:t>
            </a:r>
            <a:br>
              <a:rPr lang="en-US"/>
            </a:br>
            <a:r>
              <a:rPr lang="en-US"/>
              <a:t>&lt;Approach&gt;</a:t>
            </a:r>
          </a:p>
        </p:txBody>
      </p:sp>
      <p:cxnSp>
        <p:nvCxnSpPr>
          <p:cNvPr id="21" name="Straight Connector 20">
            <a:extLst>
              <a:ext uri="{FF2B5EF4-FFF2-40B4-BE49-F238E27FC236}">
                <a16:creationId xmlns:a16="http://schemas.microsoft.com/office/drawing/2014/main" id="{D7A341D7-44D9-4DB0-AD39-5798D17D1D0B}"/>
              </a:ext>
            </a:extLst>
          </p:cNvPr>
          <p:cNvCxnSpPr>
            <a:cxnSpLocks/>
          </p:cNvCxnSpPr>
          <p:nvPr/>
        </p:nvCxnSpPr>
        <p:spPr bwMode="auto">
          <a:xfrm>
            <a:off x="6281257" y="2730260"/>
            <a:ext cx="5436304" cy="0"/>
          </a:xfrm>
          <a:prstGeom prst="line">
            <a:avLst/>
          </a:prstGeom>
          <a:solidFill>
            <a:srgbClr val="FF7C8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cxnSp>
      <p:cxnSp>
        <p:nvCxnSpPr>
          <p:cNvPr id="22" name="Straight Connector 21">
            <a:extLst>
              <a:ext uri="{FF2B5EF4-FFF2-40B4-BE49-F238E27FC236}">
                <a16:creationId xmlns:a16="http://schemas.microsoft.com/office/drawing/2014/main" id="{30DA1E21-D843-4039-AED2-3BEB2BBE26A9}"/>
              </a:ext>
            </a:extLst>
          </p:cNvPr>
          <p:cNvCxnSpPr>
            <a:cxnSpLocks/>
          </p:cNvCxnSpPr>
          <p:nvPr/>
        </p:nvCxnSpPr>
        <p:spPr bwMode="auto">
          <a:xfrm>
            <a:off x="496507" y="2730260"/>
            <a:ext cx="5414240" cy="0"/>
          </a:xfrm>
          <a:prstGeom prst="line">
            <a:avLst/>
          </a:prstGeom>
          <a:solidFill>
            <a:srgbClr val="FF7C8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cxnSp>
      <p:sp>
        <p:nvSpPr>
          <p:cNvPr id="23" name="TextBox 22">
            <a:extLst>
              <a:ext uri="{FF2B5EF4-FFF2-40B4-BE49-F238E27FC236}">
                <a16:creationId xmlns:a16="http://schemas.microsoft.com/office/drawing/2014/main" id="{4F1CE87D-D765-4F05-9755-5D07F4AB82B0}"/>
              </a:ext>
            </a:extLst>
          </p:cNvPr>
          <p:cNvSpPr txBox="1"/>
          <p:nvPr/>
        </p:nvSpPr>
        <p:spPr>
          <a:xfrm>
            <a:off x="468923" y="2432356"/>
            <a:ext cx="5441824" cy="369332"/>
          </a:xfrm>
          <a:prstGeom prst="rect">
            <a:avLst/>
          </a:prstGeom>
          <a:noFill/>
        </p:spPr>
        <p:txBody>
          <a:bodyPr wrap="square" rtlCol="0">
            <a:spAutoFit/>
          </a:bodyPr>
          <a:lstStyle/>
          <a:p>
            <a:r>
              <a:rPr lang="en-US" sz="1800" b="1">
                <a:latin typeface="Ubuntu" panose="020B0504030602030204" pitchFamily="34" charset="0"/>
                <a:cs typeface="Calibri Light" panose="020F0302020204030204" pitchFamily="34" charset="0"/>
              </a:rPr>
              <a:t>Approach</a:t>
            </a:r>
          </a:p>
        </p:txBody>
      </p:sp>
      <p:sp>
        <p:nvSpPr>
          <p:cNvPr id="24" name="TextBox 23">
            <a:extLst>
              <a:ext uri="{FF2B5EF4-FFF2-40B4-BE49-F238E27FC236}">
                <a16:creationId xmlns:a16="http://schemas.microsoft.com/office/drawing/2014/main" id="{61F9A0D5-6846-48CE-ADD4-1B05997CCD09}"/>
              </a:ext>
            </a:extLst>
          </p:cNvPr>
          <p:cNvSpPr txBox="1"/>
          <p:nvPr/>
        </p:nvSpPr>
        <p:spPr>
          <a:xfrm>
            <a:off x="6281256" y="2432356"/>
            <a:ext cx="5435730" cy="369332"/>
          </a:xfrm>
          <a:prstGeom prst="rect">
            <a:avLst/>
          </a:prstGeom>
          <a:noFill/>
        </p:spPr>
        <p:txBody>
          <a:bodyPr wrap="square" rtlCol="0">
            <a:spAutoFit/>
          </a:bodyPr>
          <a:lstStyle/>
          <a:p>
            <a:r>
              <a:rPr lang="en-US" sz="1800" b="1">
                <a:latin typeface="Ubuntu" panose="020B0504030602030204" pitchFamily="34" charset="0"/>
                <a:cs typeface="Calibri Light" panose="020F0302020204030204" pitchFamily="34" charset="0"/>
              </a:rPr>
              <a:t>Impact &amp; Value Add</a:t>
            </a:r>
          </a:p>
        </p:txBody>
      </p:sp>
      <p:sp>
        <p:nvSpPr>
          <p:cNvPr id="25" name="Text Placeholder 2">
            <a:extLst>
              <a:ext uri="{FF2B5EF4-FFF2-40B4-BE49-F238E27FC236}">
                <a16:creationId xmlns:a16="http://schemas.microsoft.com/office/drawing/2014/main" id="{65BCD770-3E67-4EE2-9747-DC7BE4CCEB37}"/>
              </a:ext>
            </a:extLst>
          </p:cNvPr>
          <p:cNvSpPr>
            <a:spLocks noGrp="1"/>
          </p:cNvSpPr>
          <p:nvPr>
            <p:ph type="body" sz="quarter" idx="16" hasCustomPrompt="1"/>
          </p:nvPr>
        </p:nvSpPr>
        <p:spPr>
          <a:xfrm>
            <a:off x="496508" y="5538673"/>
            <a:ext cx="5414240" cy="357470"/>
          </a:xfrm>
          <a:prstGeom prst="rect">
            <a:avLst/>
          </a:prstGeom>
        </p:spPr>
        <p:txBody>
          <a:bodyPr anchor="t" anchorCtr="0">
            <a:spAutoFit/>
          </a:bodyPr>
          <a:lstStyle>
            <a:lvl1pPr marL="351701" indent="-351701">
              <a:lnSpc>
                <a:spcPct val="100000"/>
              </a:lnSpc>
              <a:spcBef>
                <a:spcPts val="0"/>
              </a:spcBef>
              <a:buFont typeface="Arial" panose="020B0604020202020204" pitchFamily="34" charset="0"/>
              <a:buChar char="•"/>
              <a:defRPr sz="1477">
                <a:latin typeface="Ubuntu" panose="020B0504030602030204" pitchFamily="34" charset="0"/>
                <a:ea typeface="Verdana" panose="020B0604030504040204" pitchFamily="34" charset="0"/>
                <a:cs typeface="Calibri Light" panose="020F0302020204030204" pitchFamily="34" charset="0"/>
              </a:defRPr>
            </a:lvl1pPr>
            <a:lvl2pPr marL="893965" indent="-412093">
              <a:buFont typeface="Arial" panose="020B0604020202020204" pitchFamily="34" charset="0"/>
              <a:buChar char="•"/>
              <a:defRPr sz="1683">
                <a:latin typeface="Verdana" panose="020B0604030504040204" pitchFamily="34" charset="0"/>
                <a:ea typeface="Verdana" panose="020B0604030504040204" pitchFamily="34" charset="0"/>
                <a:cs typeface="Verdana" panose="020B0604030504040204" pitchFamily="34" charset="0"/>
              </a:defRPr>
            </a:lvl2pPr>
            <a:lvl3pPr marL="1307155" indent="-343409">
              <a:buFont typeface="Arial" panose="020B0604020202020204" pitchFamily="34" charset="0"/>
              <a:buChar char="•"/>
              <a:defRPr sz="1322">
                <a:latin typeface="Verdana" panose="020B0604030504040204" pitchFamily="34" charset="0"/>
                <a:ea typeface="Verdana" panose="020B0604030504040204" pitchFamily="34" charset="0"/>
                <a:cs typeface="Verdana" panose="020B0604030504040204" pitchFamily="34" charset="0"/>
              </a:defRPr>
            </a:lvl3pPr>
            <a:lvl4pPr marL="1789026"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4pPr>
            <a:lvl5pPr marL="2270899"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5pPr>
          </a:lstStyle>
          <a:p>
            <a:pPr marL="285750" indent="-285750">
              <a:buFont typeface="Arial" panose="020B0604020202020204" pitchFamily="34" charset="0"/>
              <a:buChar char="•"/>
            </a:pPr>
            <a:r>
              <a:rPr lang="en-US" sz="1723"/>
              <a:t>&lt;Our methodology&gt;</a:t>
            </a:r>
          </a:p>
        </p:txBody>
      </p:sp>
      <p:sp>
        <p:nvSpPr>
          <p:cNvPr id="26" name="Text Placeholder 2">
            <a:extLst>
              <a:ext uri="{FF2B5EF4-FFF2-40B4-BE49-F238E27FC236}">
                <a16:creationId xmlns:a16="http://schemas.microsoft.com/office/drawing/2014/main" id="{532146B1-131F-490E-A711-0949C95E4C97}"/>
              </a:ext>
            </a:extLst>
          </p:cNvPr>
          <p:cNvSpPr>
            <a:spLocks noGrp="1"/>
          </p:cNvSpPr>
          <p:nvPr>
            <p:ph type="body" sz="quarter" idx="17" hasCustomPrompt="1"/>
          </p:nvPr>
        </p:nvSpPr>
        <p:spPr>
          <a:xfrm>
            <a:off x="6281252" y="5538673"/>
            <a:ext cx="5414240" cy="357470"/>
          </a:xfrm>
          <a:prstGeom prst="rect">
            <a:avLst/>
          </a:prstGeom>
        </p:spPr>
        <p:txBody>
          <a:bodyPr anchor="t" anchorCtr="0">
            <a:spAutoFit/>
          </a:bodyPr>
          <a:lstStyle>
            <a:lvl1pPr marL="351701" indent="-351701">
              <a:lnSpc>
                <a:spcPct val="100000"/>
              </a:lnSpc>
              <a:spcBef>
                <a:spcPts val="0"/>
              </a:spcBef>
              <a:buFont typeface="Arial" panose="020B0604020202020204" pitchFamily="34" charset="0"/>
              <a:buChar char="•"/>
              <a:defRPr sz="1477">
                <a:latin typeface="Ubuntu" panose="020B0504030602030204" pitchFamily="34" charset="0"/>
                <a:ea typeface="Verdana" panose="020B0604030504040204" pitchFamily="34" charset="0"/>
                <a:cs typeface="Calibri Light" panose="020F0302020204030204" pitchFamily="34" charset="0"/>
              </a:defRPr>
            </a:lvl1pPr>
            <a:lvl2pPr marL="893965" indent="-412093">
              <a:buFont typeface="Arial" panose="020B0604020202020204" pitchFamily="34" charset="0"/>
              <a:buChar char="•"/>
              <a:defRPr sz="1683">
                <a:latin typeface="Verdana" panose="020B0604030504040204" pitchFamily="34" charset="0"/>
                <a:ea typeface="Verdana" panose="020B0604030504040204" pitchFamily="34" charset="0"/>
                <a:cs typeface="Verdana" panose="020B0604030504040204" pitchFamily="34" charset="0"/>
              </a:defRPr>
            </a:lvl2pPr>
            <a:lvl3pPr marL="1307155" indent="-343409">
              <a:buFont typeface="Arial" panose="020B0604020202020204" pitchFamily="34" charset="0"/>
              <a:buChar char="•"/>
              <a:defRPr sz="1322">
                <a:latin typeface="Verdana" panose="020B0604030504040204" pitchFamily="34" charset="0"/>
                <a:ea typeface="Verdana" panose="020B0604030504040204" pitchFamily="34" charset="0"/>
                <a:cs typeface="Verdana" panose="020B0604030504040204" pitchFamily="34" charset="0"/>
              </a:defRPr>
            </a:lvl3pPr>
            <a:lvl4pPr marL="1789026"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4pPr>
            <a:lvl5pPr marL="2270899"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5pPr>
          </a:lstStyle>
          <a:p>
            <a:pPr marL="285750" indent="-285750">
              <a:buFont typeface="Arial" panose="020B0604020202020204" pitchFamily="34" charset="0"/>
              <a:buChar char="•"/>
            </a:pPr>
            <a:r>
              <a:rPr lang="en-US" sz="1723"/>
              <a:t>&lt;Impact quantified where possible&gt;</a:t>
            </a:r>
          </a:p>
        </p:txBody>
      </p:sp>
      <p:sp>
        <p:nvSpPr>
          <p:cNvPr id="27" name="Text Placeholder 2">
            <a:extLst>
              <a:ext uri="{FF2B5EF4-FFF2-40B4-BE49-F238E27FC236}">
                <a16:creationId xmlns:a16="http://schemas.microsoft.com/office/drawing/2014/main" id="{890ADDC1-67E2-495A-BBA7-47021B80C0DA}"/>
              </a:ext>
            </a:extLst>
          </p:cNvPr>
          <p:cNvSpPr>
            <a:spLocks noGrp="1"/>
          </p:cNvSpPr>
          <p:nvPr>
            <p:ph type="body" sz="quarter" idx="18" hasCustomPrompt="1"/>
          </p:nvPr>
        </p:nvSpPr>
        <p:spPr>
          <a:xfrm>
            <a:off x="1116113" y="5112205"/>
            <a:ext cx="4175030" cy="357470"/>
          </a:xfrm>
          <a:prstGeom prst="rect">
            <a:avLst/>
          </a:prstGeom>
        </p:spPr>
        <p:txBody>
          <a:bodyPr wrap="square" anchor="t" anchorCtr="0">
            <a:spAutoFit/>
          </a:bodyPr>
          <a:lstStyle>
            <a:lvl1pPr marL="351701" indent="-351701">
              <a:lnSpc>
                <a:spcPct val="100000"/>
              </a:lnSpc>
              <a:spcBef>
                <a:spcPts val="0"/>
              </a:spcBef>
              <a:buFont typeface="Arial" panose="020B0604020202020204" pitchFamily="34" charset="0"/>
              <a:buChar char="•"/>
              <a:defRPr sz="1477">
                <a:latin typeface="Ubuntu" panose="020B0504030602030204" pitchFamily="34" charset="0"/>
                <a:ea typeface="Verdana" panose="020B0604030504040204" pitchFamily="34" charset="0"/>
                <a:cs typeface="Calibri Light" panose="020F0302020204030204" pitchFamily="34" charset="0"/>
              </a:defRPr>
            </a:lvl1pPr>
            <a:lvl2pPr marL="893965" indent="-412093">
              <a:buFont typeface="Arial" panose="020B0604020202020204" pitchFamily="34" charset="0"/>
              <a:buChar char="•"/>
              <a:defRPr sz="1683">
                <a:latin typeface="Verdana" panose="020B0604030504040204" pitchFamily="34" charset="0"/>
                <a:ea typeface="Verdana" panose="020B0604030504040204" pitchFamily="34" charset="0"/>
                <a:cs typeface="Verdana" panose="020B0604030504040204" pitchFamily="34" charset="0"/>
              </a:defRPr>
            </a:lvl2pPr>
            <a:lvl3pPr marL="1307155" indent="-343409">
              <a:buFont typeface="Arial" panose="020B0604020202020204" pitchFamily="34" charset="0"/>
              <a:buChar char="•"/>
              <a:defRPr sz="1322">
                <a:latin typeface="Verdana" panose="020B0604030504040204" pitchFamily="34" charset="0"/>
                <a:ea typeface="Verdana" panose="020B0604030504040204" pitchFamily="34" charset="0"/>
                <a:cs typeface="Verdana" panose="020B0604030504040204" pitchFamily="34" charset="0"/>
              </a:defRPr>
            </a:lvl3pPr>
            <a:lvl4pPr marL="1789026"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4pPr>
            <a:lvl5pPr marL="2270899"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5pPr>
          </a:lstStyle>
          <a:p>
            <a:pPr marL="285750" indent="-285750">
              <a:buFont typeface="Arial" panose="020B0604020202020204" pitchFamily="34" charset="0"/>
              <a:buChar char="•"/>
            </a:pPr>
            <a:r>
              <a:rPr lang="en-US" sz="1723"/>
              <a:t>Short description</a:t>
            </a:r>
          </a:p>
        </p:txBody>
      </p:sp>
      <p:sp>
        <p:nvSpPr>
          <p:cNvPr id="28" name="Content Placeholder 9">
            <a:extLst>
              <a:ext uri="{FF2B5EF4-FFF2-40B4-BE49-F238E27FC236}">
                <a16:creationId xmlns:a16="http://schemas.microsoft.com/office/drawing/2014/main" id="{D9A03D6D-5E3A-41DE-A498-0A5DB447EFCC}"/>
              </a:ext>
            </a:extLst>
          </p:cNvPr>
          <p:cNvSpPr>
            <a:spLocks noGrp="1"/>
          </p:cNvSpPr>
          <p:nvPr>
            <p:ph sz="quarter" idx="22" hasCustomPrompt="1"/>
          </p:nvPr>
        </p:nvSpPr>
        <p:spPr>
          <a:xfrm>
            <a:off x="1116112" y="2818987"/>
            <a:ext cx="4175030" cy="2293219"/>
          </a:xfrm>
          <a:prstGeom prst="rect">
            <a:avLst/>
          </a:prstGeom>
        </p:spPr>
        <p:txBody>
          <a:bodyPr/>
          <a:lstStyle>
            <a:lvl1pPr marL="0" indent="0">
              <a:buNone/>
              <a:defRPr sz="1477">
                <a:latin typeface="Ubuntu" panose="020B0504030602030204" pitchFamily="34" charset="0"/>
                <a:cs typeface="Calibri Light" panose="020F0302020204030204" pitchFamily="34" charset="0"/>
              </a:defRPr>
            </a:lvl1pPr>
            <a:lvl5pPr>
              <a:defRPr/>
            </a:lvl5pPr>
          </a:lstStyle>
          <a:p>
            <a:pPr lvl="0"/>
            <a:r>
              <a:rPr lang="en-US"/>
              <a:t>Graphics</a:t>
            </a:r>
          </a:p>
          <a:p>
            <a:pPr lvl="4"/>
            <a:endParaRPr lang="en-US"/>
          </a:p>
        </p:txBody>
      </p:sp>
      <p:sp>
        <p:nvSpPr>
          <p:cNvPr id="29" name="Text Placeholder 2">
            <a:extLst>
              <a:ext uri="{FF2B5EF4-FFF2-40B4-BE49-F238E27FC236}">
                <a16:creationId xmlns:a16="http://schemas.microsoft.com/office/drawing/2014/main" id="{41CF7E51-C268-45D1-AA6E-8355B3B7F3C0}"/>
              </a:ext>
            </a:extLst>
          </p:cNvPr>
          <p:cNvSpPr>
            <a:spLocks noGrp="1"/>
          </p:cNvSpPr>
          <p:nvPr>
            <p:ph type="body" sz="quarter" idx="23" hasCustomPrompt="1"/>
          </p:nvPr>
        </p:nvSpPr>
        <p:spPr>
          <a:xfrm>
            <a:off x="6911892" y="5112205"/>
            <a:ext cx="4175030" cy="357470"/>
          </a:xfrm>
          <a:prstGeom prst="rect">
            <a:avLst/>
          </a:prstGeom>
        </p:spPr>
        <p:txBody>
          <a:bodyPr wrap="square" anchor="t" anchorCtr="0">
            <a:spAutoFit/>
          </a:bodyPr>
          <a:lstStyle>
            <a:lvl1pPr marL="351701" indent="-351701">
              <a:lnSpc>
                <a:spcPct val="100000"/>
              </a:lnSpc>
              <a:spcBef>
                <a:spcPts val="0"/>
              </a:spcBef>
              <a:buFont typeface="Arial" panose="020B0604020202020204" pitchFamily="34" charset="0"/>
              <a:buChar char="•"/>
              <a:defRPr sz="1477">
                <a:latin typeface="Ubuntu" panose="020B0504030602030204" pitchFamily="34" charset="0"/>
                <a:ea typeface="Verdana" panose="020B0604030504040204" pitchFamily="34" charset="0"/>
                <a:cs typeface="Calibri Light" panose="020F0302020204030204" pitchFamily="34" charset="0"/>
              </a:defRPr>
            </a:lvl1pPr>
            <a:lvl2pPr marL="893965" indent="-412093">
              <a:buFont typeface="Arial" panose="020B0604020202020204" pitchFamily="34" charset="0"/>
              <a:buChar char="•"/>
              <a:defRPr sz="1683">
                <a:latin typeface="Verdana" panose="020B0604030504040204" pitchFamily="34" charset="0"/>
                <a:ea typeface="Verdana" panose="020B0604030504040204" pitchFamily="34" charset="0"/>
                <a:cs typeface="Verdana" panose="020B0604030504040204" pitchFamily="34" charset="0"/>
              </a:defRPr>
            </a:lvl2pPr>
            <a:lvl3pPr marL="1307155" indent="-343409">
              <a:buFont typeface="Arial" panose="020B0604020202020204" pitchFamily="34" charset="0"/>
              <a:buChar char="•"/>
              <a:defRPr sz="1322">
                <a:latin typeface="Verdana" panose="020B0604030504040204" pitchFamily="34" charset="0"/>
                <a:ea typeface="Verdana" panose="020B0604030504040204" pitchFamily="34" charset="0"/>
                <a:cs typeface="Verdana" panose="020B0604030504040204" pitchFamily="34" charset="0"/>
              </a:defRPr>
            </a:lvl3pPr>
            <a:lvl4pPr marL="1789026"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4pPr>
            <a:lvl5pPr marL="2270899"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5pPr>
          </a:lstStyle>
          <a:p>
            <a:pPr marL="285750" indent="-285750">
              <a:buFont typeface="Arial" panose="020B0604020202020204" pitchFamily="34" charset="0"/>
              <a:buChar char="•"/>
            </a:pPr>
            <a:r>
              <a:rPr lang="en-US" sz="1723"/>
              <a:t>Short description</a:t>
            </a:r>
          </a:p>
        </p:txBody>
      </p:sp>
      <p:sp>
        <p:nvSpPr>
          <p:cNvPr id="30" name="Content Placeholder 9">
            <a:extLst>
              <a:ext uri="{FF2B5EF4-FFF2-40B4-BE49-F238E27FC236}">
                <a16:creationId xmlns:a16="http://schemas.microsoft.com/office/drawing/2014/main" id="{D8D0DAAD-A09C-4C30-9FE1-D704BD97345D}"/>
              </a:ext>
            </a:extLst>
          </p:cNvPr>
          <p:cNvSpPr>
            <a:spLocks noGrp="1"/>
          </p:cNvSpPr>
          <p:nvPr>
            <p:ph sz="quarter" idx="24" hasCustomPrompt="1"/>
          </p:nvPr>
        </p:nvSpPr>
        <p:spPr>
          <a:xfrm>
            <a:off x="6911892" y="2818987"/>
            <a:ext cx="4175030" cy="2293219"/>
          </a:xfrm>
          <a:prstGeom prst="rect">
            <a:avLst/>
          </a:prstGeom>
        </p:spPr>
        <p:txBody>
          <a:bodyPr/>
          <a:lstStyle>
            <a:lvl1pPr marL="0" indent="0">
              <a:buNone/>
              <a:defRPr sz="1477">
                <a:latin typeface="Ubuntu" panose="020B0504030602030204" pitchFamily="34" charset="0"/>
                <a:cs typeface="Calibri Light" panose="020F0302020204030204" pitchFamily="34" charset="0"/>
              </a:defRPr>
            </a:lvl1pPr>
            <a:lvl5pPr>
              <a:defRPr/>
            </a:lvl5pPr>
          </a:lstStyle>
          <a:p>
            <a:pPr lvl="0"/>
            <a:r>
              <a:rPr lang="en-US"/>
              <a:t>Graphics</a:t>
            </a:r>
          </a:p>
          <a:p>
            <a:pPr lvl="4"/>
            <a:endParaRPr lang="en-US"/>
          </a:p>
        </p:txBody>
      </p:sp>
      <p:sp>
        <p:nvSpPr>
          <p:cNvPr id="4" name="Text Placeholder 2">
            <a:extLst>
              <a:ext uri="{FF2B5EF4-FFF2-40B4-BE49-F238E27FC236}">
                <a16:creationId xmlns:a16="http://schemas.microsoft.com/office/drawing/2014/main" id="{72DF1F5E-2861-7265-37C6-D1EF8DBD6A57}"/>
              </a:ext>
            </a:extLst>
          </p:cNvPr>
          <p:cNvSpPr>
            <a:spLocks noGrp="1"/>
          </p:cNvSpPr>
          <p:nvPr>
            <p:ph type="body" sz="quarter" idx="15" hasCustomPrompt="1"/>
          </p:nvPr>
        </p:nvSpPr>
        <p:spPr>
          <a:xfrm>
            <a:off x="473392" y="1594384"/>
            <a:ext cx="11254153" cy="357470"/>
          </a:xfrm>
          <a:prstGeom prst="rect">
            <a:avLst/>
          </a:prstGeom>
        </p:spPr>
        <p:txBody>
          <a:bodyPr wrap="square" anchor="t" anchorCtr="0">
            <a:spAutoFit/>
          </a:bodyPr>
          <a:lstStyle>
            <a:lvl1pPr marL="351701" indent="-351701">
              <a:lnSpc>
                <a:spcPct val="100000"/>
              </a:lnSpc>
              <a:spcBef>
                <a:spcPts val="0"/>
              </a:spcBef>
              <a:buFont typeface="Arial" panose="020B0604020202020204" pitchFamily="34" charset="0"/>
              <a:buChar char="•"/>
              <a:defRPr sz="1800">
                <a:latin typeface="Ubuntu" panose="020B0504030602030204" pitchFamily="34" charset="0"/>
                <a:ea typeface="Verdana" panose="020B0604030504040204" pitchFamily="34" charset="0"/>
                <a:cs typeface="Calibri Light" panose="020F0302020204030204" pitchFamily="34" charset="0"/>
              </a:defRPr>
            </a:lvl1pPr>
            <a:lvl2pPr marL="893965" indent="-412093">
              <a:buFont typeface="Arial" panose="020B0604020202020204" pitchFamily="34" charset="0"/>
              <a:buChar char="•"/>
              <a:defRPr sz="1683">
                <a:latin typeface="Verdana" panose="020B0604030504040204" pitchFamily="34" charset="0"/>
                <a:ea typeface="Verdana" panose="020B0604030504040204" pitchFamily="34" charset="0"/>
                <a:cs typeface="Verdana" panose="020B0604030504040204" pitchFamily="34" charset="0"/>
              </a:defRPr>
            </a:lvl2pPr>
            <a:lvl3pPr marL="1307155" indent="-343409">
              <a:buFont typeface="Arial" panose="020B0604020202020204" pitchFamily="34" charset="0"/>
              <a:buChar char="•"/>
              <a:defRPr sz="1322">
                <a:latin typeface="Verdana" panose="020B0604030504040204" pitchFamily="34" charset="0"/>
                <a:ea typeface="Verdana" panose="020B0604030504040204" pitchFamily="34" charset="0"/>
                <a:cs typeface="Verdana" panose="020B0604030504040204" pitchFamily="34" charset="0"/>
              </a:defRPr>
            </a:lvl3pPr>
            <a:lvl4pPr marL="1789026"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4pPr>
            <a:lvl5pPr marL="2270899" indent="-343409">
              <a:buFont typeface="Arial" panose="020B0604020202020204" pitchFamily="34" charset="0"/>
              <a:buChar char="•"/>
              <a:defRPr sz="1262">
                <a:latin typeface="Verdana" panose="020B0604030504040204" pitchFamily="34" charset="0"/>
                <a:ea typeface="Verdana" panose="020B0604030504040204" pitchFamily="34" charset="0"/>
                <a:cs typeface="Verdana" panose="020B0604030504040204" pitchFamily="34" charset="0"/>
              </a:defRPr>
            </a:lvl5pPr>
          </a:lstStyle>
          <a:p>
            <a:pPr marL="285750" indent="-285750">
              <a:buFont typeface="Arial" panose="020B0604020202020204" pitchFamily="34" charset="0"/>
              <a:buChar char="•"/>
            </a:pPr>
            <a:r>
              <a:rPr lang="en-US" sz="1723"/>
              <a:t>&lt;Case for change, quantified where possible&gt;</a:t>
            </a:r>
          </a:p>
        </p:txBody>
      </p:sp>
    </p:spTree>
    <p:extLst>
      <p:ext uri="{BB962C8B-B14F-4D97-AF65-F5344CB8AC3E}">
        <p14:creationId xmlns:p14="http://schemas.microsoft.com/office/powerpoint/2010/main" val="1640740357"/>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act info">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BE87C1C0-D876-4B95-9DD4-B4E6797B60EB}"/>
              </a:ext>
            </a:extLst>
          </p:cNvPr>
          <p:cNvSpPr txBox="1">
            <a:spLocks/>
          </p:cNvSpPr>
          <p:nvPr/>
        </p:nvSpPr>
        <p:spPr>
          <a:xfrm>
            <a:off x="468923" y="291691"/>
            <a:ext cx="11254154" cy="609600"/>
          </a:xfrm>
          <a:prstGeom prst="rect">
            <a:avLst/>
          </a:prstGeom>
        </p:spPr>
        <p:txBody>
          <a:bodyPr vert="horz" lIns="112542" tIns="56271" rIns="112542" bIns="56271" rtlCol="0" anchor="ctr">
            <a:noAutofit/>
          </a:bodyPr>
          <a:lstStyle>
            <a:lvl1pPr algn="l" defTabSz="914400" rtl="0" eaLnBrk="1" latinLnBrk="0" hangingPunct="1">
              <a:lnSpc>
                <a:spcPct val="90000"/>
              </a:lnSpc>
              <a:spcBef>
                <a:spcPct val="0"/>
              </a:spcBef>
              <a:buNone/>
              <a:defRPr lang="en-US" sz="1800" kern="1200" dirty="0">
                <a:solidFill>
                  <a:schemeClr val="tx1"/>
                </a:solidFill>
                <a:latin typeface="Calibri" panose="020F0502020204030204" pitchFamily="34" charset="0"/>
                <a:ea typeface="+mj-ea"/>
                <a:cs typeface="Calibri" panose="020F0502020204030204" pitchFamily="34" charset="0"/>
              </a:defRPr>
            </a:lvl1pPr>
          </a:lstStyle>
          <a:p>
            <a:r>
              <a:rPr lang="en-US" sz="2200" b="0">
                <a:latin typeface="Ubuntu" panose="020B0504030602030204" pitchFamily="34" charset="0"/>
              </a:rPr>
              <a:t>Contributors</a:t>
            </a:r>
          </a:p>
        </p:txBody>
      </p:sp>
      <p:sp>
        <p:nvSpPr>
          <p:cNvPr id="23" name="Picture Placeholder 4">
            <a:extLst>
              <a:ext uri="{FF2B5EF4-FFF2-40B4-BE49-F238E27FC236}">
                <a16:creationId xmlns:a16="http://schemas.microsoft.com/office/drawing/2014/main" id="{11CEF887-73E5-4AFC-B41D-D8A9971F054A}"/>
              </a:ext>
            </a:extLst>
          </p:cNvPr>
          <p:cNvSpPr>
            <a:spLocks noGrp="1"/>
          </p:cNvSpPr>
          <p:nvPr>
            <p:ph type="pic" sz="quarter" idx="11"/>
          </p:nvPr>
        </p:nvSpPr>
        <p:spPr>
          <a:xfrm>
            <a:off x="468923" y="800138"/>
            <a:ext cx="1571825" cy="1302365"/>
          </a:xfrm>
          <a:prstGeom prst="rect">
            <a:avLst/>
          </a:prstGeom>
        </p:spPr>
        <p:txBody>
          <a:bodyPr/>
          <a:lstStyle>
            <a:lvl1pPr>
              <a:defRPr sz="1477">
                <a:latin typeface="Ubuntu" panose="020B0504030602030204" pitchFamily="34" charset="0"/>
                <a:cs typeface="Calibri Light" panose="020F0302020204030204" pitchFamily="34" charset="0"/>
              </a:defRPr>
            </a:lvl1pPr>
          </a:lstStyle>
          <a:p>
            <a:r>
              <a:rPr lang="en-US"/>
              <a:t>Click icon to add picture</a:t>
            </a:r>
          </a:p>
        </p:txBody>
      </p:sp>
      <p:sp>
        <p:nvSpPr>
          <p:cNvPr id="24" name="Text Placeholder 8">
            <a:extLst>
              <a:ext uri="{FF2B5EF4-FFF2-40B4-BE49-F238E27FC236}">
                <a16:creationId xmlns:a16="http://schemas.microsoft.com/office/drawing/2014/main" id="{E0DB486D-D85E-4E2D-93D8-C872FB0BDE02}"/>
              </a:ext>
            </a:extLst>
          </p:cNvPr>
          <p:cNvSpPr>
            <a:spLocks noGrp="1"/>
          </p:cNvSpPr>
          <p:nvPr>
            <p:ph type="body" sz="quarter" idx="30"/>
          </p:nvPr>
        </p:nvSpPr>
        <p:spPr>
          <a:xfrm>
            <a:off x="2089204" y="1409735"/>
            <a:ext cx="4006796" cy="692765"/>
          </a:xfrm>
          <a:prstGeom prst="rect">
            <a:avLst/>
          </a:prstGeom>
        </p:spPr>
        <p:txBody>
          <a:bodyPr>
            <a:normAutofit/>
          </a:bodyPr>
          <a:lstStyle>
            <a:lvl1pPr marL="0" indent="0">
              <a:buFontTx/>
              <a:buNone/>
              <a:defRPr sz="120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Click to edit Master text styles</a:t>
            </a:r>
          </a:p>
        </p:txBody>
      </p:sp>
      <p:sp>
        <p:nvSpPr>
          <p:cNvPr id="25" name="Text Placeholder 10">
            <a:extLst>
              <a:ext uri="{FF2B5EF4-FFF2-40B4-BE49-F238E27FC236}">
                <a16:creationId xmlns:a16="http://schemas.microsoft.com/office/drawing/2014/main" id="{59E8076E-2602-4CB7-BD79-E9F9D09E874B}"/>
              </a:ext>
            </a:extLst>
          </p:cNvPr>
          <p:cNvSpPr>
            <a:spLocks noGrp="1"/>
          </p:cNvSpPr>
          <p:nvPr>
            <p:ph type="body" sz="quarter" idx="31" hasCustomPrompt="1"/>
          </p:nvPr>
        </p:nvSpPr>
        <p:spPr>
          <a:xfrm>
            <a:off x="2089248" y="800133"/>
            <a:ext cx="4006796" cy="173008"/>
          </a:xfrm>
          <a:prstGeom prst="rect">
            <a:avLst/>
          </a:prstGeom>
        </p:spPr>
        <p:txBody>
          <a:bodyPr/>
          <a:lstStyle>
            <a:lvl1pPr marL="0" indent="0" algn="l">
              <a:buFontTx/>
              <a:buNone/>
              <a:defRPr sz="1200" b="1">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Name</a:t>
            </a:r>
          </a:p>
        </p:txBody>
      </p:sp>
      <p:sp>
        <p:nvSpPr>
          <p:cNvPr id="26" name="Text Placeholder 10">
            <a:extLst>
              <a:ext uri="{FF2B5EF4-FFF2-40B4-BE49-F238E27FC236}">
                <a16:creationId xmlns:a16="http://schemas.microsoft.com/office/drawing/2014/main" id="{EB1DD34E-ADFF-44AC-A9EE-4E15B6151205}"/>
              </a:ext>
            </a:extLst>
          </p:cNvPr>
          <p:cNvSpPr>
            <a:spLocks noGrp="1"/>
          </p:cNvSpPr>
          <p:nvPr>
            <p:ph type="body" sz="quarter" idx="32" hasCustomPrompt="1"/>
          </p:nvPr>
        </p:nvSpPr>
        <p:spPr>
          <a:xfrm>
            <a:off x="2089204" y="990305"/>
            <a:ext cx="4006796" cy="188644"/>
          </a:xfrm>
          <a:prstGeom prst="rect">
            <a:avLst/>
          </a:prstGeom>
        </p:spPr>
        <p:txBody>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Job Title</a:t>
            </a:r>
          </a:p>
        </p:txBody>
      </p:sp>
      <p:sp>
        <p:nvSpPr>
          <p:cNvPr id="27" name="Text Placeholder 10">
            <a:extLst>
              <a:ext uri="{FF2B5EF4-FFF2-40B4-BE49-F238E27FC236}">
                <a16:creationId xmlns:a16="http://schemas.microsoft.com/office/drawing/2014/main" id="{9EC0C1FB-10F7-4E79-88D0-9F011032EC72}"/>
              </a:ext>
            </a:extLst>
          </p:cNvPr>
          <p:cNvSpPr>
            <a:spLocks noGrp="1"/>
          </p:cNvSpPr>
          <p:nvPr>
            <p:ph type="body" sz="quarter" idx="33" hasCustomPrompt="1"/>
          </p:nvPr>
        </p:nvSpPr>
        <p:spPr>
          <a:xfrm>
            <a:off x="2089204" y="1177052"/>
            <a:ext cx="4006796" cy="183693"/>
          </a:xfrm>
          <a:prstGeom prst="rect">
            <a:avLst/>
          </a:prstGeom>
        </p:spPr>
        <p:txBody>
          <a:bodyPr>
            <a:noAutofit/>
          </a:bodyPr>
          <a:lstStyle>
            <a:lvl1pPr marL="0" indent="0" algn="l">
              <a:buFontTx/>
              <a:buNone/>
              <a:defRPr sz="1200" b="0">
                <a:solidFill>
                  <a:schemeClr val="accent1"/>
                </a:solidFill>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Email</a:t>
            </a:r>
          </a:p>
        </p:txBody>
      </p:sp>
      <p:sp>
        <p:nvSpPr>
          <p:cNvPr id="88" name="Picture Placeholder 4">
            <a:extLst>
              <a:ext uri="{FF2B5EF4-FFF2-40B4-BE49-F238E27FC236}">
                <a16:creationId xmlns:a16="http://schemas.microsoft.com/office/drawing/2014/main" id="{D497AFCE-E079-419D-97BA-C888F516E841}"/>
              </a:ext>
            </a:extLst>
          </p:cNvPr>
          <p:cNvSpPr>
            <a:spLocks noGrp="1"/>
          </p:cNvSpPr>
          <p:nvPr>
            <p:ph type="pic" sz="quarter" idx="34"/>
          </p:nvPr>
        </p:nvSpPr>
        <p:spPr>
          <a:xfrm>
            <a:off x="6144458" y="800138"/>
            <a:ext cx="1571825" cy="1302365"/>
          </a:xfrm>
          <a:prstGeom prst="rect">
            <a:avLst/>
          </a:prstGeom>
        </p:spPr>
        <p:txBody>
          <a:bodyPr/>
          <a:lstStyle>
            <a:lvl1pPr>
              <a:defRPr sz="1477">
                <a:latin typeface="Ubuntu" panose="020B0504030602030204" pitchFamily="34" charset="0"/>
                <a:cs typeface="Calibri Light" panose="020F0302020204030204" pitchFamily="34" charset="0"/>
              </a:defRPr>
            </a:lvl1pPr>
          </a:lstStyle>
          <a:p>
            <a:r>
              <a:rPr lang="en-US"/>
              <a:t>Click icon to add picture</a:t>
            </a:r>
          </a:p>
        </p:txBody>
      </p:sp>
      <p:sp>
        <p:nvSpPr>
          <p:cNvPr id="89" name="Text Placeholder 8">
            <a:extLst>
              <a:ext uri="{FF2B5EF4-FFF2-40B4-BE49-F238E27FC236}">
                <a16:creationId xmlns:a16="http://schemas.microsoft.com/office/drawing/2014/main" id="{2D9DB505-1261-4B25-9ACD-9B0B86C3D37D}"/>
              </a:ext>
            </a:extLst>
          </p:cNvPr>
          <p:cNvSpPr>
            <a:spLocks noGrp="1"/>
          </p:cNvSpPr>
          <p:nvPr>
            <p:ph type="body" sz="quarter" idx="35"/>
          </p:nvPr>
        </p:nvSpPr>
        <p:spPr>
          <a:xfrm>
            <a:off x="7764736" y="1409735"/>
            <a:ext cx="4006796" cy="692765"/>
          </a:xfrm>
          <a:prstGeom prst="rect">
            <a:avLst/>
          </a:prstGeom>
        </p:spPr>
        <p:txBody>
          <a:bodyPr>
            <a:normAutofit/>
          </a:bodyPr>
          <a:lstStyle>
            <a:lvl1pPr marL="0" indent="0">
              <a:buFontTx/>
              <a:buNone/>
              <a:defRPr sz="120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Click to edit Master text styles</a:t>
            </a:r>
          </a:p>
        </p:txBody>
      </p:sp>
      <p:sp>
        <p:nvSpPr>
          <p:cNvPr id="90" name="Text Placeholder 10">
            <a:extLst>
              <a:ext uri="{FF2B5EF4-FFF2-40B4-BE49-F238E27FC236}">
                <a16:creationId xmlns:a16="http://schemas.microsoft.com/office/drawing/2014/main" id="{E345D59A-6C27-4925-ABED-992C3B8BDADF}"/>
              </a:ext>
            </a:extLst>
          </p:cNvPr>
          <p:cNvSpPr>
            <a:spLocks noGrp="1"/>
          </p:cNvSpPr>
          <p:nvPr>
            <p:ph type="body" sz="quarter" idx="36" hasCustomPrompt="1"/>
          </p:nvPr>
        </p:nvSpPr>
        <p:spPr>
          <a:xfrm>
            <a:off x="7764780" y="800133"/>
            <a:ext cx="4006796" cy="173008"/>
          </a:xfrm>
          <a:prstGeom prst="rect">
            <a:avLst/>
          </a:prstGeom>
        </p:spPr>
        <p:txBody>
          <a:bodyPr/>
          <a:lstStyle>
            <a:lvl1pPr marL="0" indent="0" algn="l">
              <a:buFontTx/>
              <a:buNone/>
              <a:defRPr sz="1200" b="1">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Name</a:t>
            </a:r>
          </a:p>
        </p:txBody>
      </p:sp>
      <p:sp>
        <p:nvSpPr>
          <p:cNvPr id="91" name="Text Placeholder 10">
            <a:extLst>
              <a:ext uri="{FF2B5EF4-FFF2-40B4-BE49-F238E27FC236}">
                <a16:creationId xmlns:a16="http://schemas.microsoft.com/office/drawing/2014/main" id="{80845BAB-17C8-4461-97AF-460653E345DE}"/>
              </a:ext>
            </a:extLst>
          </p:cNvPr>
          <p:cNvSpPr>
            <a:spLocks noGrp="1"/>
          </p:cNvSpPr>
          <p:nvPr>
            <p:ph type="body" sz="quarter" idx="37" hasCustomPrompt="1"/>
          </p:nvPr>
        </p:nvSpPr>
        <p:spPr>
          <a:xfrm>
            <a:off x="7764736" y="990305"/>
            <a:ext cx="4006796" cy="188644"/>
          </a:xfrm>
          <a:prstGeom prst="rect">
            <a:avLst/>
          </a:prstGeom>
        </p:spPr>
        <p:txBody>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Job Title</a:t>
            </a:r>
          </a:p>
        </p:txBody>
      </p:sp>
      <p:sp>
        <p:nvSpPr>
          <p:cNvPr id="92" name="Text Placeholder 10">
            <a:extLst>
              <a:ext uri="{FF2B5EF4-FFF2-40B4-BE49-F238E27FC236}">
                <a16:creationId xmlns:a16="http://schemas.microsoft.com/office/drawing/2014/main" id="{E8C63F63-7194-4528-AEEB-EEE64D6CC43B}"/>
              </a:ext>
            </a:extLst>
          </p:cNvPr>
          <p:cNvSpPr>
            <a:spLocks noGrp="1"/>
          </p:cNvSpPr>
          <p:nvPr>
            <p:ph type="body" sz="quarter" idx="38" hasCustomPrompt="1"/>
          </p:nvPr>
        </p:nvSpPr>
        <p:spPr>
          <a:xfrm>
            <a:off x="7764736" y="1177052"/>
            <a:ext cx="4006796" cy="183693"/>
          </a:xfrm>
          <a:prstGeom prst="rect">
            <a:avLst/>
          </a:prstGeom>
        </p:spPr>
        <p:txBody>
          <a:bodyPr>
            <a:noAutofit/>
          </a:bodyPr>
          <a:lstStyle>
            <a:lvl1pPr marL="0" indent="0" algn="l">
              <a:buFontTx/>
              <a:buNone/>
              <a:defRPr sz="1200" b="0">
                <a:solidFill>
                  <a:schemeClr val="accent1"/>
                </a:solidFill>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Email</a:t>
            </a:r>
          </a:p>
        </p:txBody>
      </p:sp>
      <p:sp>
        <p:nvSpPr>
          <p:cNvPr id="93" name="Picture Placeholder 4">
            <a:extLst>
              <a:ext uri="{FF2B5EF4-FFF2-40B4-BE49-F238E27FC236}">
                <a16:creationId xmlns:a16="http://schemas.microsoft.com/office/drawing/2014/main" id="{7AE94B2E-BF5E-42A6-9B43-8D62D27B6AA0}"/>
              </a:ext>
            </a:extLst>
          </p:cNvPr>
          <p:cNvSpPr>
            <a:spLocks noGrp="1"/>
          </p:cNvSpPr>
          <p:nvPr>
            <p:ph type="pic" sz="quarter" idx="39"/>
          </p:nvPr>
        </p:nvSpPr>
        <p:spPr>
          <a:xfrm>
            <a:off x="468880" y="2191517"/>
            <a:ext cx="1571825" cy="1302365"/>
          </a:xfrm>
          <a:prstGeom prst="rect">
            <a:avLst/>
          </a:prstGeom>
        </p:spPr>
        <p:txBody>
          <a:bodyPr/>
          <a:lstStyle>
            <a:lvl1pPr>
              <a:defRPr sz="1477">
                <a:latin typeface="Ubuntu" panose="020B0504030602030204" pitchFamily="34" charset="0"/>
                <a:cs typeface="Calibri Light" panose="020F0302020204030204" pitchFamily="34" charset="0"/>
              </a:defRPr>
            </a:lvl1pPr>
          </a:lstStyle>
          <a:p>
            <a:r>
              <a:rPr lang="en-US"/>
              <a:t>Click icon to add picture</a:t>
            </a:r>
          </a:p>
        </p:txBody>
      </p:sp>
      <p:sp>
        <p:nvSpPr>
          <p:cNvPr id="94" name="Text Placeholder 8">
            <a:extLst>
              <a:ext uri="{FF2B5EF4-FFF2-40B4-BE49-F238E27FC236}">
                <a16:creationId xmlns:a16="http://schemas.microsoft.com/office/drawing/2014/main" id="{D0E65D19-B875-4241-9E62-26D9715C9637}"/>
              </a:ext>
            </a:extLst>
          </p:cNvPr>
          <p:cNvSpPr>
            <a:spLocks noGrp="1"/>
          </p:cNvSpPr>
          <p:nvPr>
            <p:ph type="body" sz="quarter" idx="40"/>
          </p:nvPr>
        </p:nvSpPr>
        <p:spPr>
          <a:xfrm>
            <a:off x="2089160" y="2801117"/>
            <a:ext cx="4006796" cy="692765"/>
          </a:xfrm>
          <a:prstGeom prst="rect">
            <a:avLst/>
          </a:prstGeom>
        </p:spPr>
        <p:txBody>
          <a:bodyPr>
            <a:normAutofit/>
          </a:bodyPr>
          <a:lstStyle>
            <a:lvl1pPr marL="0" indent="0">
              <a:buFontTx/>
              <a:buNone/>
              <a:defRPr sz="120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Click to edit Master text styles</a:t>
            </a:r>
          </a:p>
        </p:txBody>
      </p:sp>
      <p:sp>
        <p:nvSpPr>
          <p:cNvPr id="95" name="Text Placeholder 10">
            <a:extLst>
              <a:ext uri="{FF2B5EF4-FFF2-40B4-BE49-F238E27FC236}">
                <a16:creationId xmlns:a16="http://schemas.microsoft.com/office/drawing/2014/main" id="{69588479-A7DD-4652-95FB-37CE5EE8F4E6}"/>
              </a:ext>
            </a:extLst>
          </p:cNvPr>
          <p:cNvSpPr>
            <a:spLocks noGrp="1"/>
          </p:cNvSpPr>
          <p:nvPr>
            <p:ph type="body" sz="quarter" idx="41" hasCustomPrompt="1"/>
          </p:nvPr>
        </p:nvSpPr>
        <p:spPr>
          <a:xfrm>
            <a:off x="2089204" y="2191512"/>
            <a:ext cx="4006796" cy="173008"/>
          </a:xfrm>
          <a:prstGeom prst="rect">
            <a:avLst/>
          </a:prstGeom>
        </p:spPr>
        <p:txBody>
          <a:bodyPr/>
          <a:lstStyle>
            <a:lvl1pPr marL="0" indent="0" algn="l">
              <a:buFontTx/>
              <a:buNone/>
              <a:defRPr sz="1200" b="1">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Name</a:t>
            </a:r>
          </a:p>
        </p:txBody>
      </p:sp>
      <p:sp>
        <p:nvSpPr>
          <p:cNvPr id="96" name="Text Placeholder 10">
            <a:extLst>
              <a:ext uri="{FF2B5EF4-FFF2-40B4-BE49-F238E27FC236}">
                <a16:creationId xmlns:a16="http://schemas.microsoft.com/office/drawing/2014/main" id="{9B21105B-7A62-4909-8152-8F6CCDC59565}"/>
              </a:ext>
            </a:extLst>
          </p:cNvPr>
          <p:cNvSpPr>
            <a:spLocks noGrp="1"/>
          </p:cNvSpPr>
          <p:nvPr>
            <p:ph type="body" sz="quarter" idx="42" hasCustomPrompt="1"/>
          </p:nvPr>
        </p:nvSpPr>
        <p:spPr>
          <a:xfrm>
            <a:off x="2089160" y="2381684"/>
            <a:ext cx="4006796" cy="188644"/>
          </a:xfrm>
          <a:prstGeom prst="rect">
            <a:avLst/>
          </a:prstGeom>
        </p:spPr>
        <p:txBody>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Job Title</a:t>
            </a:r>
          </a:p>
        </p:txBody>
      </p:sp>
      <p:sp>
        <p:nvSpPr>
          <p:cNvPr id="97" name="Text Placeholder 10">
            <a:extLst>
              <a:ext uri="{FF2B5EF4-FFF2-40B4-BE49-F238E27FC236}">
                <a16:creationId xmlns:a16="http://schemas.microsoft.com/office/drawing/2014/main" id="{BECCEB03-AA0D-4626-9B1B-E5341DD8CFA5}"/>
              </a:ext>
            </a:extLst>
          </p:cNvPr>
          <p:cNvSpPr>
            <a:spLocks noGrp="1"/>
          </p:cNvSpPr>
          <p:nvPr>
            <p:ph type="body" sz="quarter" idx="43" hasCustomPrompt="1"/>
          </p:nvPr>
        </p:nvSpPr>
        <p:spPr>
          <a:xfrm>
            <a:off x="2089160" y="2568431"/>
            <a:ext cx="4006796" cy="183693"/>
          </a:xfrm>
          <a:prstGeom prst="rect">
            <a:avLst/>
          </a:prstGeom>
        </p:spPr>
        <p:txBody>
          <a:bodyPr>
            <a:noAutofit/>
          </a:bodyPr>
          <a:lstStyle>
            <a:lvl1pPr marL="0" indent="0" algn="l">
              <a:buFontTx/>
              <a:buNone/>
              <a:defRPr sz="1200" b="0">
                <a:solidFill>
                  <a:schemeClr val="accent1"/>
                </a:solidFill>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Email</a:t>
            </a:r>
          </a:p>
        </p:txBody>
      </p:sp>
      <p:sp>
        <p:nvSpPr>
          <p:cNvPr id="98" name="Picture Placeholder 4">
            <a:extLst>
              <a:ext uri="{FF2B5EF4-FFF2-40B4-BE49-F238E27FC236}">
                <a16:creationId xmlns:a16="http://schemas.microsoft.com/office/drawing/2014/main" id="{DC87907C-8A00-434B-BCD2-6B082920C2F9}"/>
              </a:ext>
            </a:extLst>
          </p:cNvPr>
          <p:cNvSpPr>
            <a:spLocks noGrp="1"/>
          </p:cNvSpPr>
          <p:nvPr>
            <p:ph type="pic" sz="quarter" idx="44"/>
          </p:nvPr>
        </p:nvSpPr>
        <p:spPr>
          <a:xfrm>
            <a:off x="6144411" y="2191517"/>
            <a:ext cx="1571825" cy="1302365"/>
          </a:xfrm>
          <a:prstGeom prst="rect">
            <a:avLst/>
          </a:prstGeom>
        </p:spPr>
        <p:txBody>
          <a:bodyPr/>
          <a:lstStyle>
            <a:lvl1pPr>
              <a:defRPr sz="1477">
                <a:latin typeface="Ubuntu" panose="020B0504030602030204" pitchFamily="34" charset="0"/>
                <a:cs typeface="Calibri Light" panose="020F0302020204030204" pitchFamily="34" charset="0"/>
              </a:defRPr>
            </a:lvl1pPr>
          </a:lstStyle>
          <a:p>
            <a:r>
              <a:rPr lang="en-US"/>
              <a:t>Click icon to add picture</a:t>
            </a:r>
          </a:p>
        </p:txBody>
      </p:sp>
      <p:sp>
        <p:nvSpPr>
          <p:cNvPr id="99" name="Text Placeholder 8">
            <a:extLst>
              <a:ext uri="{FF2B5EF4-FFF2-40B4-BE49-F238E27FC236}">
                <a16:creationId xmlns:a16="http://schemas.microsoft.com/office/drawing/2014/main" id="{5574F182-7DFB-4213-9695-E05B16B9BA9E}"/>
              </a:ext>
            </a:extLst>
          </p:cNvPr>
          <p:cNvSpPr>
            <a:spLocks noGrp="1"/>
          </p:cNvSpPr>
          <p:nvPr>
            <p:ph type="body" sz="quarter" idx="45"/>
          </p:nvPr>
        </p:nvSpPr>
        <p:spPr>
          <a:xfrm>
            <a:off x="7764692" y="2801117"/>
            <a:ext cx="4006796" cy="692765"/>
          </a:xfrm>
          <a:prstGeom prst="rect">
            <a:avLst/>
          </a:prstGeom>
        </p:spPr>
        <p:txBody>
          <a:bodyPr>
            <a:normAutofit/>
          </a:bodyPr>
          <a:lstStyle>
            <a:lvl1pPr marL="0" indent="0">
              <a:buFontTx/>
              <a:buNone/>
              <a:defRPr sz="120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Click to edit Master text styles</a:t>
            </a:r>
          </a:p>
        </p:txBody>
      </p:sp>
      <p:sp>
        <p:nvSpPr>
          <p:cNvPr id="100" name="Text Placeholder 10">
            <a:extLst>
              <a:ext uri="{FF2B5EF4-FFF2-40B4-BE49-F238E27FC236}">
                <a16:creationId xmlns:a16="http://schemas.microsoft.com/office/drawing/2014/main" id="{CF6BBB09-24DC-49E6-9BB7-E98929589822}"/>
              </a:ext>
            </a:extLst>
          </p:cNvPr>
          <p:cNvSpPr>
            <a:spLocks noGrp="1"/>
          </p:cNvSpPr>
          <p:nvPr>
            <p:ph type="body" sz="quarter" idx="46" hasCustomPrompt="1"/>
          </p:nvPr>
        </p:nvSpPr>
        <p:spPr>
          <a:xfrm>
            <a:off x="7764736" y="2191512"/>
            <a:ext cx="4006796" cy="173008"/>
          </a:xfrm>
          <a:prstGeom prst="rect">
            <a:avLst/>
          </a:prstGeom>
        </p:spPr>
        <p:txBody>
          <a:bodyPr/>
          <a:lstStyle>
            <a:lvl1pPr marL="0" indent="0" algn="l">
              <a:buFontTx/>
              <a:buNone/>
              <a:defRPr sz="1200" b="1">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Name</a:t>
            </a:r>
          </a:p>
        </p:txBody>
      </p:sp>
      <p:sp>
        <p:nvSpPr>
          <p:cNvPr id="101" name="Text Placeholder 10">
            <a:extLst>
              <a:ext uri="{FF2B5EF4-FFF2-40B4-BE49-F238E27FC236}">
                <a16:creationId xmlns:a16="http://schemas.microsoft.com/office/drawing/2014/main" id="{64D61DBA-01AA-400D-97EC-780502BBE312}"/>
              </a:ext>
            </a:extLst>
          </p:cNvPr>
          <p:cNvSpPr>
            <a:spLocks noGrp="1"/>
          </p:cNvSpPr>
          <p:nvPr>
            <p:ph type="body" sz="quarter" idx="47" hasCustomPrompt="1"/>
          </p:nvPr>
        </p:nvSpPr>
        <p:spPr>
          <a:xfrm>
            <a:off x="7764692" y="2381684"/>
            <a:ext cx="4006796" cy="188644"/>
          </a:xfrm>
          <a:prstGeom prst="rect">
            <a:avLst/>
          </a:prstGeom>
        </p:spPr>
        <p:txBody>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Job Title</a:t>
            </a:r>
          </a:p>
        </p:txBody>
      </p:sp>
      <p:sp>
        <p:nvSpPr>
          <p:cNvPr id="102" name="Text Placeholder 10">
            <a:extLst>
              <a:ext uri="{FF2B5EF4-FFF2-40B4-BE49-F238E27FC236}">
                <a16:creationId xmlns:a16="http://schemas.microsoft.com/office/drawing/2014/main" id="{980F55BC-0E2A-4D65-BB21-B19DEEF59F15}"/>
              </a:ext>
            </a:extLst>
          </p:cNvPr>
          <p:cNvSpPr>
            <a:spLocks noGrp="1"/>
          </p:cNvSpPr>
          <p:nvPr>
            <p:ph type="body" sz="quarter" idx="48" hasCustomPrompt="1"/>
          </p:nvPr>
        </p:nvSpPr>
        <p:spPr>
          <a:xfrm>
            <a:off x="7764692" y="2568431"/>
            <a:ext cx="4006796" cy="183693"/>
          </a:xfrm>
          <a:prstGeom prst="rect">
            <a:avLst/>
          </a:prstGeom>
        </p:spPr>
        <p:txBody>
          <a:bodyPr>
            <a:noAutofit/>
          </a:bodyPr>
          <a:lstStyle>
            <a:lvl1pPr marL="0" indent="0" algn="l">
              <a:buFontTx/>
              <a:buNone/>
              <a:defRPr sz="1200" b="0">
                <a:solidFill>
                  <a:schemeClr val="accent1"/>
                </a:solidFill>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Email</a:t>
            </a:r>
          </a:p>
        </p:txBody>
      </p:sp>
      <p:sp>
        <p:nvSpPr>
          <p:cNvPr id="103" name="Picture Placeholder 4">
            <a:extLst>
              <a:ext uri="{FF2B5EF4-FFF2-40B4-BE49-F238E27FC236}">
                <a16:creationId xmlns:a16="http://schemas.microsoft.com/office/drawing/2014/main" id="{2C30A207-7B75-4EAD-A62A-2A923E1832EE}"/>
              </a:ext>
            </a:extLst>
          </p:cNvPr>
          <p:cNvSpPr>
            <a:spLocks noGrp="1"/>
          </p:cNvSpPr>
          <p:nvPr>
            <p:ph type="pic" sz="quarter" idx="49"/>
          </p:nvPr>
        </p:nvSpPr>
        <p:spPr>
          <a:xfrm>
            <a:off x="468880" y="3607208"/>
            <a:ext cx="1571825" cy="1302365"/>
          </a:xfrm>
          <a:prstGeom prst="rect">
            <a:avLst/>
          </a:prstGeom>
        </p:spPr>
        <p:txBody>
          <a:bodyPr/>
          <a:lstStyle>
            <a:lvl1pPr>
              <a:defRPr sz="1477">
                <a:latin typeface="Ubuntu" panose="020B0504030602030204" pitchFamily="34" charset="0"/>
                <a:cs typeface="Calibri Light" panose="020F0302020204030204" pitchFamily="34" charset="0"/>
              </a:defRPr>
            </a:lvl1pPr>
          </a:lstStyle>
          <a:p>
            <a:r>
              <a:rPr lang="en-US"/>
              <a:t>Click icon to add picture</a:t>
            </a:r>
          </a:p>
        </p:txBody>
      </p:sp>
      <p:sp>
        <p:nvSpPr>
          <p:cNvPr id="104" name="Text Placeholder 8">
            <a:extLst>
              <a:ext uri="{FF2B5EF4-FFF2-40B4-BE49-F238E27FC236}">
                <a16:creationId xmlns:a16="http://schemas.microsoft.com/office/drawing/2014/main" id="{22626FD4-E96E-4573-9985-39CAA3AD19C0}"/>
              </a:ext>
            </a:extLst>
          </p:cNvPr>
          <p:cNvSpPr>
            <a:spLocks noGrp="1"/>
          </p:cNvSpPr>
          <p:nvPr>
            <p:ph type="body" sz="quarter" idx="50"/>
          </p:nvPr>
        </p:nvSpPr>
        <p:spPr>
          <a:xfrm>
            <a:off x="2089160" y="4216808"/>
            <a:ext cx="4006796" cy="692765"/>
          </a:xfrm>
          <a:prstGeom prst="rect">
            <a:avLst/>
          </a:prstGeom>
        </p:spPr>
        <p:txBody>
          <a:bodyPr>
            <a:normAutofit/>
          </a:bodyPr>
          <a:lstStyle>
            <a:lvl1pPr marL="0" indent="0">
              <a:buFontTx/>
              <a:buNone/>
              <a:defRPr sz="120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Click to edit Master text styles</a:t>
            </a:r>
          </a:p>
        </p:txBody>
      </p:sp>
      <p:sp>
        <p:nvSpPr>
          <p:cNvPr id="105" name="Text Placeholder 10">
            <a:extLst>
              <a:ext uri="{FF2B5EF4-FFF2-40B4-BE49-F238E27FC236}">
                <a16:creationId xmlns:a16="http://schemas.microsoft.com/office/drawing/2014/main" id="{5FCD0D9A-7532-4336-BD4C-FA4957BE7D36}"/>
              </a:ext>
            </a:extLst>
          </p:cNvPr>
          <p:cNvSpPr>
            <a:spLocks noGrp="1"/>
          </p:cNvSpPr>
          <p:nvPr>
            <p:ph type="body" sz="quarter" idx="51" hasCustomPrompt="1"/>
          </p:nvPr>
        </p:nvSpPr>
        <p:spPr>
          <a:xfrm>
            <a:off x="2089204" y="3607203"/>
            <a:ext cx="4006796" cy="173008"/>
          </a:xfrm>
          <a:prstGeom prst="rect">
            <a:avLst/>
          </a:prstGeom>
        </p:spPr>
        <p:txBody>
          <a:bodyPr/>
          <a:lstStyle>
            <a:lvl1pPr marL="0" indent="0" algn="l">
              <a:buFontTx/>
              <a:buNone/>
              <a:defRPr sz="1200" b="1">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Name</a:t>
            </a:r>
          </a:p>
        </p:txBody>
      </p:sp>
      <p:sp>
        <p:nvSpPr>
          <p:cNvPr id="106" name="Text Placeholder 10">
            <a:extLst>
              <a:ext uri="{FF2B5EF4-FFF2-40B4-BE49-F238E27FC236}">
                <a16:creationId xmlns:a16="http://schemas.microsoft.com/office/drawing/2014/main" id="{E256E77C-5E44-4DCE-83E2-CCA37FAEE3CC}"/>
              </a:ext>
            </a:extLst>
          </p:cNvPr>
          <p:cNvSpPr>
            <a:spLocks noGrp="1"/>
          </p:cNvSpPr>
          <p:nvPr>
            <p:ph type="body" sz="quarter" idx="52" hasCustomPrompt="1"/>
          </p:nvPr>
        </p:nvSpPr>
        <p:spPr>
          <a:xfrm>
            <a:off x="2089160" y="3797375"/>
            <a:ext cx="4006796" cy="188644"/>
          </a:xfrm>
          <a:prstGeom prst="rect">
            <a:avLst/>
          </a:prstGeom>
        </p:spPr>
        <p:txBody>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Job Title</a:t>
            </a:r>
          </a:p>
        </p:txBody>
      </p:sp>
      <p:sp>
        <p:nvSpPr>
          <p:cNvPr id="107" name="Text Placeholder 10">
            <a:extLst>
              <a:ext uri="{FF2B5EF4-FFF2-40B4-BE49-F238E27FC236}">
                <a16:creationId xmlns:a16="http://schemas.microsoft.com/office/drawing/2014/main" id="{01CFC982-46E0-4EA1-8D62-F5E87E137633}"/>
              </a:ext>
            </a:extLst>
          </p:cNvPr>
          <p:cNvSpPr>
            <a:spLocks noGrp="1"/>
          </p:cNvSpPr>
          <p:nvPr>
            <p:ph type="body" sz="quarter" idx="53" hasCustomPrompt="1"/>
          </p:nvPr>
        </p:nvSpPr>
        <p:spPr>
          <a:xfrm>
            <a:off x="2089160" y="3984118"/>
            <a:ext cx="4006796" cy="183693"/>
          </a:xfrm>
          <a:prstGeom prst="rect">
            <a:avLst/>
          </a:prstGeom>
        </p:spPr>
        <p:txBody>
          <a:bodyPr>
            <a:noAutofit/>
          </a:bodyPr>
          <a:lstStyle>
            <a:lvl1pPr marL="0" indent="0" algn="l">
              <a:buFontTx/>
              <a:buNone/>
              <a:defRPr sz="1200" b="0">
                <a:solidFill>
                  <a:schemeClr val="accent1"/>
                </a:solidFill>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Email</a:t>
            </a:r>
          </a:p>
        </p:txBody>
      </p:sp>
      <p:sp>
        <p:nvSpPr>
          <p:cNvPr id="108" name="Picture Placeholder 4">
            <a:extLst>
              <a:ext uri="{FF2B5EF4-FFF2-40B4-BE49-F238E27FC236}">
                <a16:creationId xmlns:a16="http://schemas.microsoft.com/office/drawing/2014/main" id="{147D3B37-6880-4542-B10E-D483D191CD13}"/>
              </a:ext>
            </a:extLst>
          </p:cNvPr>
          <p:cNvSpPr>
            <a:spLocks noGrp="1"/>
          </p:cNvSpPr>
          <p:nvPr>
            <p:ph type="pic" sz="quarter" idx="54"/>
          </p:nvPr>
        </p:nvSpPr>
        <p:spPr>
          <a:xfrm>
            <a:off x="6144411" y="3607208"/>
            <a:ext cx="1571825" cy="1302365"/>
          </a:xfrm>
          <a:prstGeom prst="rect">
            <a:avLst/>
          </a:prstGeom>
        </p:spPr>
        <p:txBody>
          <a:bodyPr/>
          <a:lstStyle>
            <a:lvl1pPr>
              <a:defRPr sz="1477">
                <a:latin typeface="Ubuntu" panose="020B0504030602030204" pitchFamily="34" charset="0"/>
                <a:cs typeface="Calibri Light" panose="020F0302020204030204" pitchFamily="34" charset="0"/>
              </a:defRPr>
            </a:lvl1pPr>
          </a:lstStyle>
          <a:p>
            <a:r>
              <a:rPr lang="en-US"/>
              <a:t>Click icon to add picture</a:t>
            </a:r>
          </a:p>
        </p:txBody>
      </p:sp>
      <p:sp>
        <p:nvSpPr>
          <p:cNvPr id="109" name="Text Placeholder 8">
            <a:extLst>
              <a:ext uri="{FF2B5EF4-FFF2-40B4-BE49-F238E27FC236}">
                <a16:creationId xmlns:a16="http://schemas.microsoft.com/office/drawing/2014/main" id="{B3E0FB5D-C0FB-4666-9591-321B5A32FFDC}"/>
              </a:ext>
            </a:extLst>
          </p:cNvPr>
          <p:cNvSpPr>
            <a:spLocks noGrp="1"/>
          </p:cNvSpPr>
          <p:nvPr>
            <p:ph type="body" sz="quarter" idx="55"/>
          </p:nvPr>
        </p:nvSpPr>
        <p:spPr>
          <a:xfrm>
            <a:off x="7764692" y="4216808"/>
            <a:ext cx="4006796" cy="692765"/>
          </a:xfrm>
          <a:prstGeom prst="rect">
            <a:avLst/>
          </a:prstGeom>
        </p:spPr>
        <p:txBody>
          <a:bodyPr>
            <a:normAutofit/>
          </a:bodyPr>
          <a:lstStyle>
            <a:lvl1pPr marL="0" indent="0">
              <a:buFontTx/>
              <a:buNone/>
              <a:defRPr sz="120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Click to edit Master text styles</a:t>
            </a:r>
          </a:p>
        </p:txBody>
      </p:sp>
      <p:sp>
        <p:nvSpPr>
          <p:cNvPr id="110" name="Text Placeholder 10">
            <a:extLst>
              <a:ext uri="{FF2B5EF4-FFF2-40B4-BE49-F238E27FC236}">
                <a16:creationId xmlns:a16="http://schemas.microsoft.com/office/drawing/2014/main" id="{382CB083-921E-4FCD-AD72-1B12521B526B}"/>
              </a:ext>
            </a:extLst>
          </p:cNvPr>
          <p:cNvSpPr>
            <a:spLocks noGrp="1"/>
          </p:cNvSpPr>
          <p:nvPr>
            <p:ph type="body" sz="quarter" idx="56" hasCustomPrompt="1"/>
          </p:nvPr>
        </p:nvSpPr>
        <p:spPr>
          <a:xfrm>
            <a:off x="7764736" y="3607203"/>
            <a:ext cx="4006796" cy="173008"/>
          </a:xfrm>
          <a:prstGeom prst="rect">
            <a:avLst/>
          </a:prstGeom>
        </p:spPr>
        <p:txBody>
          <a:bodyPr/>
          <a:lstStyle>
            <a:lvl1pPr marL="0" indent="0" algn="l">
              <a:buFontTx/>
              <a:buNone/>
              <a:defRPr sz="1200" b="1">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Name</a:t>
            </a:r>
          </a:p>
        </p:txBody>
      </p:sp>
      <p:sp>
        <p:nvSpPr>
          <p:cNvPr id="111" name="Text Placeholder 10">
            <a:extLst>
              <a:ext uri="{FF2B5EF4-FFF2-40B4-BE49-F238E27FC236}">
                <a16:creationId xmlns:a16="http://schemas.microsoft.com/office/drawing/2014/main" id="{62F8BEC7-85AD-4B9E-914F-FD4F969CCB89}"/>
              </a:ext>
            </a:extLst>
          </p:cNvPr>
          <p:cNvSpPr>
            <a:spLocks noGrp="1"/>
          </p:cNvSpPr>
          <p:nvPr>
            <p:ph type="body" sz="quarter" idx="57" hasCustomPrompt="1"/>
          </p:nvPr>
        </p:nvSpPr>
        <p:spPr>
          <a:xfrm>
            <a:off x="7764692" y="3797375"/>
            <a:ext cx="4006796" cy="188644"/>
          </a:xfrm>
          <a:prstGeom prst="rect">
            <a:avLst/>
          </a:prstGeom>
        </p:spPr>
        <p:txBody>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Job Title</a:t>
            </a:r>
          </a:p>
        </p:txBody>
      </p:sp>
      <p:sp>
        <p:nvSpPr>
          <p:cNvPr id="112" name="Text Placeholder 10">
            <a:extLst>
              <a:ext uri="{FF2B5EF4-FFF2-40B4-BE49-F238E27FC236}">
                <a16:creationId xmlns:a16="http://schemas.microsoft.com/office/drawing/2014/main" id="{024E3EF9-6E6E-4F7D-927F-183A7C56ACB8}"/>
              </a:ext>
            </a:extLst>
          </p:cNvPr>
          <p:cNvSpPr>
            <a:spLocks noGrp="1"/>
          </p:cNvSpPr>
          <p:nvPr>
            <p:ph type="body" sz="quarter" idx="58" hasCustomPrompt="1"/>
          </p:nvPr>
        </p:nvSpPr>
        <p:spPr>
          <a:xfrm>
            <a:off x="7764692" y="3984118"/>
            <a:ext cx="4006796" cy="183693"/>
          </a:xfrm>
          <a:prstGeom prst="rect">
            <a:avLst/>
          </a:prstGeom>
        </p:spPr>
        <p:txBody>
          <a:bodyPr>
            <a:noAutofit/>
          </a:bodyPr>
          <a:lstStyle>
            <a:lvl1pPr marL="0" indent="0" algn="l">
              <a:buFontTx/>
              <a:buNone/>
              <a:defRPr sz="1200" b="0">
                <a:solidFill>
                  <a:schemeClr val="accent1"/>
                </a:solidFill>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Email</a:t>
            </a:r>
          </a:p>
        </p:txBody>
      </p:sp>
      <p:sp>
        <p:nvSpPr>
          <p:cNvPr id="113" name="Picture Placeholder 4">
            <a:extLst>
              <a:ext uri="{FF2B5EF4-FFF2-40B4-BE49-F238E27FC236}">
                <a16:creationId xmlns:a16="http://schemas.microsoft.com/office/drawing/2014/main" id="{E55A8BFC-5968-467B-9CD7-2C555A9A3DB6}"/>
              </a:ext>
            </a:extLst>
          </p:cNvPr>
          <p:cNvSpPr>
            <a:spLocks noGrp="1"/>
          </p:cNvSpPr>
          <p:nvPr>
            <p:ph type="pic" sz="quarter" idx="59"/>
          </p:nvPr>
        </p:nvSpPr>
        <p:spPr>
          <a:xfrm>
            <a:off x="468837" y="4983891"/>
            <a:ext cx="1571825" cy="1302365"/>
          </a:xfrm>
          <a:prstGeom prst="rect">
            <a:avLst/>
          </a:prstGeom>
        </p:spPr>
        <p:txBody>
          <a:bodyPr/>
          <a:lstStyle>
            <a:lvl1pPr>
              <a:defRPr sz="1477">
                <a:latin typeface="Ubuntu" panose="020B0504030602030204" pitchFamily="34" charset="0"/>
                <a:cs typeface="Calibri Light" panose="020F0302020204030204" pitchFamily="34" charset="0"/>
              </a:defRPr>
            </a:lvl1pPr>
          </a:lstStyle>
          <a:p>
            <a:r>
              <a:rPr lang="en-US"/>
              <a:t>Click icon to add picture</a:t>
            </a:r>
          </a:p>
        </p:txBody>
      </p:sp>
      <p:sp>
        <p:nvSpPr>
          <p:cNvPr id="114" name="Text Placeholder 8">
            <a:extLst>
              <a:ext uri="{FF2B5EF4-FFF2-40B4-BE49-F238E27FC236}">
                <a16:creationId xmlns:a16="http://schemas.microsoft.com/office/drawing/2014/main" id="{B5D86142-B436-489E-A104-52C2DFA0BFF3}"/>
              </a:ext>
            </a:extLst>
          </p:cNvPr>
          <p:cNvSpPr>
            <a:spLocks noGrp="1"/>
          </p:cNvSpPr>
          <p:nvPr>
            <p:ph type="body" sz="quarter" idx="60"/>
          </p:nvPr>
        </p:nvSpPr>
        <p:spPr>
          <a:xfrm>
            <a:off x="2089115" y="5593491"/>
            <a:ext cx="4006796" cy="692765"/>
          </a:xfrm>
          <a:prstGeom prst="rect">
            <a:avLst/>
          </a:prstGeom>
        </p:spPr>
        <p:txBody>
          <a:bodyPr>
            <a:normAutofit/>
          </a:bodyPr>
          <a:lstStyle>
            <a:lvl1pPr marL="0" indent="0">
              <a:buFontTx/>
              <a:buNone/>
              <a:defRPr sz="120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Click to edit Master text styles</a:t>
            </a:r>
          </a:p>
        </p:txBody>
      </p:sp>
      <p:sp>
        <p:nvSpPr>
          <p:cNvPr id="115" name="Text Placeholder 10">
            <a:extLst>
              <a:ext uri="{FF2B5EF4-FFF2-40B4-BE49-F238E27FC236}">
                <a16:creationId xmlns:a16="http://schemas.microsoft.com/office/drawing/2014/main" id="{14AF4B9A-B544-4680-B4CE-44AD0DD3D9F3}"/>
              </a:ext>
            </a:extLst>
          </p:cNvPr>
          <p:cNvSpPr>
            <a:spLocks noGrp="1"/>
          </p:cNvSpPr>
          <p:nvPr>
            <p:ph type="body" sz="quarter" idx="61" hasCustomPrompt="1"/>
          </p:nvPr>
        </p:nvSpPr>
        <p:spPr>
          <a:xfrm>
            <a:off x="2089160" y="4983886"/>
            <a:ext cx="4006796" cy="173008"/>
          </a:xfrm>
          <a:prstGeom prst="rect">
            <a:avLst/>
          </a:prstGeom>
        </p:spPr>
        <p:txBody>
          <a:bodyPr/>
          <a:lstStyle>
            <a:lvl1pPr marL="0" indent="0" algn="l">
              <a:buFontTx/>
              <a:buNone/>
              <a:defRPr sz="1200" b="1">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Name</a:t>
            </a:r>
          </a:p>
        </p:txBody>
      </p:sp>
      <p:sp>
        <p:nvSpPr>
          <p:cNvPr id="116" name="Text Placeholder 10">
            <a:extLst>
              <a:ext uri="{FF2B5EF4-FFF2-40B4-BE49-F238E27FC236}">
                <a16:creationId xmlns:a16="http://schemas.microsoft.com/office/drawing/2014/main" id="{2C87004F-ECB8-46CC-8B1D-3AB441F8C431}"/>
              </a:ext>
            </a:extLst>
          </p:cNvPr>
          <p:cNvSpPr>
            <a:spLocks noGrp="1"/>
          </p:cNvSpPr>
          <p:nvPr>
            <p:ph type="body" sz="quarter" idx="62" hasCustomPrompt="1"/>
          </p:nvPr>
        </p:nvSpPr>
        <p:spPr>
          <a:xfrm>
            <a:off x="2089115" y="5174058"/>
            <a:ext cx="4006796" cy="188644"/>
          </a:xfrm>
          <a:prstGeom prst="rect">
            <a:avLst/>
          </a:prstGeom>
        </p:spPr>
        <p:txBody>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Job Title</a:t>
            </a:r>
          </a:p>
        </p:txBody>
      </p:sp>
      <p:sp>
        <p:nvSpPr>
          <p:cNvPr id="117" name="Text Placeholder 10">
            <a:extLst>
              <a:ext uri="{FF2B5EF4-FFF2-40B4-BE49-F238E27FC236}">
                <a16:creationId xmlns:a16="http://schemas.microsoft.com/office/drawing/2014/main" id="{C9D2E708-F97C-40F7-B55F-25B8E6E38C3E}"/>
              </a:ext>
            </a:extLst>
          </p:cNvPr>
          <p:cNvSpPr>
            <a:spLocks noGrp="1"/>
          </p:cNvSpPr>
          <p:nvPr>
            <p:ph type="body" sz="quarter" idx="63" hasCustomPrompt="1"/>
          </p:nvPr>
        </p:nvSpPr>
        <p:spPr>
          <a:xfrm>
            <a:off x="2089115" y="5360805"/>
            <a:ext cx="4006796" cy="183693"/>
          </a:xfrm>
          <a:prstGeom prst="rect">
            <a:avLst/>
          </a:prstGeom>
        </p:spPr>
        <p:txBody>
          <a:bodyPr>
            <a:noAutofit/>
          </a:bodyPr>
          <a:lstStyle>
            <a:lvl1pPr marL="0" indent="0" algn="l">
              <a:buFontTx/>
              <a:buNone/>
              <a:defRPr sz="1200" b="0">
                <a:solidFill>
                  <a:schemeClr val="accent1"/>
                </a:solidFill>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Email</a:t>
            </a:r>
          </a:p>
        </p:txBody>
      </p:sp>
      <p:sp>
        <p:nvSpPr>
          <p:cNvPr id="118" name="Picture Placeholder 4">
            <a:extLst>
              <a:ext uri="{FF2B5EF4-FFF2-40B4-BE49-F238E27FC236}">
                <a16:creationId xmlns:a16="http://schemas.microsoft.com/office/drawing/2014/main" id="{0BAF0A34-261D-4157-953F-282047B7768B}"/>
              </a:ext>
            </a:extLst>
          </p:cNvPr>
          <p:cNvSpPr>
            <a:spLocks noGrp="1"/>
          </p:cNvSpPr>
          <p:nvPr>
            <p:ph type="pic" sz="quarter" idx="64"/>
          </p:nvPr>
        </p:nvSpPr>
        <p:spPr>
          <a:xfrm>
            <a:off x="6144368" y="4983891"/>
            <a:ext cx="1571825" cy="1302365"/>
          </a:xfrm>
          <a:prstGeom prst="rect">
            <a:avLst/>
          </a:prstGeom>
        </p:spPr>
        <p:txBody>
          <a:bodyPr/>
          <a:lstStyle>
            <a:lvl1pPr>
              <a:defRPr sz="1477">
                <a:latin typeface="Ubuntu" panose="020B0504030602030204" pitchFamily="34" charset="0"/>
                <a:cs typeface="Calibri Light" panose="020F0302020204030204" pitchFamily="34" charset="0"/>
              </a:defRPr>
            </a:lvl1pPr>
          </a:lstStyle>
          <a:p>
            <a:r>
              <a:rPr lang="en-US"/>
              <a:t>Click icon to add picture</a:t>
            </a:r>
          </a:p>
        </p:txBody>
      </p:sp>
      <p:sp>
        <p:nvSpPr>
          <p:cNvPr id="119" name="Text Placeholder 8">
            <a:extLst>
              <a:ext uri="{FF2B5EF4-FFF2-40B4-BE49-F238E27FC236}">
                <a16:creationId xmlns:a16="http://schemas.microsoft.com/office/drawing/2014/main" id="{E77C0424-6789-4C35-B568-C42E7C620F86}"/>
              </a:ext>
            </a:extLst>
          </p:cNvPr>
          <p:cNvSpPr>
            <a:spLocks noGrp="1"/>
          </p:cNvSpPr>
          <p:nvPr>
            <p:ph type="body" sz="quarter" idx="65"/>
          </p:nvPr>
        </p:nvSpPr>
        <p:spPr>
          <a:xfrm>
            <a:off x="7764648" y="5593491"/>
            <a:ext cx="4006796" cy="692765"/>
          </a:xfrm>
          <a:prstGeom prst="rect">
            <a:avLst/>
          </a:prstGeom>
        </p:spPr>
        <p:txBody>
          <a:bodyPr>
            <a:normAutofit/>
          </a:bodyPr>
          <a:lstStyle>
            <a:lvl1pPr marL="0" indent="0">
              <a:buFontTx/>
              <a:buNone/>
              <a:defRPr sz="120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Click to edit Master text styles</a:t>
            </a:r>
          </a:p>
        </p:txBody>
      </p:sp>
      <p:sp>
        <p:nvSpPr>
          <p:cNvPr id="120" name="Text Placeholder 10">
            <a:extLst>
              <a:ext uri="{FF2B5EF4-FFF2-40B4-BE49-F238E27FC236}">
                <a16:creationId xmlns:a16="http://schemas.microsoft.com/office/drawing/2014/main" id="{C7EF8719-F1FE-4A91-A34D-0511095E1CEE}"/>
              </a:ext>
            </a:extLst>
          </p:cNvPr>
          <p:cNvSpPr>
            <a:spLocks noGrp="1"/>
          </p:cNvSpPr>
          <p:nvPr>
            <p:ph type="body" sz="quarter" idx="66" hasCustomPrompt="1"/>
          </p:nvPr>
        </p:nvSpPr>
        <p:spPr>
          <a:xfrm>
            <a:off x="7764692" y="4983886"/>
            <a:ext cx="4006796" cy="173008"/>
          </a:xfrm>
          <a:prstGeom prst="rect">
            <a:avLst/>
          </a:prstGeom>
        </p:spPr>
        <p:txBody>
          <a:bodyPr/>
          <a:lstStyle>
            <a:lvl1pPr marL="0" indent="0" algn="l">
              <a:buFontTx/>
              <a:buNone/>
              <a:defRPr sz="1200" b="1">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Name</a:t>
            </a:r>
          </a:p>
        </p:txBody>
      </p:sp>
      <p:sp>
        <p:nvSpPr>
          <p:cNvPr id="121" name="Text Placeholder 10">
            <a:extLst>
              <a:ext uri="{FF2B5EF4-FFF2-40B4-BE49-F238E27FC236}">
                <a16:creationId xmlns:a16="http://schemas.microsoft.com/office/drawing/2014/main" id="{F8F950DB-C090-4635-B28A-31BBF8B11CB6}"/>
              </a:ext>
            </a:extLst>
          </p:cNvPr>
          <p:cNvSpPr>
            <a:spLocks noGrp="1"/>
          </p:cNvSpPr>
          <p:nvPr>
            <p:ph type="body" sz="quarter" idx="67" hasCustomPrompt="1"/>
          </p:nvPr>
        </p:nvSpPr>
        <p:spPr>
          <a:xfrm>
            <a:off x="7764648" y="5174058"/>
            <a:ext cx="4006796" cy="188644"/>
          </a:xfrm>
          <a:prstGeom prst="rect">
            <a:avLst/>
          </a:prstGeom>
        </p:spPr>
        <p:txBody>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Job Title</a:t>
            </a:r>
          </a:p>
        </p:txBody>
      </p:sp>
      <p:sp>
        <p:nvSpPr>
          <p:cNvPr id="122" name="Text Placeholder 10">
            <a:extLst>
              <a:ext uri="{FF2B5EF4-FFF2-40B4-BE49-F238E27FC236}">
                <a16:creationId xmlns:a16="http://schemas.microsoft.com/office/drawing/2014/main" id="{4B212527-F0E0-44B6-9873-FC1B61D38A17}"/>
              </a:ext>
            </a:extLst>
          </p:cNvPr>
          <p:cNvSpPr>
            <a:spLocks noGrp="1"/>
          </p:cNvSpPr>
          <p:nvPr>
            <p:ph type="body" sz="quarter" idx="68" hasCustomPrompt="1"/>
          </p:nvPr>
        </p:nvSpPr>
        <p:spPr>
          <a:xfrm>
            <a:off x="7764648" y="5360805"/>
            <a:ext cx="4006796" cy="183693"/>
          </a:xfrm>
          <a:prstGeom prst="rect">
            <a:avLst/>
          </a:prstGeom>
        </p:spPr>
        <p:txBody>
          <a:bodyPr>
            <a:noAutofit/>
          </a:bodyPr>
          <a:lstStyle>
            <a:lvl1pPr marL="0" indent="0" algn="l">
              <a:buFontTx/>
              <a:buNone/>
              <a:defRPr sz="1200" b="0">
                <a:solidFill>
                  <a:schemeClr val="accent1"/>
                </a:solidFill>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Email</a:t>
            </a:r>
          </a:p>
        </p:txBody>
      </p:sp>
    </p:spTree>
    <p:extLst>
      <p:ext uri="{BB962C8B-B14F-4D97-AF65-F5344CB8AC3E}">
        <p14:creationId xmlns:p14="http://schemas.microsoft.com/office/powerpoint/2010/main" val="2718863105"/>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RE offices">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6747C96A-D580-4F5F-9058-6E2134F68507}"/>
              </a:ext>
            </a:extLst>
          </p:cNvPr>
          <p:cNvSpPr>
            <a:spLocks noGrp="1"/>
          </p:cNvSpPr>
          <p:nvPr>
            <p:ph type="body" sz="quarter" idx="31" hasCustomPrompt="1"/>
          </p:nvPr>
        </p:nvSpPr>
        <p:spPr>
          <a:xfrm>
            <a:off x="468974" y="901291"/>
            <a:ext cx="2097818" cy="193747"/>
          </a:xfrm>
          <a:prstGeom prst="rect">
            <a:avLst/>
          </a:prstGeom>
        </p:spPr>
        <p:txBody>
          <a:bodyPr/>
          <a:lstStyle>
            <a:lvl1pPr marL="0" indent="0" algn="l">
              <a:buFontTx/>
              <a:buNone/>
              <a:defRPr sz="1200" b="1">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Office Location</a:t>
            </a:r>
          </a:p>
        </p:txBody>
      </p:sp>
      <p:sp>
        <p:nvSpPr>
          <p:cNvPr id="8" name="Text Placeholder 10">
            <a:extLst>
              <a:ext uri="{FF2B5EF4-FFF2-40B4-BE49-F238E27FC236}">
                <a16:creationId xmlns:a16="http://schemas.microsoft.com/office/drawing/2014/main" id="{2D274EF5-7610-4DEA-820A-2807D9AA52EA}"/>
              </a:ext>
            </a:extLst>
          </p:cNvPr>
          <p:cNvSpPr>
            <a:spLocks noGrp="1"/>
          </p:cNvSpPr>
          <p:nvPr>
            <p:ph type="body" sz="quarter" idx="32" hasCustomPrompt="1"/>
          </p:nvPr>
        </p:nvSpPr>
        <p:spPr>
          <a:xfrm>
            <a:off x="468926" y="1121621"/>
            <a:ext cx="3386220" cy="246707"/>
          </a:xfrm>
          <a:prstGeom prst="rect">
            <a:avLst/>
          </a:prstGeom>
        </p:spPr>
        <p:txBody>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nb-NO"/>
              <a:t>A</a:t>
            </a:r>
            <a:r>
              <a:rPr lang="en-US" err="1"/>
              <a:t>ddress</a:t>
            </a:r>
            <a:endParaRPr lang="en-US"/>
          </a:p>
        </p:txBody>
      </p:sp>
      <p:sp>
        <p:nvSpPr>
          <p:cNvPr id="9" name="Text Placeholder 10">
            <a:extLst>
              <a:ext uri="{FF2B5EF4-FFF2-40B4-BE49-F238E27FC236}">
                <a16:creationId xmlns:a16="http://schemas.microsoft.com/office/drawing/2014/main" id="{0E28B84B-2686-490A-94AB-187204E709B5}"/>
              </a:ext>
            </a:extLst>
          </p:cNvPr>
          <p:cNvSpPr>
            <a:spLocks noGrp="1"/>
          </p:cNvSpPr>
          <p:nvPr>
            <p:ph type="body" sz="quarter" idx="33" hasCustomPrompt="1"/>
          </p:nvPr>
        </p:nvSpPr>
        <p:spPr>
          <a:xfrm>
            <a:off x="468926" y="1598994"/>
            <a:ext cx="3386220" cy="215895"/>
          </a:xfrm>
          <a:prstGeom prst="rect">
            <a:avLst/>
          </a:prstGeom>
        </p:spPr>
        <p:txBody>
          <a:bodyPr>
            <a:noAutofit/>
          </a:bodyPr>
          <a:lstStyle>
            <a:lvl1pPr marL="0" indent="0" algn="l">
              <a:buFontTx/>
              <a:buNone/>
              <a:defRPr sz="1200" b="0">
                <a:solidFill>
                  <a:schemeClr val="accent1"/>
                </a:solidFill>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Email</a:t>
            </a:r>
          </a:p>
        </p:txBody>
      </p:sp>
      <p:sp>
        <p:nvSpPr>
          <p:cNvPr id="10" name="Text Placeholder 10">
            <a:extLst>
              <a:ext uri="{FF2B5EF4-FFF2-40B4-BE49-F238E27FC236}">
                <a16:creationId xmlns:a16="http://schemas.microsoft.com/office/drawing/2014/main" id="{4FD6171E-B00B-4E4C-8A2B-FCE32961740B}"/>
              </a:ext>
            </a:extLst>
          </p:cNvPr>
          <p:cNvSpPr>
            <a:spLocks noGrp="1"/>
          </p:cNvSpPr>
          <p:nvPr>
            <p:ph type="body" sz="quarter" idx="34" hasCustomPrompt="1"/>
          </p:nvPr>
        </p:nvSpPr>
        <p:spPr>
          <a:xfrm>
            <a:off x="468926" y="1368325"/>
            <a:ext cx="3386220" cy="230670"/>
          </a:xfrm>
          <a:prstGeom prst="rect">
            <a:avLst/>
          </a:prstGeom>
        </p:spPr>
        <p:txBody>
          <a:bodyPr>
            <a:noAutofit/>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nb-NO"/>
              <a:t>Phone</a:t>
            </a:r>
            <a:endParaRPr lang="en-US"/>
          </a:p>
        </p:txBody>
      </p:sp>
      <p:sp>
        <p:nvSpPr>
          <p:cNvPr id="33" name="Text Placeholder 10">
            <a:extLst>
              <a:ext uri="{FF2B5EF4-FFF2-40B4-BE49-F238E27FC236}">
                <a16:creationId xmlns:a16="http://schemas.microsoft.com/office/drawing/2014/main" id="{FF9C1030-18E8-4C78-BEAB-E2E21111A291}"/>
              </a:ext>
            </a:extLst>
          </p:cNvPr>
          <p:cNvSpPr>
            <a:spLocks noGrp="1"/>
          </p:cNvSpPr>
          <p:nvPr>
            <p:ph type="body" sz="quarter" idx="35" hasCustomPrompt="1"/>
          </p:nvPr>
        </p:nvSpPr>
        <p:spPr>
          <a:xfrm>
            <a:off x="468974" y="1981063"/>
            <a:ext cx="2097818" cy="189445"/>
          </a:xfrm>
          <a:prstGeom prst="rect">
            <a:avLst/>
          </a:prstGeom>
        </p:spPr>
        <p:txBody>
          <a:bodyPr/>
          <a:lstStyle>
            <a:lvl1pPr marL="0" indent="0" algn="l">
              <a:buFontTx/>
              <a:buNone/>
              <a:defRPr sz="1200" b="1">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Office Location</a:t>
            </a:r>
          </a:p>
        </p:txBody>
      </p:sp>
      <p:sp>
        <p:nvSpPr>
          <p:cNvPr id="34" name="Text Placeholder 10">
            <a:extLst>
              <a:ext uri="{FF2B5EF4-FFF2-40B4-BE49-F238E27FC236}">
                <a16:creationId xmlns:a16="http://schemas.microsoft.com/office/drawing/2014/main" id="{1E8A7E42-983E-4672-A953-665C2F595EBD}"/>
              </a:ext>
            </a:extLst>
          </p:cNvPr>
          <p:cNvSpPr>
            <a:spLocks noGrp="1"/>
          </p:cNvSpPr>
          <p:nvPr>
            <p:ph type="body" sz="quarter" idx="36" hasCustomPrompt="1"/>
          </p:nvPr>
        </p:nvSpPr>
        <p:spPr>
          <a:xfrm>
            <a:off x="468926" y="2197094"/>
            <a:ext cx="3386220" cy="239130"/>
          </a:xfrm>
          <a:prstGeom prst="rect">
            <a:avLst/>
          </a:prstGeom>
        </p:spPr>
        <p:txBody>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nb-NO"/>
              <a:t>A</a:t>
            </a:r>
            <a:r>
              <a:rPr lang="en-US" err="1"/>
              <a:t>ddress</a:t>
            </a:r>
            <a:endParaRPr lang="en-US"/>
          </a:p>
        </p:txBody>
      </p:sp>
      <p:sp>
        <p:nvSpPr>
          <p:cNvPr id="35" name="Text Placeholder 10">
            <a:extLst>
              <a:ext uri="{FF2B5EF4-FFF2-40B4-BE49-F238E27FC236}">
                <a16:creationId xmlns:a16="http://schemas.microsoft.com/office/drawing/2014/main" id="{705BDEAA-AAFA-4D0D-9C78-DDCF2070A62A}"/>
              </a:ext>
            </a:extLst>
          </p:cNvPr>
          <p:cNvSpPr>
            <a:spLocks noGrp="1"/>
          </p:cNvSpPr>
          <p:nvPr>
            <p:ph type="body" sz="quarter" idx="37" hasCustomPrompt="1"/>
          </p:nvPr>
        </p:nvSpPr>
        <p:spPr>
          <a:xfrm>
            <a:off x="468926" y="2682453"/>
            <a:ext cx="3386220" cy="205353"/>
          </a:xfrm>
          <a:prstGeom prst="rect">
            <a:avLst/>
          </a:prstGeom>
        </p:spPr>
        <p:txBody>
          <a:bodyPr>
            <a:noAutofit/>
          </a:bodyPr>
          <a:lstStyle>
            <a:lvl1pPr marL="0" indent="0" algn="l">
              <a:buFontTx/>
              <a:buNone/>
              <a:defRPr sz="1200" b="0">
                <a:solidFill>
                  <a:schemeClr val="accent1"/>
                </a:solidFill>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Email</a:t>
            </a:r>
          </a:p>
        </p:txBody>
      </p:sp>
      <p:sp>
        <p:nvSpPr>
          <p:cNvPr id="36" name="Text Placeholder 10">
            <a:extLst>
              <a:ext uri="{FF2B5EF4-FFF2-40B4-BE49-F238E27FC236}">
                <a16:creationId xmlns:a16="http://schemas.microsoft.com/office/drawing/2014/main" id="{E45CF954-861E-4B97-A86E-4B8311809505}"/>
              </a:ext>
            </a:extLst>
          </p:cNvPr>
          <p:cNvSpPr>
            <a:spLocks noGrp="1"/>
          </p:cNvSpPr>
          <p:nvPr>
            <p:ph type="body" sz="quarter" idx="38" hasCustomPrompt="1"/>
          </p:nvPr>
        </p:nvSpPr>
        <p:spPr>
          <a:xfrm>
            <a:off x="468926" y="2443796"/>
            <a:ext cx="3386220" cy="231296"/>
          </a:xfrm>
          <a:prstGeom prst="rect">
            <a:avLst/>
          </a:prstGeom>
        </p:spPr>
        <p:txBody>
          <a:bodyPr>
            <a:noAutofit/>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nb-NO"/>
              <a:t>Phone</a:t>
            </a:r>
            <a:endParaRPr lang="en-US"/>
          </a:p>
        </p:txBody>
      </p:sp>
      <p:sp>
        <p:nvSpPr>
          <p:cNvPr id="37" name="Text Placeholder 10">
            <a:extLst>
              <a:ext uri="{FF2B5EF4-FFF2-40B4-BE49-F238E27FC236}">
                <a16:creationId xmlns:a16="http://schemas.microsoft.com/office/drawing/2014/main" id="{FF4064EE-99FE-4359-A35B-447118CE1FAB}"/>
              </a:ext>
            </a:extLst>
          </p:cNvPr>
          <p:cNvSpPr>
            <a:spLocks noGrp="1"/>
          </p:cNvSpPr>
          <p:nvPr>
            <p:ph type="body" sz="quarter" idx="39" hasCustomPrompt="1"/>
          </p:nvPr>
        </p:nvSpPr>
        <p:spPr>
          <a:xfrm>
            <a:off x="3930025" y="905593"/>
            <a:ext cx="2097818" cy="189445"/>
          </a:xfrm>
          <a:prstGeom prst="rect">
            <a:avLst/>
          </a:prstGeom>
        </p:spPr>
        <p:txBody>
          <a:bodyPr/>
          <a:lstStyle>
            <a:lvl1pPr marL="0" indent="0" algn="l">
              <a:buFontTx/>
              <a:buNone/>
              <a:defRPr sz="1200" b="1">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Office Location</a:t>
            </a:r>
          </a:p>
        </p:txBody>
      </p:sp>
      <p:sp>
        <p:nvSpPr>
          <p:cNvPr id="38" name="Text Placeholder 10">
            <a:extLst>
              <a:ext uri="{FF2B5EF4-FFF2-40B4-BE49-F238E27FC236}">
                <a16:creationId xmlns:a16="http://schemas.microsoft.com/office/drawing/2014/main" id="{BD81636C-FE3C-4B46-B988-7E444EB5437B}"/>
              </a:ext>
            </a:extLst>
          </p:cNvPr>
          <p:cNvSpPr>
            <a:spLocks noGrp="1"/>
          </p:cNvSpPr>
          <p:nvPr>
            <p:ph type="body" sz="quarter" idx="40" hasCustomPrompt="1"/>
          </p:nvPr>
        </p:nvSpPr>
        <p:spPr>
          <a:xfrm>
            <a:off x="3929975" y="1124685"/>
            <a:ext cx="3289445" cy="227596"/>
          </a:xfrm>
          <a:prstGeom prst="rect">
            <a:avLst/>
          </a:prstGeom>
        </p:spPr>
        <p:txBody>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nb-NO"/>
              <a:t>A</a:t>
            </a:r>
            <a:r>
              <a:rPr lang="en-US" err="1"/>
              <a:t>ddress</a:t>
            </a:r>
            <a:endParaRPr lang="en-US"/>
          </a:p>
        </p:txBody>
      </p:sp>
      <p:sp>
        <p:nvSpPr>
          <p:cNvPr id="39" name="Text Placeholder 10">
            <a:extLst>
              <a:ext uri="{FF2B5EF4-FFF2-40B4-BE49-F238E27FC236}">
                <a16:creationId xmlns:a16="http://schemas.microsoft.com/office/drawing/2014/main" id="{307C38EC-1FA9-4EFC-8222-4375A15BB6AB}"/>
              </a:ext>
            </a:extLst>
          </p:cNvPr>
          <p:cNvSpPr>
            <a:spLocks noGrp="1"/>
          </p:cNvSpPr>
          <p:nvPr>
            <p:ph type="body" sz="quarter" idx="41" hasCustomPrompt="1"/>
          </p:nvPr>
        </p:nvSpPr>
        <p:spPr>
          <a:xfrm>
            <a:off x="3929975" y="1615032"/>
            <a:ext cx="3289445" cy="199857"/>
          </a:xfrm>
          <a:prstGeom prst="rect">
            <a:avLst/>
          </a:prstGeom>
        </p:spPr>
        <p:txBody>
          <a:bodyPr>
            <a:noAutofit/>
          </a:bodyPr>
          <a:lstStyle>
            <a:lvl1pPr marL="0" indent="0" algn="l">
              <a:buFontTx/>
              <a:buNone/>
              <a:defRPr sz="1200" b="0">
                <a:solidFill>
                  <a:schemeClr val="accent1"/>
                </a:solidFill>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Email</a:t>
            </a:r>
          </a:p>
        </p:txBody>
      </p:sp>
      <p:sp>
        <p:nvSpPr>
          <p:cNvPr id="40" name="Text Placeholder 10">
            <a:extLst>
              <a:ext uri="{FF2B5EF4-FFF2-40B4-BE49-F238E27FC236}">
                <a16:creationId xmlns:a16="http://schemas.microsoft.com/office/drawing/2014/main" id="{A84AEF4E-1AAA-480A-9FC4-8BE1F7171F8C}"/>
              </a:ext>
            </a:extLst>
          </p:cNvPr>
          <p:cNvSpPr>
            <a:spLocks noGrp="1"/>
          </p:cNvSpPr>
          <p:nvPr>
            <p:ph type="body" sz="quarter" idx="42" hasCustomPrompt="1"/>
          </p:nvPr>
        </p:nvSpPr>
        <p:spPr>
          <a:xfrm>
            <a:off x="3929975" y="1371397"/>
            <a:ext cx="3289445" cy="227597"/>
          </a:xfrm>
          <a:prstGeom prst="rect">
            <a:avLst/>
          </a:prstGeom>
        </p:spPr>
        <p:txBody>
          <a:bodyPr>
            <a:noAutofit/>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nb-NO"/>
              <a:t>Phone</a:t>
            </a:r>
            <a:endParaRPr lang="en-US"/>
          </a:p>
        </p:txBody>
      </p:sp>
      <p:sp>
        <p:nvSpPr>
          <p:cNvPr id="41" name="Text Placeholder 10">
            <a:extLst>
              <a:ext uri="{FF2B5EF4-FFF2-40B4-BE49-F238E27FC236}">
                <a16:creationId xmlns:a16="http://schemas.microsoft.com/office/drawing/2014/main" id="{15223BE7-89D7-4187-9A8B-0EAEBCE46265}"/>
              </a:ext>
            </a:extLst>
          </p:cNvPr>
          <p:cNvSpPr>
            <a:spLocks noGrp="1"/>
          </p:cNvSpPr>
          <p:nvPr>
            <p:ph type="body" sz="quarter" idx="43" hasCustomPrompt="1"/>
          </p:nvPr>
        </p:nvSpPr>
        <p:spPr>
          <a:xfrm>
            <a:off x="3930025" y="1981063"/>
            <a:ext cx="2097818" cy="216030"/>
          </a:xfrm>
          <a:prstGeom prst="rect">
            <a:avLst/>
          </a:prstGeom>
        </p:spPr>
        <p:txBody>
          <a:bodyPr/>
          <a:lstStyle>
            <a:lvl1pPr marL="0" indent="0" algn="l">
              <a:buFontTx/>
              <a:buNone/>
              <a:defRPr sz="1200" b="1">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Office Location</a:t>
            </a:r>
          </a:p>
        </p:txBody>
      </p:sp>
      <p:sp>
        <p:nvSpPr>
          <p:cNvPr id="42" name="Text Placeholder 10">
            <a:extLst>
              <a:ext uri="{FF2B5EF4-FFF2-40B4-BE49-F238E27FC236}">
                <a16:creationId xmlns:a16="http://schemas.microsoft.com/office/drawing/2014/main" id="{B9B30DB5-FB27-4C8D-AFAB-C117FD2FC402}"/>
              </a:ext>
            </a:extLst>
          </p:cNvPr>
          <p:cNvSpPr>
            <a:spLocks noGrp="1"/>
          </p:cNvSpPr>
          <p:nvPr>
            <p:ph type="body" sz="quarter" idx="44" hasCustomPrompt="1"/>
          </p:nvPr>
        </p:nvSpPr>
        <p:spPr>
          <a:xfrm>
            <a:off x="3929975" y="2200156"/>
            <a:ext cx="3289445" cy="243639"/>
          </a:xfrm>
          <a:prstGeom prst="rect">
            <a:avLst/>
          </a:prstGeom>
        </p:spPr>
        <p:txBody>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nb-NO"/>
              <a:t>A</a:t>
            </a:r>
            <a:r>
              <a:rPr lang="en-US" err="1"/>
              <a:t>ddress</a:t>
            </a:r>
            <a:endParaRPr lang="en-US"/>
          </a:p>
        </p:txBody>
      </p:sp>
      <p:sp>
        <p:nvSpPr>
          <p:cNvPr id="43" name="Text Placeholder 10">
            <a:extLst>
              <a:ext uri="{FF2B5EF4-FFF2-40B4-BE49-F238E27FC236}">
                <a16:creationId xmlns:a16="http://schemas.microsoft.com/office/drawing/2014/main" id="{9F434764-34CB-4478-907B-E2A40BB2EB31}"/>
              </a:ext>
            </a:extLst>
          </p:cNvPr>
          <p:cNvSpPr>
            <a:spLocks noGrp="1"/>
          </p:cNvSpPr>
          <p:nvPr>
            <p:ph type="body" sz="quarter" idx="45" hasCustomPrompt="1"/>
          </p:nvPr>
        </p:nvSpPr>
        <p:spPr>
          <a:xfrm>
            <a:off x="3929975" y="2685008"/>
            <a:ext cx="3289445" cy="205353"/>
          </a:xfrm>
          <a:prstGeom prst="rect">
            <a:avLst/>
          </a:prstGeom>
        </p:spPr>
        <p:txBody>
          <a:bodyPr>
            <a:noAutofit/>
          </a:bodyPr>
          <a:lstStyle>
            <a:lvl1pPr marL="0" indent="0" algn="l">
              <a:buFontTx/>
              <a:buNone/>
              <a:defRPr sz="1200" b="0">
                <a:solidFill>
                  <a:schemeClr val="accent1"/>
                </a:solidFill>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Email</a:t>
            </a:r>
          </a:p>
        </p:txBody>
      </p:sp>
      <p:sp>
        <p:nvSpPr>
          <p:cNvPr id="44" name="Text Placeholder 10">
            <a:extLst>
              <a:ext uri="{FF2B5EF4-FFF2-40B4-BE49-F238E27FC236}">
                <a16:creationId xmlns:a16="http://schemas.microsoft.com/office/drawing/2014/main" id="{40AA03BB-C249-442E-8B8D-268DF9D935A2}"/>
              </a:ext>
            </a:extLst>
          </p:cNvPr>
          <p:cNvSpPr>
            <a:spLocks noGrp="1"/>
          </p:cNvSpPr>
          <p:nvPr>
            <p:ph type="body" sz="quarter" idx="46" hasCustomPrompt="1"/>
          </p:nvPr>
        </p:nvSpPr>
        <p:spPr>
          <a:xfrm>
            <a:off x="3929975" y="2446859"/>
            <a:ext cx="3289445" cy="231296"/>
          </a:xfrm>
          <a:prstGeom prst="rect">
            <a:avLst/>
          </a:prstGeom>
        </p:spPr>
        <p:txBody>
          <a:bodyPr>
            <a:noAutofit/>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nb-NO"/>
              <a:t>Phone</a:t>
            </a:r>
            <a:endParaRPr lang="en-US"/>
          </a:p>
        </p:txBody>
      </p:sp>
      <p:sp>
        <p:nvSpPr>
          <p:cNvPr id="45" name="Text Placeholder 10">
            <a:extLst>
              <a:ext uri="{FF2B5EF4-FFF2-40B4-BE49-F238E27FC236}">
                <a16:creationId xmlns:a16="http://schemas.microsoft.com/office/drawing/2014/main" id="{F066C49B-77BE-4C5D-938A-121627951A3B}"/>
              </a:ext>
            </a:extLst>
          </p:cNvPr>
          <p:cNvSpPr>
            <a:spLocks noGrp="1"/>
          </p:cNvSpPr>
          <p:nvPr>
            <p:ph type="body" sz="quarter" idx="47" hasCustomPrompt="1"/>
          </p:nvPr>
        </p:nvSpPr>
        <p:spPr>
          <a:xfrm>
            <a:off x="7294298" y="901291"/>
            <a:ext cx="2097818" cy="189445"/>
          </a:xfrm>
          <a:prstGeom prst="rect">
            <a:avLst/>
          </a:prstGeom>
        </p:spPr>
        <p:txBody>
          <a:bodyPr/>
          <a:lstStyle>
            <a:lvl1pPr marL="0" indent="0" algn="l">
              <a:buFontTx/>
              <a:buNone/>
              <a:defRPr sz="1200" b="1">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Office Location</a:t>
            </a:r>
          </a:p>
        </p:txBody>
      </p:sp>
      <p:sp>
        <p:nvSpPr>
          <p:cNvPr id="46" name="Text Placeholder 10">
            <a:extLst>
              <a:ext uri="{FF2B5EF4-FFF2-40B4-BE49-F238E27FC236}">
                <a16:creationId xmlns:a16="http://schemas.microsoft.com/office/drawing/2014/main" id="{484BE85C-9D74-4769-A526-A5C430EBBD0B}"/>
              </a:ext>
            </a:extLst>
          </p:cNvPr>
          <p:cNvSpPr>
            <a:spLocks noGrp="1"/>
          </p:cNvSpPr>
          <p:nvPr>
            <p:ph type="body" sz="quarter" idx="48" hasCustomPrompt="1"/>
          </p:nvPr>
        </p:nvSpPr>
        <p:spPr>
          <a:xfrm>
            <a:off x="7294250" y="1117323"/>
            <a:ext cx="3386220" cy="246707"/>
          </a:xfrm>
          <a:prstGeom prst="rect">
            <a:avLst/>
          </a:prstGeom>
        </p:spPr>
        <p:txBody>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nb-NO"/>
              <a:t>A</a:t>
            </a:r>
            <a:r>
              <a:rPr lang="en-US" err="1"/>
              <a:t>ddress</a:t>
            </a:r>
            <a:endParaRPr lang="en-US"/>
          </a:p>
        </p:txBody>
      </p:sp>
      <p:sp>
        <p:nvSpPr>
          <p:cNvPr id="47" name="Text Placeholder 10">
            <a:extLst>
              <a:ext uri="{FF2B5EF4-FFF2-40B4-BE49-F238E27FC236}">
                <a16:creationId xmlns:a16="http://schemas.microsoft.com/office/drawing/2014/main" id="{A69BAAE4-B77F-4839-9404-DAD45AE1310B}"/>
              </a:ext>
            </a:extLst>
          </p:cNvPr>
          <p:cNvSpPr>
            <a:spLocks noGrp="1"/>
          </p:cNvSpPr>
          <p:nvPr>
            <p:ph type="body" sz="quarter" idx="49" hasCustomPrompt="1"/>
          </p:nvPr>
        </p:nvSpPr>
        <p:spPr>
          <a:xfrm>
            <a:off x="7294250" y="1602683"/>
            <a:ext cx="3386220" cy="205353"/>
          </a:xfrm>
          <a:prstGeom prst="rect">
            <a:avLst/>
          </a:prstGeom>
        </p:spPr>
        <p:txBody>
          <a:bodyPr>
            <a:noAutofit/>
          </a:bodyPr>
          <a:lstStyle>
            <a:lvl1pPr marL="0" indent="0" algn="l">
              <a:buFontTx/>
              <a:buNone/>
              <a:defRPr sz="1200" b="0">
                <a:solidFill>
                  <a:schemeClr val="accent1"/>
                </a:solidFill>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Email</a:t>
            </a:r>
          </a:p>
        </p:txBody>
      </p:sp>
      <p:sp>
        <p:nvSpPr>
          <p:cNvPr id="48" name="Text Placeholder 10">
            <a:extLst>
              <a:ext uri="{FF2B5EF4-FFF2-40B4-BE49-F238E27FC236}">
                <a16:creationId xmlns:a16="http://schemas.microsoft.com/office/drawing/2014/main" id="{70D79E3D-CE32-42E8-BDC2-28D3118183C0}"/>
              </a:ext>
            </a:extLst>
          </p:cNvPr>
          <p:cNvSpPr>
            <a:spLocks noGrp="1"/>
          </p:cNvSpPr>
          <p:nvPr>
            <p:ph type="body" sz="quarter" idx="50" hasCustomPrompt="1"/>
          </p:nvPr>
        </p:nvSpPr>
        <p:spPr>
          <a:xfrm>
            <a:off x="7294250" y="1364026"/>
            <a:ext cx="3386220" cy="246708"/>
          </a:xfrm>
          <a:prstGeom prst="rect">
            <a:avLst/>
          </a:prstGeom>
        </p:spPr>
        <p:txBody>
          <a:bodyPr>
            <a:noAutofit/>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nb-NO"/>
              <a:t>Phone</a:t>
            </a:r>
            <a:endParaRPr lang="en-US"/>
          </a:p>
        </p:txBody>
      </p:sp>
      <p:sp>
        <p:nvSpPr>
          <p:cNvPr id="49" name="Text Placeholder 10">
            <a:extLst>
              <a:ext uri="{FF2B5EF4-FFF2-40B4-BE49-F238E27FC236}">
                <a16:creationId xmlns:a16="http://schemas.microsoft.com/office/drawing/2014/main" id="{126DDD1B-8234-4192-9825-1015BFDD40C3}"/>
              </a:ext>
            </a:extLst>
          </p:cNvPr>
          <p:cNvSpPr>
            <a:spLocks noGrp="1"/>
          </p:cNvSpPr>
          <p:nvPr>
            <p:ph type="body" sz="quarter" idx="51" hasCustomPrompt="1"/>
          </p:nvPr>
        </p:nvSpPr>
        <p:spPr>
          <a:xfrm>
            <a:off x="7294298" y="1976763"/>
            <a:ext cx="2097818" cy="205354"/>
          </a:xfrm>
          <a:prstGeom prst="rect">
            <a:avLst/>
          </a:prstGeom>
        </p:spPr>
        <p:txBody>
          <a:bodyPr/>
          <a:lstStyle>
            <a:lvl1pPr marL="0" indent="0" algn="l">
              <a:buFontTx/>
              <a:buNone/>
              <a:defRPr sz="1200" b="1">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Office Location</a:t>
            </a:r>
          </a:p>
        </p:txBody>
      </p:sp>
      <p:sp>
        <p:nvSpPr>
          <p:cNvPr id="50" name="Text Placeholder 10">
            <a:extLst>
              <a:ext uri="{FF2B5EF4-FFF2-40B4-BE49-F238E27FC236}">
                <a16:creationId xmlns:a16="http://schemas.microsoft.com/office/drawing/2014/main" id="{8B1F3A77-A06D-466F-840A-C19D8593CBEA}"/>
              </a:ext>
            </a:extLst>
          </p:cNvPr>
          <p:cNvSpPr>
            <a:spLocks noGrp="1"/>
          </p:cNvSpPr>
          <p:nvPr>
            <p:ph type="body" sz="quarter" idx="52" hasCustomPrompt="1"/>
          </p:nvPr>
        </p:nvSpPr>
        <p:spPr>
          <a:xfrm>
            <a:off x="7294250" y="2195863"/>
            <a:ext cx="3386220" cy="243639"/>
          </a:xfrm>
          <a:prstGeom prst="rect">
            <a:avLst/>
          </a:prstGeom>
        </p:spPr>
        <p:txBody>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nb-NO"/>
              <a:t>A</a:t>
            </a:r>
            <a:r>
              <a:rPr lang="en-US" err="1"/>
              <a:t>ddress</a:t>
            </a:r>
            <a:endParaRPr lang="en-US"/>
          </a:p>
        </p:txBody>
      </p:sp>
      <p:sp>
        <p:nvSpPr>
          <p:cNvPr id="51" name="Text Placeholder 10">
            <a:extLst>
              <a:ext uri="{FF2B5EF4-FFF2-40B4-BE49-F238E27FC236}">
                <a16:creationId xmlns:a16="http://schemas.microsoft.com/office/drawing/2014/main" id="{A9B582DD-4F7C-4728-86C2-05779D93D24E}"/>
              </a:ext>
            </a:extLst>
          </p:cNvPr>
          <p:cNvSpPr>
            <a:spLocks noGrp="1"/>
          </p:cNvSpPr>
          <p:nvPr>
            <p:ph type="body" sz="quarter" idx="53" hasCustomPrompt="1"/>
          </p:nvPr>
        </p:nvSpPr>
        <p:spPr>
          <a:xfrm>
            <a:off x="7294250" y="2678155"/>
            <a:ext cx="3386220" cy="212206"/>
          </a:xfrm>
          <a:prstGeom prst="rect">
            <a:avLst/>
          </a:prstGeom>
        </p:spPr>
        <p:txBody>
          <a:bodyPr>
            <a:noAutofit/>
          </a:bodyPr>
          <a:lstStyle>
            <a:lvl1pPr marL="0" indent="0" algn="l">
              <a:buFontTx/>
              <a:buNone/>
              <a:defRPr sz="1200" b="0">
                <a:solidFill>
                  <a:schemeClr val="accent1"/>
                </a:solidFill>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en-US"/>
              <a:t>Email</a:t>
            </a:r>
          </a:p>
        </p:txBody>
      </p:sp>
      <p:sp>
        <p:nvSpPr>
          <p:cNvPr id="52" name="Text Placeholder 10">
            <a:extLst>
              <a:ext uri="{FF2B5EF4-FFF2-40B4-BE49-F238E27FC236}">
                <a16:creationId xmlns:a16="http://schemas.microsoft.com/office/drawing/2014/main" id="{A81CD52A-0F0D-4613-90DA-50ACA9D3801E}"/>
              </a:ext>
            </a:extLst>
          </p:cNvPr>
          <p:cNvSpPr>
            <a:spLocks noGrp="1"/>
          </p:cNvSpPr>
          <p:nvPr>
            <p:ph type="body" sz="quarter" idx="54" hasCustomPrompt="1"/>
          </p:nvPr>
        </p:nvSpPr>
        <p:spPr>
          <a:xfrm>
            <a:off x="7294250" y="2439498"/>
            <a:ext cx="3386220" cy="231296"/>
          </a:xfrm>
          <a:prstGeom prst="rect">
            <a:avLst/>
          </a:prstGeom>
        </p:spPr>
        <p:txBody>
          <a:bodyPr>
            <a:noAutofit/>
          </a:bodyPr>
          <a:lstStyle>
            <a:lvl1pPr marL="0" indent="0" algn="l">
              <a:buFontTx/>
              <a:buNone/>
              <a:defRPr sz="1200" b="0">
                <a:latin typeface="Ubuntu" panose="020B0504030602030204" pitchFamily="34" charset="0"/>
                <a:cs typeface="Calibri Light" panose="020F0302020204030204" pitchFamily="34" charset="0"/>
              </a:defRPr>
            </a:lvl1pPr>
            <a:lvl2pPr marL="389549" indent="0">
              <a:buFontTx/>
              <a:buNone/>
              <a:defRPr sz="1231">
                <a:latin typeface="Calibri Light" panose="020F0302020204030204" pitchFamily="34" charset="0"/>
                <a:cs typeface="Calibri Light" panose="020F0302020204030204" pitchFamily="34" charset="0"/>
              </a:defRPr>
            </a:lvl2pPr>
            <a:lvl3pPr marL="779099" indent="0">
              <a:buFontTx/>
              <a:buNone/>
              <a:defRPr sz="1231">
                <a:latin typeface="Calibri Light" panose="020F0302020204030204" pitchFamily="34" charset="0"/>
                <a:cs typeface="Calibri Light" panose="020F0302020204030204" pitchFamily="34" charset="0"/>
              </a:defRPr>
            </a:lvl3pPr>
            <a:lvl4pPr marL="1168648" indent="0">
              <a:buFontTx/>
              <a:buNone/>
              <a:defRPr sz="1231">
                <a:latin typeface="Calibri Light" panose="020F0302020204030204" pitchFamily="34" charset="0"/>
                <a:cs typeface="Calibri Light" panose="020F0302020204030204" pitchFamily="34" charset="0"/>
              </a:defRPr>
            </a:lvl4pPr>
            <a:lvl5pPr marL="1558196" indent="0">
              <a:buFontTx/>
              <a:buNone/>
              <a:defRPr sz="1231">
                <a:latin typeface="Calibri Light" panose="020F0302020204030204" pitchFamily="34" charset="0"/>
                <a:cs typeface="Calibri Light" panose="020F0302020204030204" pitchFamily="34" charset="0"/>
              </a:defRPr>
            </a:lvl5pPr>
          </a:lstStyle>
          <a:p>
            <a:pPr lvl="0"/>
            <a:r>
              <a:rPr lang="nb-NO"/>
              <a:t>Phone</a:t>
            </a:r>
            <a:endParaRPr lang="en-US"/>
          </a:p>
        </p:txBody>
      </p:sp>
      <p:sp>
        <p:nvSpPr>
          <p:cNvPr id="54" name="Title 1">
            <a:extLst>
              <a:ext uri="{FF2B5EF4-FFF2-40B4-BE49-F238E27FC236}">
                <a16:creationId xmlns:a16="http://schemas.microsoft.com/office/drawing/2014/main" id="{809B540B-6648-4B59-9F8C-5B8E1DF52405}"/>
              </a:ext>
            </a:extLst>
          </p:cNvPr>
          <p:cNvSpPr>
            <a:spLocks noGrp="1"/>
          </p:cNvSpPr>
          <p:nvPr>
            <p:ph type="title" hasCustomPrompt="1"/>
          </p:nvPr>
        </p:nvSpPr>
        <p:spPr>
          <a:xfrm>
            <a:off x="468923" y="291691"/>
            <a:ext cx="11254154" cy="609600"/>
          </a:xfrm>
          <a:prstGeom prst="rect">
            <a:avLst/>
          </a:prstGeom>
        </p:spPr>
        <p:txBody>
          <a:bodyPr vert="horz" lIns="91440" tIns="45720" rIns="91440" bIns="45720" rtlCol="0" anchor="ctr">
            <a:noAutofit/>
          </a:bodyPr>
          <a:lstStyle>
            <a:lvl1pPr>
              <a:defRPr lang="en-US" sz="2200" dirty="0">
                <a:latin typeface="Ubuntu" panose="020B0504030602030204" pitchFamily="34" charset="0"/>
                <a:cs typeface="Calibri" panose="020F0502020204030204" pitchFamily="34" charset="0"/>
              </a:defRPr>
            </a:lvl1pPr>
          </a:lstStyle>
          <a:p>
            <a:pPr lvl="0"/>
            <a:r>
              <a:rPr lang="en-US"/>
              <a:t>Offices &amp; Contacts</a:t>
            </a:r>
          </a:p>
        </p:txBody>
      </p:sp>
      <p:pic>
        <p:nvPicPr>
          <p:cNvPr id="31" name="Picture 30" descr="A map of the world&#10;&#10;Description automatically generated with low confidence">
            <a:extLst>
              <a:ext uri="{FF2B5EF4-FFF2-40B4-BE49-F238E27FC236}">
                <a16:creationId xmlns:a16="http://schemas.microsoft.com/office/drawing/2014/main" id="{6C12E0D2-6C7C-BC0A-277E-BF6BE266A3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64232" y="2987399"/>
            <a:ext cx="5229528" cy="3033306"/>
          </a:xfrm>
          <a:prstGeom prst="rect">
            <a:avLst/>
          </a:prstGeom>
        </p:spPr>
      </p:pic>
      <p:sp>
        <p:nvSpPr>
          <p:cNvPr id="2" name="Text Placeholder 12">
            <a:extLst>
              <a:ext uri="{FF2B5EF4-FFF2-40B4-BE49-F238E27FC236}">
                <a16:creationId xmlns:a16="http://schemas.microsoft.com/office/drawing/2014/main" id="{68D03750-870E-C741-26B6-D744487EE827}"/>
              </a:ext>
            </a:extLst>
          </p:cNvPr>
          <p:cNvSpPr>
            <a:spLocks noGrp="1"/>
          </p:cNvSpPr>
          <p:nvPr>
            <p:ph type="body" sz="quarter" idx="19"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Tree>
    <p:extLst>
      <p:ext uri="{BB962C8B-B14F-4D97-AF65-F5344CB8AC3E}">
        <p14:creationId xmlns:p14="http://schemas.microsoft.com/office/powerpoint/2010/main" val="952287407"/>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RE offices map">
    <p:spTree>
      <p:nvGrpSpPr>
        <p:cNvPr id="1" name=""/>
        <p:cNvGrpSpPr/>
        <p:nvPr/>
      </p:nvGrpSpPr>
      <p:grpSpPr>
        <a:xfrm>
          <a:off x="0" y="0"/>
          <a:ext cx="0" cy="0"/>
          <a:chOff x="0" y="0"/>
          <a:chExt cx="0" cy="0"/>
        </a:xfrm>
      </p:grpSpPr>
      <p:pic>
        <p:nvPicPr>
          <p:cNvPr id="5" name="Picture 4" descr="A map of the world&#10;&#10;Description automatically generated with low confidence">
            <a:extLst>
              <a:ext uri="{FF2B5EF4-FFF2-40B4-BE49-F238E27FC236}">
                <a16:creationId xmlns:a16="http://schemas.microsoft.com/office/drawing/2014/main" id="{44378F22-266C-CD90-B509-CCF4F3590A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1166" y="1125538"/>
            <a:ext cx="8169666" cy="4738687"/>
          </a:xfrm>
          <a:prstGeom prst="rect">
            <a:avLst/>
          </a:prstGeom>
        </p:spPr>
      </p:pic>
      <p:sp>
        <p:nvSpPr>
          <p:cNvPr id="3" name="Text Placeholder 12">
            <a:extLst>
              <a:ext uri="{FF2B5EF4-FFF2-40B4-BE49-F238E27FC236}">
                <a16:creationId xmlns:a16="http://schemas.microsoft.com/office/drawing/2014/main" id="{EC5CF7DC-BFB9-1C47-82A0-4868509F78D4}"/>
              </a:ext>
            </a:extLst>
          </p:cNvPr>
          <p:cNvSpPr>
            <a:spLocks noGrp="1"/>
          </p:cNvSpPr>
          <p:nvPr>
            <p:ph type="body" sz="quarter" idx="19"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Tree>
    <p:extLst>
      <p:ext uri="{BB962C8B-B14F-4D97-AF65-F5344CB8AC3E}">
        <p14:creationId xmlns:p14="http://schemas.microsoft.com/office/powerpoint/2010/main" val="1851622653"/>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Back page w/ fixed contact info">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3D2737D-315A-BBC0-6C57-4D68A015A4B1}"/>
              </a:ext>
            </a:extLst>
          </p:cNvPr>
          <p:cNvSpPr txBox="1"/>
          <p:nvPr/>
        </p:nvSpPr>
        <p:spPr>
          <a:xfrm>
            <a:off x="-5301" y="0"/>
            <a:ext cx="12197301" cy="369332"/>
          </a:xfrm>
          <a:prstGeom prst="rect">
            <a:avLst/>
          </a:prstGeom>
          <a:solidFill>
            <a:schemeClr val="accent2"/>
          </a:solidFill>
        </p:spPr>
        <p:txBody>
          <a:bodyPr wrap="square" rtlCol="0">
            <a:spAutoFit/>
          </a:bodyPr>
          <a:lstStyle/>
          <a:p>
            <a:endParaRPr lang="en-US">
              <a:latin typeface="Ubuntu" panose="020B0504030602030204" pitchFamily="34" charset="0"/>
            </a:endParaRPr>
          </a:p>
        </p:txBody>
      </p:sp>
      <p:pic>
        <p:nvPicPr>
          <p:cNvPr id="6" name="Graphic 5">
            <a:extLst>
              <a:ext uri="{FF2B5EF4-FFF2-40B4-BE49-F238E27FC236}">
                <a16:creationId xmlns:a16="http://schemas.microsoft.com/office/drawing/2014/main" id="{A3D3EFC8-B527-22E8-2BE8-2560A64CD0C2}"/>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71" r="8674" b="46902"/>
          <a:stretch/>
        </p:blipFill>
        <p:spPr>
          <a:xfrm>
            <a:off x="0" y="5257800"/>
            <a:ext cx="12192001" cy="1600200"/>
          </a:xfrm>
          <a:prstGeom prst="rect">
            <a:avLst/>
          </a:prstGeom>
        </p:spPr>
      </p:pic>
      <p:pic>
        <p:nvPicPr>
          <p:cNvPr id="8" name="Graphic 7">
            <a:extLst>
              <a:ext uri="{FF2B5EF4-FFF2-40B4-BE49-F238E27FC236}">
                <a16:creationId xmlns:a16="http://schemas.microsoft.com/office/drawing/2014/main" id="{EF0C5416-5A8E-7B13-1F32-A9F6118C6A7F}"/>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71" r="8674" b="46902"/>
          <a:stretch/>
        </p:blipFill>
        <p:spPr>
          <a:xfrm>
            <a:off x="0" y="5257800"/>
            <a:ext cx="12192001" cy="1600200"/>
          </a:xfrm>
          <a:prstGeom prst="rect">
            <a:avLst/>
          </a:prstGeom>
        </p:spPr>
      </p:pic>
      <p:sp>
        <p:nvSpPr>
          <p:cNvPr id="4" name="TekstSylinder 15">
            <a:extLst>
              <a:ext uri="{FF2B5EF4-FFF2-40B4-BE49-F238E27FC236}">
                <a16:creationId xmlns:a16="http://schemas.microsoft.com/office/drawing/2014/main" id="{8692B1D4-2A64-5A9B-B5B5-0FB34DB62C49}"/>
              </a:ext>
            </a:extLst>
          </p:cNvPr>
          <p:cNvSpPr txBox="1"/>
          <p:nvPr/>
        </p:nvSpPr>
        <p:spPr>
          <a:xfrm>
            <a:off x="1620622" y="4479941"/>
            <a:ext cx="9347404" cy="954107"/>
          </a:xfrm>
          <a:prstGeom prst="rect">
            <a:avLst/>
          </a:prstGeom>
          <a:noFill/>
        </p:spPr>
        <p:txBody>
          <a:bodyPr wrap="square" lIns="0" tIns="0" rIns="0" bIns="0" rtlCol="0">
            <a:spAutoFit/>
          </a:bodyPr>
          <a:lstStyle/>
          <a:p>
            <a:pPr algn="ctr"/>
            <a:r>
              <a:rPr lang="en-US" sz="1200" b="0" kern="1200" noProof="0" err="1">
                <a:solidFill>
                  <a:schemeClr val="bg1"/>
                </a:solidFill>
                <a:effectLst/>
                <a:latin typeface="Ubuntu" panose="020B0504030602030204" pitchFamily="34" charset="0"/>
                <a:ea typeface="+mn-ea"/>
                <a:cs typeface="Calibri Light" panose="020F0302020204030204" pitchFamily="34" charset="0"/>
              </a:rPr>
              <a:t>Rystad</a:t>
            </a:r>
            <a:r>
              <a:rPr lang="en-US" sz="1200" b="0" kern="1200" noProof="0">
                <a:solidFill>
                  <a:schemeClr val="bg1"/>
                </a:solidFill>
                <a:effectLst/>
                <a:latin typeface="Ubuntu" panose="020B0504030602030204" pitchFamily="34" charset="0"/>
                <a:ea typeface="+mn-ea"/>
                <a:cs typeface="Calibri Light" panose="020F0302020204030204" pitchFamily="34" charset="0"/>
              </a:rPr>
              <a:t> Energy is an independent energy consulting services and business intelligence data firm offering global databases, strategic advisory and research products for energy companies and suppliers, investors, investment banks, organizations, and governments. </a:t>
            </a:r>
            <a:br>
              <a:rPr lang="en-US" sz="1000" b="0" noProof="0">
                <a:solidFill>
                  <a:schemeClr val="bg1"/>
                </a:solidFill>
                <a:latin typeface="Calibri Light" panose="020F0302020204030204" pitchFamily="34" charset="0"/>
                <a:cs typeface="Calibri Light" panose="020F0302020204030204" pitchFamily="34" charset="0"/>
              </a:rPr>
            </a:br>
            <a:endParaRPr lang="en-US" sz="1000" b="0" noProof="0">
              <a:solidFill>
                <a:schemeClr val="bg1"/>
              </a:solidFill>
              <a:latin typeface="Calibri Light" panose="020F0302020204030204" pitchFamily="34" charset="0"/>
              <a:cs typeface="Calibri Light" panose="020F0302020204030204" pitchFamily="34" charset="0"/>
            </a:endParaRPr>
          </a:p>
          <a:p>
            <a:pPr algn="ctr"/>
            <a:endParaRPr lang="en-US" sz="1000" noProof="0">
              <a:solidFill>
                <a:schemeClr val="bg1"/>
              </a:solidFill>
              <a:latin typeface="Calibri Light" panose="020F0302020204030204" pitchFamily="34" charset="0"/>
              <a:cs typeface="Calibri Light" panose="020F0302020204030204" pitchFamily="34" charset="0"/>
            </a:endParaRPr>
          </a:p>
          <a:p>
            <a:pPr algn="ctr"/>
            <a:br>
              <a:rPr lang="en-US" sz="1000" noProof="0">
                <a:solidFill>
                  <a:schemeClr val="bg1"/>
                </a:solidFill>
                <a:latin typeface="Calibri Light" panose="020F0302020204030204" pitchFamily="34" charset="0"/>
                <a:cs typeface="Calibri Light" panose="020F0302020204030204" pitchFamily="34" charset="0"/>
              </a:rPr>
            </a:br>
            <a:endParaRPr lang="en-US" sz="800" kern="1200" noProof="0">
              <a:solidFill>
                <a:schemeClr val="bg1"/>
              </a:solidFill>
              <a:effectLst/>
              <a:latin typeface="Calibri Light" panose="020F0302020204030204" pitchFamily="34" charset="0"/>
              <a:ea typeface="+mn-ea"/>
              <a:cs typeface="Calibri Light" panose="020F0302020204030204" pitchFamily="34" charset="0"/>
            </a:endParaRPr>
          </a:p>
        </p:txBody>
      </p:sp>
      <p:pic>
        <p:nvPicPr>
          <p:cNvPr id="7" name="Picture 6" descr="Logo&#10;&#10;Description automatically generated with medium confidence">
            <a:extLst>
              <a:ext uri="{FF2B5EF4-FFF2-40B4-BE49-F238E27FC236}">
                <a16:creationId xmlns:a16="http://schemas.microsoft.com/office/drawing/2014/main" id="{399F581D-75B6-D65D-17DF-77786DD9ADC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0227" y="1836808"/>
            <a:ext cx="4001264" cy="737075"/>
          </a:xfrm>
          <a:prstGeom prst="rect">
            <a:avLst/>
          </a:prstGeom>
        </p:spPr>
      </p:pic>
      <p:sp>
        <p:nvSpPr>
          <p:cNvPr id="10" name="TextBox 9">
            <a:extLst>
              <a:ext uri="{FF2B5EF4-FFF2-40B4-BE49-F238E27FC236}">
                <a16:creationId xmlns:a16="http://schemas.microsoft.com/office/drawing/2014/main" id="{B118E7E0-EB69-8FF0-1ED2-B295F908E165}"/>
              </a:ext>
            </a:extLst>
          </p:cNvPr>
          <p:cNvSpPr txBox="1"/>
          <p:nvPr/>
        </p:nvSpPr>
        <p:spPr>
          <a:xfrm>
            <a:off x="2651965" y="5212055"/>
            <a:ext cx="7284719" cy="1384995"/>
          </a:xfrm>
          <a:prstGeom prst="rect">
            <a:avLst/>
          </a:prstGeom>
          <a:noFill/>
        </p:spPr>
        <p:txBody>
          <a:bodyPr wrap="square">
            <a:spAutoFit/>
          </a:bodyPr>
          <a:lstStyle/>
          <a:p>
            <a:pPr algn="ctr"/>
            <a:r>
              <a:rPr lang="en-US" sz="1200" noProof="0">
                <a:solidFill>
                  <a:schemeClr val="bg1"/>
                </a:solidFill>
                <a:latin typeface="Ubuntu" panose="020B0504030602030204" pitchFamily="34" charset="0"/>
                <a:cs typeface="Calibri Light" panose="020F0302020204030204" pitchFamily="34" charset="0"/>
              </a:rPr>
              <a:t>Headquarters: </a:t>
            </a:r>
            <a:r>
              <a:rPr lang="en-US" sz="1200" noProof="0" err="1">
                <a:solidFill>
                  <a:schemeClr val="bg1"/>
                </a:solidFill>
                <a:latin typeface="Ubuntu" panose="020B0504030602030204" pitchFamily="34" charset="0"/>
                <a:cs typeface="Calibri Light" panose="020F0302020204030204" pitchFamily="34" charset="0"/>
              </a:rPr>
              <a:t>Rystad</a:t>
            </a:r>
            <a:r>
              <a:rPr lang="en-US" sz="1200" noProof="0">
                <a:solidFill>
                  <a:schemeClr val="bg1"/>
                </a:solidFill>
                <a:latin typeface="Ubuntu" panose="020B0504030602030204" pitchFamily="34" charset="0"/>
                <a:cs typeface="Calibri Light" panose="020F0302020204030204" pitchFamily="34" charset="0"/>
              </a:rPr>
              <a:t> Energy, </a:t>
            </a:r>
            <a:r>
              <a:rPr lang="en-US" sz="1200" noProof="0" err="1">
                <a:solidFill>
                  <a:schemeClr val="bg1"/>
                </a:solidFill>
                <a:latin typeface="Ubuntu" panose="020B0504030602030204" pitchFamily="34" charset="0"/>
                <a:cs typeface="Calibri Light" panose="020F0302020204030204" pitchFamily="34" charset="0"/>
              </a:rPr>
              <a:t>Fjordalléen</a:t>
            </a:r>
            <a:r>
              <a:rPr lang="en-US" sz="1200" noProof="0">
                <a:solidFill>
                  <a:schemeClr val="bg1"/>
                </a:solidFill>
                <a:latin typeface="Ubuntu" panose="020B0504030602030204" pitchFamily="34" charset="0"/>
                <a:cs typeface="Calibri Light" panose="020F0302020204030204" pitchFamily="34" charset="0"/>
              </a:rPr>
              <a:t> 16, 0250 Oslo, Norway</a:t>
            </a:r>
          </a:p>
          <a:p>
            <a:pPr algn="ctr"/>
            <a:r>
              <a:rPr lang="en-US" sz="1200" b="0" kern="1200" noProof="0">
                <a:solidFill>
                  <a:schemeClr val="bg1"/>
                </a:solidFill>
                <a:effectLst/>
                <a:latin typeface="Ubuntu" panose="020B0504030602030204" pitchFamily="34" charset="0"/>
                <a:ea typeface="+mn-ea"/>
                <a:cs typeface="Calibri Light" panose="020F0302020204030204" pitchFamily="34" charset="0"/>
              </a:rPr>
              <a:t>Americas +1 (281)-231-2600 </a:t>
            </a:r>
          </a:p>
          <a:p>
            <a:pPr algn="ctr"/>
            <a:r>
              <a:rPr lang="en-US" sz="1200" b="0" kern="1200" noProof="0">
                <a:solidFill>
                  <a:schemeClr val="bg1"/>
                </a:solidFill>
                <a:effectLst/>
                <a:latin typeface="Ubuntu" panose="020B0504030602030204" pitchFamily="34" charset="0"/>
                <a:ea typeface="+mn-ea"/>
                <a:cs typeface="Calibri Light" panose="020F0302020204030204" pitchFamily="34" charset="0"/>
              </a:rPr>
              <a:t>EMEA +47 908 87 700 </a:t>
            </a:r>
          </a:p>
          <a:p>
            <a:pPr algn="ctr"/>
            <a:r>
              <a:rPr lang="en-US" sz="1200" b="0" kern="1200" noProof="0">
                <a:solidFill>
                  <a:schemeClr val="bg1"/>
                </a:solidFill>
                <a:effectLst/>
                <a:latin typeface="Ubuntu" panose="020B0504030602030204" pitchFamily="34" charset="0"/>
                <a:ea typeface="+mn-ea"/>
                <a:cs typeface="Calibri Light" panose="020F0302020204030204" pitchFamily="34" charset="0"/>
              </a:rPr>
              <a:t>Asia Pacific +65 690 93 715 </a:t>
            </a:r>
          </a:p>
          <a:p>
            <a:pPr algn="ctr"/>
            <a:r>
              <a:rPr lang="en-US" sz="1200" b="0" kern="1200" noProof="0">
                <a:solidFill>
                  <a:schemeClr val="bg1"/>
                </a:solidFill>
                <a:effectLst/>
                <a:latin typeface="Ubuntu" panose="020B0504030602030204" pitchFamily="34" charset="0"/>
                <a:ea typeface="+mn-ea"/>
                <a:cs typeface="Calibri Light" panose="020F0302020204030204" pitchFamily="34" charset="0"/>
              </a:rPr>
              <a:t>Email: </a:t>
            </a:r>
            <a:r>
              <a:rPr lang="en-US" sz="1200" b="0" u="none" kern="1200" noProof="0">
                <a:solidFill>
                  <a:schemeClr val="bg1"/>
                </a:solidFill>
                <a:effectLst/>
                <a:latin typeface="Ubuntu" panose="020B0504030602030204" pitchFamily="34" charset="0"/>
                <a:ea typeface="+mn-ea"/>
                <a:cs typeface="Calibri Light" panose="020F0302020204030204" pitchFamily="34" charset="0"/>
              </a:rPr>
              <a:t>support@rystadenergy.com</a:t>
            </a:r>
          </a:p>
          <a:p>
            <a:pPr algn="ctr"/>
            <a:r>
              <a:rPr lang="en-US" sz="1200" kern="1200" noProof="0">
                <a:solidFill>
                  <a:schemeClr val="bg1"/>
                </a:solidFill>
                <a:effectLst/>
                <a:latin typeface="Ubuntu" panose="020B0504030602030204" pitchFamily="34" charset="0"/>
                <a:ea typeface="+mn-ea"/>
                <a:cs typeface="Calibri Light" panose="020F0302020204030204" pitchFamily="34" charset="0"/>
              </a:rPr>
              <a:t> </a:t>
            </a:r>
          </a:p>
          <a:p>
            <a:pPr algn="ctr"/>
            <a:r>
              <a:rPr lang="en-US" sz="1200" kern="1200" noProof="0">
                <a:solidFill>
                  <a:schemeClr val="bg1"/>
                </a:solidFill>
                <a:effectLst/>
                <a:latin typeface="Ubuntu" panose="020B0504030602030204" pitchFamily="34" charset="0"/>
                <a:ea typeface="+mn-ea"/>
                <a:cs typeface="Calibri Light" panose="020F0302020204030204" pitchFamily="34" charset="0"/>
              </a:rPr>
              <a:t>© Copyright. All rights reserved.</a:t>
            </a:r>
            <a:endParaRPr lang="en-GB" sz="1200">
              <a:latin typeface="Ubuntu" panose="020B0504030602030204" pitchFamily="34" charset="0"/>
            </a:endParaRPr>
          </a:p>
        </p:txBody>
      </p:sp>
      <p:pic>
        <p:nvPicPr>
          <p:cNvPr id="12" name="Picture 11" descr="Logo&#10;&#10;Description automatically generated">
            <a:extLst>
              <a:ext uri="{FF2B5EF4-FFF2-40B4-BE49-F238E27FC236}">
                <a16:creationId xmlns:a16="http://schemas.microsoft.com/office/drawing/2014/main" id="{5E5EB07E-53E0-B483-B2C5-FAA87E53D0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70157" y="2823854"/>
            <a:ext cx="3926416" cy="482143"/>
          </a:xfrm>
          <a:prstGeom prst="rect">
            <a:avLst/>
          </a:prstGeom>
        </p:spPr>
      </p:pic>
      <p:pic>
        <p:nvPicPr>
          <p:cNvPr id="25" name="rystad_orange" hidden="1">
            <a:extLst>
              <a:ext uri="{FF2B5EF4-FFF2-40B4-BE49-F238E27FC236}">
                <a16:creationId xmlns:a16="http://schemas.microsoft.com/office/drawing/2014/main" id="{97A99C0A-D15E-4018-AB4E-2A86F1716291}"/>
              </a:ext>
            </a:extLst>
          </p:cNvPr>
          <p:cNvPicPr>
            <a:picLocks noChangeAspect="1"/>
          </p:cNvPicPr>
          <p:nvPr/>
        </p:nvPicPr>
        <p:blipFill>
          <a:blip r:embed="rId6"/>
          <a:stretch>
            <a:fillRect/>
          </a:stretch>
        </p:blipFill>
        <p:spPr>
          <a:xfrm>
            <a:off x="6813654" y="4349582"/>
            <a:ext cx="4889356" cy="2308270"/>
          </a:xfrm>
          <a:prstGeom prst="rect">
            <a:avLst/>
          </a:prstGeom>
        </p:spPr>
      </p:pic>
      <p:pic>
        <p:nvPicPr>
          <p:cNvPr id="26" name="rystad_green" descr="Et bilde som inneholder tekst, kart&#10;&#10;Automatisk generert beskrivelse" hidden="1">
            <a:extLst>
              <a:ext uri="{FF2B5EF4-FFF2-40B4-BE49-F238E27FC236}">
                <a16:creationId xmlns:a16="http://schemas.microsoft.com/office/drawing/2014/main" id="{F2FEBC90-C939-4575-A42D-0426F4E957FC}"/>
              </a:ext>
            </a:extLst>
          </p:cNvPr>
          <p:cNvPicPr>
            <a:picLocks noChangeAspect="1"/>
          </p:cNvPicPr>
          <p:nvPr/>
        </p:nvPicPr>
        <p:blipFill>
          <a:blip r:embed="rId7"/>
          <a:stretch>
            <a:fillRect/>
          </a:stretch>
        </p:blipFill>
        <p:spPr>
          <a:xfrm>
            <a:off x="6813654" y="4349582"/>
            <a:ext cx="4889354" cy="2308270"/>
          </a:xfrm>
          <a:prstGeom prst="rect">
            <a:avLst/>
          </a:prstGeom>
        </p:spPr>
      </p:pic>
      <p:pic>
        <p:nvPicPr>
          <p:cNvPr id="27" name="rystad_red" hidden="1">
            <a:extLst>
              <a:ext uri="{FF2B5EF4-FFF2-40B4-BE49-F238E27FC236}">
                <a16:creationId xmlns:a16="http://schemas.microsoft.com/office/drawing/2014/main" id="{48E73A21-0BEA-4AF8-918C-DE258F0C8BF0}"/>
              </a:ext>
            </a:extLst>
          </p:cNvPr>
          <p:cNvPicPr>
            <a:picLocks noChangeAspect="1"/>
          </p:cNvPicPr>
          <p:nvPr/>
        </p:nvPicPr>
        <p:blipFill>
          <a:blip r:embed="rId8"/>
          <a:stretch>
            <a:fillRect/>
          </a:stretch>
        </p:blipFill>
        <p:spPr>
          <a:xfrm>
            <a:off x="6813654" y="4349582"/>
            <a:ext cx="4889356" cy="2308270"/>
          </a:xfrm>
          <a:prstGeom prst="rect">
            <a:avLst/>
          </a:prstGeom>
        </p:spPr>
      </p:pic>
      <p:pic>
        <p:nvPicPr>
          <p:cNvPr id="29" name="rystad_yellow" hidden="1">
            <a:extLst>
              <a:ext uri="{FF2B5EF4-FFF2-40B4-BE49-F238E27FC236}">
                <a16:creationId xmlns:a16="http://schemas.microsoft.com/office/drawing/2014/main" id="{ABDC7C07-2CE3-47C0-8092-EE27657E3F2A}"/>
              </a:ext>
            </a:extLst>
          </p:cNvPr>
          <p:cNvPicPr>
            <a:picLocks noChangeAspect="1"/>
          </p:cNvPicPr>
          <p:nvPr/>
        </p:nvPicPr>
        <p:blipFill>
          <a:blip r:embed="rId9"/>
          <a:stretch>
            <a:fillRect/>
          </a:stretch>
        </p:blipFill>
        <p:spPr>
          <a:xfrm>
            <a:off x="6813654" y="4349582"/>
            <a:ext cx="4889356" cy="2308270"/>
          </a:xfrm>
          <a:prstGeom prst="rect">
            <a:avLst/>
          </a:prstGeom>
        </p:spPr>
      </p:pic>
      <p:pic>
        <p:nvPicPr>
          <p:cNvPr id="31" name="rystad_blue" descr="Et bilde som inneholder mørk, ser, kake, stopp&#10;&#10;Automatisk generert beskrivelse" hidden="1">
            <a:extLst>
              <a:ext uri="{FF2B5EF4-FFF2-40B4-BE49-F238E27FC236}">
                <a16:creationId xmlns:a16="http://schemas.microsoft.com/office/drawing/2014/main" id="{A9956B66-59B0-4697-A6F7-00D82CD5A950}"/>
              </a:ext>
            </a:extLst>
          </p:cNvPr>
          <p:cNvPicPr>
            <a:picLocks noChangeAspect="1"/>
          </p:cNvPicPr>
          <p:nvPr/>
        </p:nvPicPr>
        <p:blipFill>
          <a:blip r:embed="rId10"/>
          <a:stretch>
            <a:fillRect/>
          </a:stretch>
        </p:blipFill>
        <p:spPr>
          <a:xfrm>
            <a:off x="6813654" y="4349582"/>
            <a:ext cx="4888222" cy="2308270"/>
          </a:xfrm>
          <a:prstGeom prst="rect">
            <a:avLst/>
          </a:prstGeom>
        </p:spPr>
      </p:pic>
      <p:pic>
        <p:nvPicPr>
          <p:cNvPr id="15" name="rystad_orange" descr="A close up of a logo&#10;&#10;Description automatically generated" hidden="1">
            <a:extLst>
              <a:ext uri="{FF2B5EF4-FFF2-40B4-BE49-F238E27FC236}">
                <a16:creationId xmlns:a16="http://schemas.microsoft.com/office/drawing/2014/main" id="{C6BF4DAC-AE19-4555-BC71-2D9D940DD571}"/>
              </a:ext>
            </a:extLst>
          </p:cNvPr>
          <p:cNvPicPr>
            <a:picLocks noChangeAspect="1"/>
          </p:cNvPicPr>
          <p:nvPr/>
        </p:nvPicPr>
        <p:blipFill rotWithShape="1">
          <a:blip r:embed="rId11" cstate="hqprint">
            <a:extLst>
              <a:ext uri="{28A0092B-C50C-407E-A947-70E740481C1C}">
                <a14:useLocalDpi xmlns:a14="http://schemas.microsoft.com/office/drawing/2010/main" val="0"/>
              </a:ext>
            </a:extLst>
          </a:blip>
          <a:srcRect l="255"/>
          <a:stretch/>
        </p:blipFill>
        <p:spPr>
          <a:xfrm>
            <a:off x="0" y="-25400"/>
            <a:ext cx="12192000" cy="4138605"/>
          </a:xfrm>
          <a:prstGeom prst="rect">
            <a:avLst/>
          </a:prstGeom>
        </p:spPr>
      </p:pic>
      <p:pic>
        <p:nvPicPr>
          <p:cNvPr id="17" name="rystad_green" descr="A close up of a logo&#10;&#10;Description automatically generated" hidden="1">
            <a:extLst>
              <a:ext uri="{FF2B5EF4-FFF2-40B4-BE49-F238E27FC236}">
                <a16:creationId xmlns:a16="http://schemas.microsoft.com/office/drawing/2014/main" id="{9330F098-7A04-460A-9F42-C5B81524CA9A}"/>
              </a:ext>
            </a:extLst>
          </p:cNvPr>
          <p:cNvPicPr>
            <a:picLocks noChangeAspect="1"/>
          </p:cNvPicPr>
          <p:nvPr/>
        </p:nvPicPr>
        <p:blipFill rotWithShape="1">
          <a:blip r:embed="rId12" cstate="hqprint">
            <a:extLst>
              <a:ext uri="{28A0092B-C50C-407E-A947-70E740481C1C}">
                <a14:useLocalDpi xmlns:a14="http://schemas.microsoft.com/office/drawing/2010/main" val="0"/>
              </a:ext>
            </a:extLst>
          </a:blip>
          <a:srcRect l="255"/>
          <a:stretch/>
        </p:blipFill>
        <p:spPr>
          <a:xfrm>
            <a:off x="0" y="-25400"/>
            <a:ext cx="12192000" cy="4138605"/>
          </a:xfrm>
          <a:prstGeom prst="rect">
            <a:avLst/>
          </a:prstGeom>
        </p:spPr>
      </p:pic>
      <p:pic>
        <p:nvPicPr>
          <p:cNvPr id="18" name="rystad_blue" descr="A close up of a logo&#10;&#10;Description automatically generated" hidden="1">
            <a:extLst>
              <a:ext uri="{FF2B5EF4-FFF2-40B4-BE49-F238E27FC236}">
                <a16:creationId xmlns:a16="http://schemas.microsoft.com/office/drawing/2014/main" id="{6D4A681F-DBFA-4056-BFD2-B96A600AC9E9}"/>
              </a:ext>
            </a:extLst>
          </p:cNvPr>
          <p:cNvPicPr>
            <a:picLocks noChangeAspect="1"/>
          </p:cNvPicPr>
          <p:nvPr/>
        </p:nvPicPr>
        <p:blipFill rotWithShape="1">
          <a:blip r:embed="rId13" cstate="hqprint">
            <a:extLst>
              <a:ext uri="{28A0092B-C50C-407E-A947-70E740481C1C}">
                <a14:useLocalDpi xmlns:a14="http://schemas.microsoft.com/office/drawing/2010/main" val="0"/>
              </a:ext>
            </a:extLst>
          </a:blip>
          <a:srcRect l="255"/>
          <a:stretch/>
        </p:blipFill>
        <p:spPr>
          <a:xfrm>
            <a:off x="0" y="-25400"/>
            <a:ext cx="12192000" cy="4138605"/>
          </a:xfrm>
          <a:prstGeom prst="rect">
            <a:avLst/>
          </a:prstGeom>
        </p:spPr>
      </p:pic>
      <p:pic>
        <p:nvPicPr>
          <p:cNvPr id="19" name="rystad_red" descr="A close up of a logo&#10;&#10;Description automatically generated" hidden="1">
            <a:extLst>
              <a:ext uri="{FF2B5EF4-FFF2-40B4-BE49-F238E27FC236}">
                <a16:creationId xmlns:a16="http://schemas.microsoft.com/office/drawing/2014/main" id="{02C5284B-CDB5-4A53-BD70-C2556C343004}"/>
              </a:ext>
            </a:extLst>
          </p:cNvPr>
          <p:cNvPicPr>
            <a:picLocks noChangeAspect="1"/>
          </p:cNvPicPr>
          <p:nvPr/>
        </p:nvPicPr>
        <p:blipFill rotWithShape="1">
          <a:blip r:embed="rId14" cstate="hqprint">
            <a:extLst>
              <a:ext uri="{28A0092B-C50C-407E-A947-70E740481C1C}">
                <a14:useLocalDpi xmlns:a14="http://schemas.microsoft.com/office/drawing/2010/main" val="0"/>
              </a:ext>
            </a:extLst>
          </a:blip>
          <a:srcRect l="255"/>
          <a:stretch/>
        </p:blipFill>
        <p:spPr>
          <a:xfrm>
            <a:off x="0" y="-25400"/>
            <a:ext cx="12192000" cy="4138605"/>
          </a:xfrm>
          <a:prstGeom prst="rect">
            <a:avLst/>
          </a:prstGeom>
        </p:spPr>
      </p:pic>
      <p:pic>
        <p:nvPicPr>
          <p:cNvPr id="20" name="rystad_yellow" descr="A close up of a logo&#10;&#10;Description automatically generated" hidden="1">
            <a:extLst>
              <a:ext uri="{FF2B5EF4-FFF2-40B4-BE49-F238E27FC236}">
                <a16:creationId xmlns:a16="http://schemas.microsoft.com/office/drawing/2014/main" id="{40AD0AD4-419E-405A-BA81-9203ABCA081E}"/>
              </a:ext>
            </a:extLst>
          </p:cNvPr>
          <p:cNvPicPr>
            <a:picLocks noChangeAspect="1"/>
          </p:cNvPicPr>
          <p:nvPr/>
        </p:nvPicPr>
        <p:blipFill rotWithShape="1">
          <a:blip r:embed="rId15" cstate="hqprint">
            <a:extLst>
              <a:ext uri="{28A0092B-C50C-407E-A947-70E740481C1C}">
                <a14:useLocalDpi xmlns:a14="http://schemas.microsoft.com/office/drawing/2010/main" val="0"/>
              </a:ext>
            </a:extLst>
          </a:blip>
          <a:srcRect l="255"/>
          <a:stretch/>
        </p:blipFill>
        <p:spPr>
          <a:xfrm>
            <a:off x="0" y="-25400"/>
            <a:ext cx="12192000" cy="4138605"/>
          </a:xfrm>
          <a:prstGeom prst="rect">
            <a:avLst/>
          </a:prstGeom>
        </p:spPr>
      </p:pic>
      <p:pic>
        <p:nvPicPr>
          <p:cNvPr id="24" name="rystad_blue" descr="Et bilde som inneholder tre, tekst, mørk&#10;&#10;Automatisk generert beskrivelse" hidden="1">
            <a:extLst>
              <a:ext uri="{FF2B5EF4-FFF2-40B4-BE49-F238E27FC236}">
                <a16:creationId xmlns:a16="http://schemas.microsoft.com/office/drawing/2014/main" id="{0749F9DF-F089-214F-9BEE-2343B8FC3F25}"/>
              </a:ext>
            </a:extLst>
          </p:cNvPr>
          <p:cNvPicPr>
            <a:picLocks noChangeAspect="1"/>
          </p:cNvPicPr>
          <p:nvPr/>
        </p:nvPicPr>
        <p:blipFill>
          <a:blip r:embed="rId16"/>
          <a:stretch>
            <a:fillRect/>
          </a:stretch>
        </p:blipFill>
        <p:spPr>
          <a:xfrm>
            <a:off x="6813654" y="4349582"/>
            <a:ext cx="4889356" cy="2308270"/>
          </a:xfrm>
          <a:prstGeom prst="rect">
            <a:avLst/>
          </a:prstGeom>
        </p:spPr>
      </p:pic>
    </p:spTree>
    <p:extLst>
      <p:ext uri="{BB962C8B-B14F-4D97-AF65-F5344CB8AC3E}">
        <p14:creationId xmlns:p14="http://schemas.microsoft.com/office/powerpoint/2010/main" val="36687119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RE logos">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38126EF-E466-1B1A-5B1A-621AD62C7ADA}"/>
              </a:ext>
            </a:extLst>
          </p:cNvPr>
          <p:cNvSpPr txBox="1">
            <a:spLocks/>
          </p:cNvSpPr>
          <p:nvPr/>
        </p:nvSpPr>
        <p:spPr>
          <a:xfrm>
            <a:off x="442914" y="441324"/>
            <a:ext cx="11306174" cy="611189"/>
          </a:xfrm>
          <a:prstGeom prst="rect">
            <a:avLst/>
          </a:prstGeom>
        </p:spPr>
        <p:txBody>
          <a:bodyPr vert="horz" lIns="91440" tIns="45720" rIns="91440" bIns="45720" rtlCol="0" anchor="ctr">
            <a:noAutofit/>
          </a:bodyPr>
          <a:lstStyle>
            <a:lvl1pPr algn="l" defTabSz="1125472" rtl="0" eaLnBrk="1" latinLnBrk="0" hangingPunct="1">
              <a:lnSpc>
                <a:spcPct val="90000"/>
              </a:lnSpc>
              <a:spcBef>
                <a:spcPct val="0"/>
              </a:spcBef>
              <a:buNone/>
              <a:defRPr lang="en-US" sz="2200" b="0" i="0" kern="1200" dirty="0">
                <a:solidFill>
                  <a:schemeClr val="tx1"/>
                </a:solidFill>
                <a:latin typeface="+mj-lt"/>
                <a:ea typeface="+mj-ea"/>
                <a:cs typeface="Calibri" panose="020F0502020204030204" pitchFamily="34" charset="0"/>
              </a:defRPr>
            </a:lvl1pPr>
          </a:lstStyle>
          <a:p>
            <a:r>
              <a:rPr lang="en-US" b="0" err="1">
                <a:latin typeface="Ubuntu" panose="020B0504030602030204" pitchFamily="34" charset="0"/>
              </a:rPr>
              <a:t>Rystad</a:t>
            </a:r>
            <a:r>
              <a:rPr lang="en-US" b="0">
                <a:latin typeface="Ubuntu" panose="020B0504030602030204" pitchFamily="34" charset="0"/>
              </a:rPr>
              <a:t> Energy logos and visual elements</a:t>
            </a:r>
          </a:p>
        </p:txBody>
      </p:sp>
      <p:sp>
        <p:nvSpPr>
          <p:cNvPr id="7" name="Rectangle 6">
            <a:extLst>
              <a:ext uri="{FF2B5EF4-FFF2-40B4-BE49-F238E27FC236}">
                <a16:creationId xmlns:a16="http://schemas.microsoft.com/office/drawing/2014/main" id="{D1078E2F-F153-1EA8-4F0E-D7F3A538B8A6}"/>
              </a:ext>
            </a:extLst>
          </p:cNvPr>
          <p:cNvSpPr/>
          <p:nvPr/>
        </p:nvSpPr>
        <p:spPr>
          <a:xfrm>
            <a:off x="442914" y="1125538"/>
            <a:ext cx="5395391" cy="3467902"/>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accent6"/>
              </a:solidFill>
              <a:latin typeface="Ubuntu" panose="020B0504030602030204" pitchFamily="34" charset="0"/>
            </a:endParaRPr>
          </a:p>
        </p:txBody>
      </p:sp>
      <p:pic>
        <p:nvPicPr>
          <p:cNvPr id="8" name="Picture 7" descr="Text&#10;&#10;Description automatically generated">
            <a:extLst>
              <a:ext uri="{FF2B5EF4-FFF2-40B4-BE49-F238E27FC236}">
                <a16:creationId xmlns:a16="http://schemas.microsoft.com/office/drawing/2014/main" id="{620D2704-782A-DF75-818F-ECCE973BEA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044" y="2494792"/>
            <a:ext cx="3210535" cy="802633"/>
          </a:xfrm>
          <a:prstGeom prst="rect">
            <a:avLst/>
          </a:prstGeom>
        </p:spPr>
      </p:pic>
      <p:pic>
        <p:nvPicPr>
          <p:cNvPr id="9" name="Picture 8" descr="A picture containing text, mollusk, cowrie, light&#10;&#10;Description automatically generated">
            <a:extLst>
              <a:ext uri="{FF2B5EF4-FFF2-40B4-BE49-F238E27FC236}">
                <a16:creationId xmlns:a16="http://schemas.microsoft.com/office/drawing/2014/main" id="{87B450B0-7C7D-613B-2859-81E9AD8EBC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92803" y="1333152"/>
            <a:ext cx="1241142" cy="1019397"/>
          </a:xfrm>
          <a:prstGeom prst="rect">
            <a:avLst/>
          </a:prstGeom>
        </p:spPr>
      </p:pic>
      <p:pic>
        <p:nvPicPr>
          <p:cNvPr id="10" name="Picture 9" descr="A picture containing text, mollusk, cowrie, light&#10;&#10;Description automatically generated">
            <a:extLst>
              <a:ext uri="{FF2B5EF4-FFF2-40B4-BE49-F238E27FC236}">
                <a16:creationId xmlns:a16="http://schemas.microsoft.com/office/drawing/2014/main" id="{963AE852-8864-E8DB-296F-B4570ED292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044" y="1402370"/>
            <a:ext cx="1256595" cy="1019397"/>
          </a:xfrm>
          <a:prstGeom prst="rect">
            <a:avLst/>
          </a:prstGeom>
        </p:spPr>
      </p:pic>
      <p:pic>
        <p:nvPicPr>
          <p:cNvPr id="4" name="Picture 3" descr="A picture containing text&#10;&#10;Description automatically generated">
            <a:extLst>
              <a:ext uri="{FF2B5EF4-FFF2-40B4-BE49-F238E27FC236}">
                <a16:creationId xmlns:a16="http://schemas.microsoft.com/office/drawing/2014/main" id="{9822314F-F416-03CD-A236-25E84522F82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25408" y="2476036"/>
            <a:ext cx="2918668" cy="729666"/>
          </a:xfrm>
          <a:prstGeom prst="rect">
            <a:avLst/>
          </a:prstGeom>
        </p:spPr>
      </p:pic>
      <p:pic>
        <p:nvPicPr>
          <p:cNvPr id="5" name="Picture 4" descr="A picture containing text, mollusk, light&#10;&#10;Description automatically generated">
            <a:extLst>
              <a:ext uri="{FF2B5EF4-FFF2-40B4-BE49-F238E27FC236}">
                <a16:creationId xmlns:a16="http://schemas.microsoft.com/office/drawing/2014/main" id="{51E166EB-30DE-2B17-3092-6F05E5BDAFD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31441" y="1306038"/>
            <a:ext cx="1256595" cy="1019397"/>
          </a:xfrm>
          <a:prstGeom prst="rect">
            <a:avLst/>
          </a:prstGeom>
        </p:spPr>
      </p:pic>
      <p:pic>
        <p:nvPicPr>
          <p:cNvPr id="6" name="Picture 5" descr="Logo&#10;&#10;Description automatically generated">
            <a:extLst>
              <a:ext uri="{FF2B5EF4-FFF2-40B4-BE49-F238E27FC236}">
                <a16:creationId xmlns:a16="http://schemas.microsoft.com/office/drawing/2014/main" id="{E6790DA0-7D85-4B0B-C8CD-EBF359866C3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25408" y="1255069"/>
            <a:ext cx="1365256" cy="1121337"/>
          </a:xfrm>
          <a:prstGeom prst="rect">
            <a:avLst/>
          </a:prstGeom>
        </p:spPr>
      </p:pic>
      <p:pic>
        <p:nvPicPr>
          <p:cNvPr id="12" name="Picture 11" descr="A picture containing cowrie, mollusk, dome, light&#10;&#10;Description automatically generated">
            <a:extLst>
              <a:ext uri="{FF2B5EF4-FFF2-40B4-BE49-F238E27FC236}">
                <a16:creationId xmlns:a16="http://schemas.microsoft.com/office/drawing/2014/main" id="{8E7C89C1-1949-AF8A-16E4-6EFC56DA22F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73155" y="1431646"/>
            <a:ext cx="657785" cy="657785"/>
          </a:xfrm>
          <a:prstGeom prst="rect">
            <a:avLst/>
          </a:prstGeom>
        </p:spPr>
      </p:pic>
      <p:pic>
        <p:nvPicPr>
          <p:cNvPr id="13" name="Picture 12" descr="A picture containing cowrie, mollusk, dome&#10;&#10;Description automatically generated">
            <a:extLst>
              <a:ext uri="{FF2B5EF4-FFF2-40B4-BE49-F238E27FC236}">
                <a16:creationId xmlns:a16="http://schemas.microsoft.com/office/drawing/2014/main" id="{B984BA71-B7D5-23A4-CCEC-7270A798239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73155" y="2480689"/>
            <a:ext cx="657785" cy="657785"/>
          </a:xfrm>
          <a:prstGeom prst="rect">
            <a:avLst/>
          </a:prstGeom>
        </p:spPr>
      </p:pic>
      <p:pic>
        <p:nvPicPr>
          <p:cNvPr id="14" name="Picture 13" descr="A picture containing cowrie, mollusk&#10;&#10;Description automatically generated">
            <a:extLst>
              <a:ext uri="{FF2B5EF4-FFF2-40B4-BE49-F238E27FC236}">
                <a16:creationId xmlns:a16="http://schemas.microsoft.com/office/drawing/2014/main" id="{BBDCE675-3332-91A7-647F-6EA5D5BA0AF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886169" y="1161603"/>
            <a:ext cx="657785" cy="657785"/>
          </a:xfrm>
          <a:prstGeom prst="rect">
            <a:avLst/>
          </a:prstGeom>
        </p:spPr>
      </p:pic>
      <p:pic>
        <p:nvPicPr>
          <p:cNvPr id="15" name="Picture 14" descr="A picture containing cowrie, mollusk&#10;&#10;Description automatically generated">
            <a:extLst>
              <a:ext uri="{FF2B5EF4-FFF2-40B4-BE49-F238E27FC236}">
                <a16:creationId xmlns:a16="http://schemas.microsoft.com/office/drawing/2014/main" id="{F55DFC2B-CCF4-D2F5-6274-A9F7F2C4D08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879945" y="1944740"/>
            <a:ext cx="663712" cy="657785"/>
          </a:xfrm>
          <a:prstGeom prst="rect">
            <a:avLst/>
          </a:prstGeom>
        </p:spPr>
      </p:pic>
      <p:pic>
        <p:nvPicPr>
          <p:cNvPr id="16" name="Picture 15" descr="A picture containing cowrie, mollusk, dome&#10;&#10;Description automatically generated">
            <a:extLst>
              <a:ext uri="{FF2B5EF4-FFF2-40B4-BE49-F238E27FC236}">
                <a16:creationId xmlns:a16="http://schemas.microsoft.com/office/drawing/2014/main" id="{8490B2A7-E667-F41C-5219-DFEC3C2009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86169" y="2727876"/>
            <a:ext cx="657785" cy="657785"/>
          </a:xfrm>
          <a:prstGeom prst="rect">
            <a:avLst/>
          </a:prstGeom>
        </p:spPr>
      </p:pic>
      <p:pic>
        <p:nvPicPr>
          <p:cNvPr id="18" name="Picture 17">
            <a:extLst>
              <a:ext uri="{FF2B5EF4-FFF2-40B4-BE49-F238E27FC236}">
                <a16:creationId xmlns:a16="http://schemas.microsoft.com/office/drawing/2014/main" id="{1B379117-D166-05D0-65FF-9E9538AF448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868746" y="1131526"/>
            <a:ext cx="847993" cy="1484446"/>
          </a:xfrm>
          <a:prstGeom prst="rect">
            <a:avLst/>
          </a:prstGeom>
        </p:spPr>
      </p:pic>
      <p:pic>
        <p:nvPicPr>
          <p:cNvPr id="20" name="Picture 19">
            <a:extLst>
              <a:ext uri="{FF2B5EF4-FFF2-40B4-BE49-F238E27FC236}">
                <a16:creationId xmlns:a16="http://schemas.microsoft.com/office/drawing/2014/main" id="{D04F6619-6F8B-A35E-B95C-221DEFE11C4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755017" y="1842850"/>
            <a:ext cx="847993" cy="1486286"/>
          </a:xfrm>
          <a:prstGeom prst="rect">
            <a:avLst/>
          </a:prstGeom>
        </p:spPr>
      </p:pic>
      <p:pic>
        <p:nvPicPr>
          <p:cNvPr id="22" name="Picture 21">
            <a:extLst>
              <a:ext uri="{FF2B5EF4-FFF2-40B4-BE49-F238E27FC236}">
                <a16:creationId xmlns:a16="http://schemas.microsoft.com/office/drawing/2014/main" id="{C0927680-04E1-989A-2CB6-2ACF1F125A70}"/>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714574" y="1467578"/>
            <a:ext cx="847993" cy="1484446"/>
          </a:xfrm>
          <a:prstGeom prst="rect">
            <a:avLst/>
          </a:prstGeom>
        </p:spPr>
      </p:pic>
      <p:pic>
        <p:nvPicPr>
          <p:cNvPr id="24" name="Picture 23" descr="Icon&#10;&#10;Description automatically generated">
            <a:extLst>
              <a:ext uri="{FF2B5EF4-FFF2-40B4-BE49-F238E27FC236}">
                <a16:creationId xmlns:a16="http://schemas.microsoft.com/office/drawing/2014/main" id="{404E98FC-6E87-BB5E-4260-7296503038C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292742" y="1493308"/>
            <a:ext cx="847993" cy="1484446"/>
          </a:xfrm>
          <a:prstGeom prst="rect">
            <a:avLst/>
          </a:prstGeom>
        </p:spPr>
      </p:pic>
      <p:pic>
        <p:nvPicPr>
          <p:cNvPr id="41" name="Picture 40" descr="A picture containing fish&#10;&#10;Description automatically generated">
            <a:extLst>
              <a:ext uri="{FF2B5EF4-FFF2-40B4-BE49-F238E27FC236}">
                <a16:creationId xmlns:a16="http://schemas.microsoft.com/office/drawing/2014/main" id="{B56BAB52-3EE3-965C-A0D3-17BF5C572AD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291385" y="4688575"/>
            <a:ext cx="5170598" cy="1159727"/>
          </a:xfrm>
          <a:prstGeom prst="rect">
            <a:avLst/>
          </a:prstGeom>
        </p:spPr>
      </p:pic>
      <p:pic>
        <p:nvPicPr>
          <p:cNvPr id="42" name="Picture 41">
            <a:extLst>
              <a:ext uri="{FF2B5EF4-FFF2-40B4-BE49-F238E27FC236}">
                <a16:creationId xmlns:a16="http://schemas.microsoft.com/office/drawing/2014/main" id="{F1AAF093-3E6A-DC63-1EBB-F3930392D0A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291385" y="3385827"/>
            <a:ext cx="5170598" cy="1159988"/>
          </a:xfrm>
          <a:prstGeom prst="rect">
            <a:avLst/>
          </a:prstGeom>
        </p:spPr>
      </p:pic>
      <p:pic>
        <p:nvPicPr>
          <p:cNvPr id="43" name="Picture 42">
            <a:extLst>
              <a:ext uri="{FF2B5EF4-FFF2-40B4-BE49-F238E27FC236}">
                <a16:creationId xmlns:a16="http://schemas.microsoft.com/office/drawing/2014/main" id="{C310D6EC-A8ED-C02F-BE16-B8C4936AD7B7}"/>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57951" y="4689025"/>
            <a:ext cx="5170598" cy="1158827"/>
          </a:xfrm>
          <a:prstGeom prst="rect">
            <a:avLst/>
          </a:prstGeom>
        </p:spPr>
      </p:pic>
      <p:pic>
        <p:nvPicPr>
          <p:cNvPr id="44" name="Picture 43" descr="A picture containing worm&#10;&#10;Description automatically generated">
            <a:extLst>
              <a:ext uri="{FF2B5EF4-FFF2-40B4-BE49-F238E27FC236}">
                <a16:creationId xmlns:a16="http://schemas.microsoft.com/office/drawing/2014/main" id="{E6404FDA-9919-075E-6878-C53279CDEF0C}"/>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57951" y="3385827"/>
            <a:ext cx="5170598" cy="1159988"/>
          </a:xfrm>
          <a:prstGeom prst="rect">
            <a:avLst/>
          </a:prstGeom>
        </p:spPr>
      </p:pic>
      <p:sp>
        <p:nvSpPr>
          <p:cNvPr id="2" name="Rectangle 1">
            <a:extLst>
              <a:ext uri="{FF2B5EF4-FFF2-40B4-BE49-F238E27FC236}">
                <a16:creationId xmlns:a16="http://schemas.microsoft.com/office/drawing/2014/main" id="{62332441-7057-15F5-8C7E-7BAA84A15901}"/>
              </a:ext>
            </a:extLst>
          </p:cNvPr>
          <p:cNvSpPr/>
          <p:nvPr/>
        </p:nvSpPr>
        <p:spPr>
          <a:xfrm>
            <a:off x="8598434" y="304271"/>
            <a:ext cx="2652631"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a:solidFill>
                  <a:schemeClr val="accent1"/>
                </a:solidFill>
                <a:latin typeface="Ubuntu" panose="020B0504030602030204" pitchFamily="34" charset="0"/>
              </a:rPr>
              <a:t>Logos and visual elements here:</a:t>
            </a:r>
          </a:p>
        </p:txBody>
      </p:sp>
      <p:sp>
        <p:nvSpPr>
          <p:cNvPr id="19" name="TextBox 18">
            <a:extLst>
              <a:ext uri="{FF2B5EF4-FFF2-40B4-BE49-F238E27FC236}">
                <a16:creationId xmlns:a16="http://schemas.microsoft.com/office/drawing/2014/main" id="{0F06CEBB-2E44-7F37-6681-AFD6B3519B4A}"/>
              </a:ext>
            </a:extLst>
          </p:cNvPr>
          <p:cNvSpPr txBox="1"/>
          <p:nvPr/>
        </p:nvSpPr>
        <p:spPr>
          <a:xfrm>
            <a:off x="8598434" y="486832"/>
            <a:ext cx="1242425" cy="307777"/>
          </a:xfrm>
          <a:prstGeom prst="rect">
            <a:avLst/>
          </a:prstGeom>
          <a:noFill/>
        </p:spPr>
        <p:txBody>
          <a:bodyPr wrap="square">
            <a:spAutoFit/>
          </a:bodyPr>
          <a:lstStyle/>
          <a:p>
            <a:r>
              <a:rPr lang="en-US" sz="1400">
                <a:latin typeface="Ubuntu" panose="020B0504030602030204" pitchFamily="34" charset="0"/>
                <a:hlinkClick r:id="rId21"/>
              </a:rPr>
              <a:t>RE logos</a:t>
            </a:r>
            <a:endParaRPr lang="en-US" sz="1400">
              <a:latin typeface="Ubuntu" panose="020B0504030602030204" pitchFamily="34" charset="0"/>
            </a:endParaRPr>
          </a:p>
        </p:txBody>
      </p:sp>
      <p:sp>
        <p:nvSpPr>
          <p:cNvPr id="23" name="TextBox 22">
            <a:extLst>
              <a:ext uri="{FF2B5EF4-FFF2-40B4-BE49-F238E27FC236}">
                <a16:creationId xmlns:a16="http://schemas.microsoft.com/office/drawing/2014/main" id="{43064FFD-8A05-3977-7874-48088DC2AC2A}"/>
              </a:ext>
            </a:extLst>
          </p:cNvPr>
          <p:cNvSpPr txBox="1"/>
          <p:nvPr/>
        </p:nvSpPr>
        <p:spPr>
          <a:xfrm>
            <a:off x="8598434" y="720522"/>
            <a:ext cx="3273137" cy="523220"/>
          </a:xfrm>
          <a:prstGeom prst="rect">
            <a:avLst/>
          </a:prstGeom>
          <a:noFill/>
        </p:spPr>
        <p:txBody>
          <a:bodyPr wrap="square">
            <a:spAutoFit/>
          </a:bodyPr>
          <a:lstStyle/>
          <a:p>
            <a:r>
              <a:rPr lang="en-US" sz="1400">
                <a:latin typeface="Ubuntu" panose="020B0504030602030204" pitchFamily="34" charset="0"/>
                <a:hlinkClick r:id="rId22"/>
              </a:rPr>
              <a:t>RE visual elements - Waves and secondary</a:t>
            </a:r>
            <a:endParaRPr lang="en-US" sz="1400">
              <a:latin typeface="Ubuntu" panose="020B0504030602030204" pitchFamily="34" charset="0"/>
            </a:endParaRPr>
          </a:p>
        </p:txBody>
      </p:sp>
    </p:spTree>
    <p:extLst>
      <p:ext uri="{BB962C8B-B14F-4D97-AF65-F5344CB8AC3E}">
        <p14:creationId xmlns:p14="http://schemas.microsoft.com/office/powerpoint/2010/main" val="1256571963"/>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RE color palette">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342FF63A-5608-795A-D4DF-8706889D6942}"/>
              </a:ext>
            </a:extLst>
          </p:cNvPr>
          <p:cNvSpPr>
            <a:spLocks noGrp="1"/>
          </p:cNvSpPr>
          <p:nvPr>
            <p:ph type="body" sz="quarter" idx="19" hasCustomPrompt="1"/>
          </p:nvPr>
        </p:nvSpPr>
        <p:spPr>
          <a:xfrm>
            <a:off x="442912" y="5949950"/>
            <a:ext cx="11306175" cy="268128"/>
          </a:xfrm>
        </p:spPr>
        <p:txBody>
          <a:bodyPr>
            <a:normAutofit/>
          </a:bodyPr>
          <a:lstStyle>
            <a:lvl1pPr marL="0" indent="0">
              <a:buNone/>
              <a:defRPr sz="900"/>
            </a:lvl1pPr>
          </a:lstStyle>
          <a:p>
            <a:r>
              <a:rPr lang="nb-NO"/>
              <a:t>1) White to </a:t>
            </a:r>
            <a:r>
              <a:rPr lang="nb-NO" err="1"/>
              <a:t>black</a:t>
            </a:r>
            <a:r>
              <a:rPr lang="nb-NO"/>
              <a:t> </a:t>
            </a:r>
            <a:r>
              <a:rPr lang="nb-NO" err="1"/>
              <a:t>color</a:t>
            </a:r>
            <a:r>
              <a:rPr lang="nb-NO"/>
              <a:t> </a:t>
            </a:r>
            <a:r>
              <a:rPr lang="nb-NO" err="1"/>
              <a:t>pallette</a:t>
            </a:r>
            <a:r>
              <a:rPr lang="nb-NO"/>
              <a:t> </a:t>
            </a:r>
            <a:r>
              <a:rPr lang="nb-NO" err="1"/>
              <a:t>goes</a:t>
            </a:r>
            <a:r>
              <a:rPr lang="nb-NO"/>
              <a:t> from A to B, </a:t>
            </a:r>
            <a:r>
              <a:rPr lang="nb-NO" err="1"/>
              <a:t>where</a:t>
            </a:r>
            <a:r>
              <a:rPr lang="nb-NO"/>
              <a:t> A6 and B1 </a:t>
            </a:r>
            <a:r>
              <a:rPr lang="nb-NO" err="1"/>
              <a:t>are</a:t>
            </a:r>
            <a:r>
              <a:rPr lang="nb-NO"/>
              <a:t> </a:t>
            </a:r>
            <a:r>
              <a:rPr lang="nb-NO" err="1"/>
              <a:t>the</a:t>
            </a:r>
            <a:r>
              <a:rPr lang="nb-NO"/>
              <a:t> same </a:t>
            </a:r>
            <a:r>
              <a:rPr lang="nb-NO" err="1"/>
              <a:t>color</a:t>
            </a:r>
            <a:r>
              <a:rPr lang="nb-NO"/>
              <a:t>. 2) </a:t>
            </a:r>
            <a:r>
              <a:rPr lang="nb-NO" err="1"/>
              <a:t>Based</a:t>
            </a:r>
            <a:r>
              <a:rPr lang="nb-NO"/>
              <a:t> </a:t>
            </a:r>
            <a:r>
              <a:rPr lang="nb-NO" err="1"/>
              <a:t>on</a:t>
            </a:r>
            <a:r>
              <a:rPr lang="nb-NO"/>
              <a:t> </a:t>
            </a:r>
            <a:r>
              <a:rPr lang="nb-NO" err="1"/>
              <a:t>color</a:t>
            </a:r>
            <a:r>
              <a:rPr lang="nb-NO"/>
              <a:t> Rystad Energy </a:t>
            </a:r>
            <a:r>
              <a:rPr lang="nb-NO" err="1"/>
              <a:t>color</a:t>
            </a:r>
            <a:r>
              <a:rPr lang="nb-NO"/>
              <a:t> </a:t>
            </a:r>
            <a:r>
              <a:rPr lang="nb-NO" err="1"/>
              <a:t>pallette</a:t>
            </a:r>
            <a:r>
              <a:rPr lang="nb-NO"/>
              <a:t>. 3) </a:t>
            </a:r>
            <a:r>
              <a:rPr lang="nb-NO" err="1"/>
              <a:t>Colors</a:t>
            </a:r>
            <a:r>
              <a:rPr lang="nb-NO"/>
              <a:t> not in </a:t>
            </a:r>
            <a:r>
              <a:rPr lang="nb-NO" err="1"/>
              <a:t>the</a:t>
            </a:r>
            <a:r>
              <a:rPr lang="nb-NO"/>
              <a:t> original RE </a:t>
            </a:r>
            <a:r>
              <a:rPr lang="nb-NO" err="1"/>
              <a:t>Corporate</a:t>
            </a:r>
            <a:r>
              <a:rPr lang="nb-NO"/>
              <a:t> </a:t>
            </a:r>
            <a:r>
              <a:rPr lang="nb-NO" err="1"/>
              <a:t>Template</a:t>
            </a:r>
            <a:r>
              <a:rPr lang="nb-NO"/>
              <a:t>, </a:t>
            </a:r>
            <a:r>
              <a:rPr lang="nb-NO" err="1"/>
              <a:t>but</a:t>
            </a:r>
            <a:r>
              <a:rPr lang="nb-NO"/>
              <a:t> </a:t>
            </a:r>
            <a:r>
              <a:rPr lang="nb-NO" err="1"/>
              <a:t>can</a:t>
            </a:r>
            <a:r>
              <a:rPr lang="nb-NO"/>
              <a:t> be used </a:t>
            </a:r>
            <a:r>
              <a:rPr lang="nb-NO" err="1"/>
              <a:t>if</a:t>
            </a:r>
            <a:r>
              <a:rPr lang="nb-NO"/>
              <a:t> </a:t>
            </a:r>
            <a:r>
              <a:rPr lang="nb-NO" err="1"/>
              <a:t>needed</a:t>
            </a:r>
            <a:r>
              <a:rPr lang="nb-NO"/>
              <a:t>. </a:t>
            </a:r>
            <a:endParaRPr lang="en-US"/>
          </a:p>
        </p:txBody>
      </p:sp>
      <p:grpSp>
        <p:nvGrpSpPr>
          <p:cNvPr id="252" name="Group 251">
            <a:extLst>
              <a:ext uri="{FF2B5EF4-FFF2-40B4-BE49-F238E27FC236}">
                <a16:creationId xmlns:a16="http://schemas.microsoft.com/office/drawing/2014/main" id="{B9C9C3EA-D77A-98D4-430C-E3BF39BF0978}"/>
              </a:ext>
            </a:extLst>
          </p:cNvPr>
          <p:cNvGrpSpPr/>
          <p:nvPr/>
        </p:nvGrpSpPr>
        <p:grpSpPr>
          <a:xfrm>
            <a:off x="963049" y="1230037"/>
            <a:ext cx="4468815" cy="4080064"/>
            <a:chOff x="750627" y="1495391"/>
            <a:chExt cx="4468815" cy="4080064"/>
          </a:xfrm>
        </p:grpSpPr>
        <p:sp>
          <p:nvSpPr>
            <p:cNvPr id="3" name="Arrow: Pentagon 2">
              <a:extLst>
                <a:ext uri="{FF2B5EF4-FFF2-40B4-BE49-F238E27FC236}">
                  <a16:creationId xmlns:a16="http://schemas.microsoft.com/office/drawing/2014/main" id="{6CCFD546-A81B-0640-9153-FEB46B7B32CA}"/>
                </a:ext>
              </a:extLst>
            </p:cNvPr>
            <p:cNvSpPr/>
            <p:nvPr/>
          </p:nvSpPr>
          <p:spPr>
            <a:xfrm rot="16200000">
              <a:off x="2780967" y="683759"/>
              <a:ext cx="408135" cy="4468815"/>
            </a:xfrm>
            <a:prstGeom prst="homePlate">
              <a:avLst>
                <a:gd name="adj" fmla="val 100000"/>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sp>
          <p:nvSpPr>
            <p:cNvPr id="6" name="Rectangle 5">
              <a:extLst>
                <a:ext uri="{FF2B5EF4-FFF2-40B4-BE49-F238E27FC236}">
                  <a16:creationId xmlns:a16="http://schemas.microsoft.com/office/drawing/2014/main" id="{DA30157C-93C7-280C-0891-8A00471A0437}"/>
                </a:ext>
              </a:extLst>
            </p:cNvPr>
            <p:cNvSpPr/>
            <p:nvPr/>
          </p:nvSpPr>
          <p:spPr>
            <a:xfrm>
              <a:off x="750627" y="3174739"/>
              <a:ext cx="4468814" cy="240071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sp>
          <p:nvSpPr>
            <p:cNvPr id="7" name="Rectangle 6">
              <a:extLst>
                <a:ext uri="{FF2B5EF4-FFF2-40B4-BE49-F238E27FC236}">
                  <a16:creationId xmlns:a16="http://schemas.microsoft.com/office/drawing/2014/main" id="{51FC93E0-C016-186E-587B-D0A462DF873A}"/>
                </a:ext>
              </a:extLst>
            </p:cNvPr>
            <p:cNvSpPr/>
            <p:nvPr/>
          </p:nvSpPr>
          <p:spPr>
            <a:xfrm>
              <a:off x="2608843" y="5164674"/>
              <a:ext cx="252000" cy="252000"/>
            </a:xfrm>
            <a:prstGeom prst="rect">
              <a:avLst/>
            </a:prstGeom>
            <a:solidFill>
              <a:schemeClr val="accent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6</a:t>
              </a:r>
              <a:endParaRPr lang="en-US" sz="800">
                <a:solidFill>
                  <a:schemeClr val="bg1"/>
                </a:solidFill>
                <a:latin typeface="Ubuntu" panose="020B0504030602030204" pitchFamily="34" charset="0"/>
              </a:endParaRPr>
            </a:p>
          </p:txBody>
        </p:sp>
        <p:sp>
          <p:nvSpPr>
            <p:cNvPr id="8" name="Rectangle 7">
              <a:extLst>
                <a:ext uri="{FF2B5EF4-FFF2-40B4-BE49-F238E27FC236}">
                  <a16:creationId xmlns:a16="http://schemas.microsoft.com/office/drawing/2014/main" id="{12DF83FC-42AB-59B2-DEFA-7303B1D5495F}"/>
                </a:ext>
              </a:extLst>
            </p:cNvPr>
            <p:cNvSpPr/>
            <p:nvPr/>
          </p:nvSpPr>
          <p:spPr>
            <a:xfrm>
              <a:off x="2608843" y="4544203"/>
              <a:ext cx="252000" cy="252000"/>
            </a:xfrm>
            <a:prstGeom prst="rect">
              <a:avLst/>
            </a:prstGeom>
            <a:solidFill>
              <a:schemeClr val="accent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M</a:t>
              </a:r>
              <a:endParaRPr lang="en-US" sz="800">
                <a:solidFill>
                  <a:schemeClr val="bg1"/>
                </a:solidFill>
                <a:latin typeface="Ubuntu" panose="020B0504030602030204" pitchFamily="34" charset="0"/>
              </a:endParaRPr>
            </a:p>
          </p:txBody>
        </p:sp>
        <p:sp>
          <p:nvSpPr>
            <p:cNvPr id="9" name="Rectangle 8">
              <a:extLst>
                <a:ext uri="{FF2B5EF4-FFF2-40B4-BE49-F238E27FC236}">
                  <a16:creationId xmlns:a16="http://schemas.microsoft.com/office/drawing/2014/main" id="{24B9BD78-06A4-1798-CD8A-74D75FCD2413}"/>
                </a:ext>
              </a:extLst>
            </p:cNvPr>
            <p:cNvSpPr/>
            <p:nvPr/>
          </p:nvSpPr>
          <p:spPr>
            <a:xfrm>
              <a:off x="2608843" y="3923729"/>
              <a:ext cx="252000" cy="252000"/>
            </a:xfrm>
            <a:prstGeom prst="rect">
              <a:avLst/>
            </a:prstGeom>
            <a:solidFill>
              <a:schemeClr val="accent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10" name="Rectangle 9">
              <a:extLst>
                <a:ext uri="{FF2B5EF4-FFF2-40B4-BE49-F238E27FC236}">
                  <a16:creationId xmlns:a16="http://schemas.microsoft.com/office/drawing/2014/main" id="{5B828D85-CF65-95CE-1547-0A9C42484EDB}"/>
                </a:ext>
              </a:extLst>
            </p:cNvPr>
            <p:cNvSpPr/>
            <p:nvPr/>
          </p:nvSpPr>
          <p:spPr>
            <a:xfrm>
              <a:off x="2608843" y="4854440"/>
              <a:ext cx="252000" cy="252000"/>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11" name="Rectangle 10">
              <a:extLst>
                <a:ext uri="{FF2B5EF4-FFF2-40B4-BE49-F238E27FC236}">
                  <a16:creationId xmlns:a16="http://schemas.microsoft.com/office/drawing/2014/main" id="{B625BF34-0B1B-9758-1022-668527475F80}"/>
                </a:ext>
              </a:extLst>
            </p:cNvPr>
            <p:cNvSpPr/>
            <p:nvPr/>
          </p:nvSpPr>
          <p:spPr>
            <a:xfrm>
              <a:off x="2608843" y="4233966"/>
              <a:ext cx="252000" cy="252000"/>
            </a:xfrm>
            <a:prstGeom prst="rect">
              <a:avLst/>
            </a:prstGeom>
            <a:solidFill>
              <a:schemeClr val="accent1">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12" name="Rectangle 11">
              <a:extLst>
                <a:ext uri="{FF2B5EF4-FFF2-40B4-BE49-F238E27FC236}">
                  <a16:creationId xmlns:a16="http://schemas.microsoft.com/office/drawing/2014/main" id="{72AB2697-BE48-FF2A-B89C-F80812891D4C}"/>
                </a:ext>
              </a:extLst>
            </p:cNvPr>
            <p:cNvSpPr/>
            <p:nvPr/>
          </p:nvSpPr>
          <p:spPr>
            <a:xfrm>
              <a:off x="2608843" y="3613492"/>
              <a:ext cx="252000" cy="252000"/>
            </a:xfrm>
            <a:prstGeom prst="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1</a:t>
              </a:r>
              <a:endParaRPr lang="en-US" sz="800">
                <a:solidFill>
                  <a:schemeClr val="tx1"/>
                </a:solidFill>
                <a:latin typeface="Ubuntu" panose="020B0504030602030204" pitchFamily="34" charset="0"/>
              </a:endParaRPr>
            </a:p>
          </p:txBody>
        </p:sp>
        <p:sp>
          <p:nvSpPr>
            <p:cNvPr id="13" name="Rectangle 12">
              <a:extLst>
                <a:ext uri="{FF2B5EF4-FFF2-40B4-BE49-F238E27FC236}">
                  <a16:creationId xmlns:a16="http://schemas.microsoft.com/office/drawing/2014/main" id="{E713F9D5-6CCE-6C13-A85A-C3805446FAA4}"/>
                </a:ext>
              </a:extLst>
            </p:cNvPr>
            <p:cNvSpPr/>
            <p:nvPr/>
          </p:nvSpPr>
          <p:spPr>
            <a:xfrm>
              <a:off x="2200128" y="5164674"/>
              <a:ext cx="252000" cy="252000"/>
            </a:xfrm>
            <a:prstGeom prst="rect">
              <a:avLst/>
            </a:prstGeom>
            <a:solidFill>
              <a:srgbClr val="222A3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6</a:t>
              </a:r>
              <a:endParaRPr lang="en-US" sz="800">
                <a:solidFill>
                  <a:schemeClr val="bg1"/>
                </a:solidFill>
                <a:latin typeface="Ubuntu" panose="020B0504030602030204" pitchFamily="34" charset="0"/>
              </a:endParaRPr>
            </a:p>
          </p:txBody>
        </p:sp>
        <p:sp>
          <p:nvSpPr>
            <p:cNvPr id="14" name="Rectangle 13">
              <a:extLst>
                <a:ext uri="{FF2B5EF4-FFF2-40B4-BE49-F238E27FC236}">
                  <a16:creationId xmlns:a16="http://schemas.microsoft.com/office/drawing/2014/main" id="{4B7E31FE-4CB9-9AD6-9B49-C2DED9194324}"/>
                </a:ext>
              </a:extLst>
            </p:cNvPr>
            <p:cNvSpPr/>
            <p:nvPr/>
          </p:nvSpPr>
          <p:spPr>
            <a:xfrm>
              <a:off x="2200128" y="4544203"/>
              <a:ext cx="252000" cy="252000"/>
            </a:xfrm>
            <a:prstGeom prst="rect">
              <a:avLst/>
            </a:prstGeom>
            <a:solidFill>
              <a:srgbClr val="44546A"/>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M</a:t>
              </a:r>
              <a:endParaRPr lang="en-US" sz="800">
                <a:solidFill>
                  <a:schemeClr val="bg1"/>
                </a:solidFill>
                <a:latin typeface="Ubuntu" panose="020B0504030602030204" pitchFamily="34" charset="0"/>
              </a:endParaRPr>
            </a:p>
          </p:txBody>
        </p:sp>
        <p:sp>
          <p:nvSpPr>
            <p:cNvPr id="15" name="Rectangle 14">
              <a:extLst>
                <a:ext uri="{FF2B5EF4-FFF2-40B4-BE49-F238E27FC236}">
                  <a16:creationId xmlns:a16="http://schemas.microsoft.com/office/drawing/2014/main" id="{26026B05-A943-725C-3CB0-2239C07BC842}"/>
                </a:ext>
              </a:extLst>
            </p:cNvPr>
            <p:cNvSpPr/>
            <p:nvPr/>
          </p:nvSpPr>
          <p:spPr>
            <a:xfrm>
              <a:off x="2200128" y="3923729"/>
              <a:ext cx="252000" cy="252000"/>
            </a:xfrm>
            <a:prstGeom prst="rect">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16" name="Rectangle 15">
              <a:extLst>
                <a:ext uri="{FF2B5EF4-FFF2-40B4-BE49-F238E27FC236}">
                  <a16:creationId xmlns:a16="http://schemas.microsoft.com/office/drawing/2014/main" id="{33B04244-E0F8-3532-B404-04C79F30D20F}"/>
                </a:ext>
              </a:extLst>
            </p:cNvPr>
            <p:cNvSpPr/>
            <p:nvPr/>
          </p:nvSpPr>
          <p:spPr>
            <a:xfrm>
              <a:off x="2200128" y="4854440"/>
              <a:ext cx="252000" cy="252000"/>
            </a:xfrm>
            <a:prstGeom prst="rect">
              <a:avLst/>
            </a:prstGeom>
            <a:solidFill>
              <a:srgbClr val="333F5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17" name="Rectangle 16">
              <a:extLst>
                <a:ext uri="{FF2B5EF4-FFF2-40B4-BE49-F238E27FC236}">
                  <a16:creationId xmlns:a16="http://schemas.microsoft.com/office/drawing/2014/main" id="{33EA161E-71F7-5407-DDE3-D2CD353ECBE2}"/>
                </a:ext>
              </a:extLst>
            </p:cNvPr>
            <p:cNvSpPr/>
            <p:nvPr/>
          </p:nvSpPr>
          <p:spPr>
            <a:xfrm>
              <a:off x="2200128" y="4233966"/>
              <a:ext cx="252000" cy="252000"/>
            </a:xfrm>
            <a:prstGeom prst="rect">
              <a:avLst/>
            </a:prstGeom>
            <a:solidFill>
              <a:srgbClr val="8497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18" name="Rectangle 17">
              <a:extLst>
                <a:ext uri="{FF2B5EF4-FFF2-40B4-BE49-F238E27FC236}">
                  <a16:creationId xmlns:a16="http://schemas.microsoft.com/office/drawing/2014/main" id="{D948C17D-4007-4A45-6501-5F3AC62A6120}"/>
                </a:ext>
              </a:extLst>
            </p:cNvPr>
            <p:cNvSpPr/>
            <p:nvPr/>
          </p:nvSpPr>
          <p:spPr>
            <a:xfrm>
              <a:off x="2200128" y="3613492"/>
              <a:ext cx="252000" cy="252000"/>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800">
                  <a:solidFill>
                    <a:schemeClr val="tx1"/>
                  </a:solidFill>
                  <a:latin typeface="Ubuntu" panose="020B0504030602030204" pitchFamily="34" charset="0"/>
                </a:rPr>
                <a:t>1</a:t>
              </a:r>
              <a:endParaRPr lang="en-US" sz="800">
                <a:solidFill>
                  <a:schemeClr val="tx1"/>
                </a:solidFill>
                <a:latin typeface="Ubuntu" panose="020B0504030602030204" pitchFamily="34" charset="0"/>
              </a:endParaRPr>
            </a:p>
          </p:txBody>
        </p:sp>
        <p:sp>
          <p:nvSpPr>
            <p:cNvPr id="19" name="TextBox 18">
              <a:extLst>
                <a:ext uri="{FF2B5EF4-FFF2-40B4-BE49-F238E27FC236}">
                  <a16:creationId xmlns:a16="http://schemas.microsoft.com/office/drawing/2014/main" id="{D98E55BB-080B-6DA5-6D21-038885432FC9}"/>
                </a:ext>
              </a:extLst>
            </p:cNvPr>
            <p:cNvSpPr txBox="1"/>
            <p:nvPr/>
          </p:nvSpPr>
          <p:spPr>
            <a:xfrm>
              <a:off x="2387517" y="3267321"/>
              <a:ext cx="707198" cy="261610"/>
            </a:xfrm>
            <a:prstGeom prst="rect">
              <a:avLst/>
            </a:prstGeom>
            <a:noFill/>
          </p:spPr>
          <p:txBody>
            <a:bodyPr wrap="square" rtlCol="0">
              <a:spAutoFit/>
            </a:bodyPr>
            <a:lstStyle/>
            <a:p>
              <a:pPr algn="ctr"/>
              <a:r>
                <a:rPr lang="nb-NO" sz="1100" b="1">
                  <a:latin typeface="Ubuntu" panose="020B0504030602030204" pitchFamily="34" charset="0"/>
                </a:rPr>
                <a:t>E</a:t>
              </a:r>
              <a:endParaRPr lang="en-US" sz="1100" b="1">
                <a:latin typeface="Ubuntu" panose="020B0504030602030204" pitchFamily="34" charset="0"/>
              </a:endParaRPr>
            </a:p>
          </p:txBody>
        </p:sp>
        <p:sp>
          <p:nvSpPr>
            <p:cNvPr id="20" name="TextBox 19">
              <a:extLst>
                <a:ext uri="{FF2B5EF4-FFF2-40B4-BE49-F238E27FC236}">
                  <a16:creationId xmlns:a16="http://schemas.microsoft.com/office/drawing/2014/main" id="{45A26FC9-419C-E6BE-4710-911FD7F626C9}"/>
                </a:ext>
              </a:extLst>
            </p:cNvPr>
            <p:cNvSpPr txBox="1"/>
            <p:nvPr/>
          </p:nvSpPr>
          <p:spPr>
            <a:xfrm>
              <a:off x="1980443" y="3267321"/>
              <a:ext cx="707198" cy="261610"/>
            </a:xfrm>
            <a:prstGeom prst="rect">
              <a:avLst/>
            </a:prstGeom>
            <a:noFill/>
          </p:spPr>
          <p:txBody>
            <a:bodyPr wrap="square" rtlCol="0">
              <a:spAutoFit/>
            </a:bodyPr>
            <a:lstStyle/>
            <a:p>
              <a:pPr algn="ctr"/>
              <a:r>
                <a:rPr lang="nb-NO" sz="1100" b="1">
                  <a:latin typeface="Ubuntu" panose="020B0504030602030204" pitchFamily="34" charset="0"/>
                </a:rPr>
                <a:t>D</a:t>
              </a:r>
              <a:endParaRPr lang="en-US" sz="1100" b="1">
                <a:latin typeface="Ubuntu" panose="020B0504030602030204" pitchFamily="34" charset="0"/>
              </a:endParaRPr>
            </a:p>
          </p:txBody>
        </p:sp>
        <p:sp>
          <p:nvSpPr>
            <p:cNvPr id="21" name="Rectangle 20">
              <a:extLst>
                <a:ext uri="{FF2B5EF4-FFF2-40B4-BE49-F238E27FC236}">
                  <a16:creationId xmlns:a16="http://schemas.microsoft.com/office/drawing/2014/main" id="{61E5E00C-B1AF-70AD-77E7-49F01E80B28D}"/>
                </a:ext>
              </a:extLst>
            </p:cNvPr>
            <p:cNvSpPr/>
            <p:nvPr/>
          </p:nvSpPr>
          <p:spPr>
            <a:xfrm>
              <a:off x="1791413" y="5164674"/>
              <a:ext cx="252000" cy="252000"/>
            </a:xfrm>
            <a:prstGeom prst="rect">
              <a:avLst/>
            </a:prstGeom>
            <a:solidFill>
              <a:schemeClr val="bg2">
                <a:lumMod val="1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6</a:t>
              </a:r>
              <a:endParaRPr lang="en-US" sz="800">
                <a:solidFill>
                  <a:schemeClr val="bg1"/>
                </a:solidFill>
                <a:latin typeface="Ubuntu" panose="020B0504030602030204" pitchFamily="34" charset="0"/>
              </a:endParaRPr>
            </a:p>
          </p:txBody>
        </p:sp>
        <p:sp>
          <p:nvSpPr>
            <p:cNvPr id="22" name="Rectangle 21">
              <a:extLst>
                <a:ext uri="{FF2B5EF4-FFF2-40B4-BE49-F238E27FC236}">
                  <a16:creationId xmlns:a16="http://schemas.microsoft.com/office/drawing/2014/main" id="{9D1032F1-40E5-FFCE-A00F-990DE9B4269E}"/>
                </a:ext>
              </a:extLst>
            </p:cNvPr>
            <p:cNvSpPr/>
            <p:nvPr/>
          </p:nvSpPr>
          <p:spPr>
            <a:xfrm>
              <a:off x="1791413" y="4544203"/>
              <a:ext cx="252000" cy="252000"/>
            </a:xfrm>
            <a:prstGeom prst="rect">
              <a:avLst/>
            </a:prstGeom>
            <a:solidFill>
              <a:schemeClr val="bg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4</a:t>
              </a:r>
              <a:endParaRPr lang="en-US" sz="800">
                <a:solidFill>
                  <a:schemeClr val="bg1"/>
                </a:solidFill>
                <a:latin typeface="Ubuntu" panose="020B0504030602030204" pitchFamily="34" charset="0"/>
              </a:endParaRPr>
            </a:p>
          </p:txBody>
        </p:sp>
        <p:sp>
          <p:nvSpPr>
            <p:cNvPr id="23" name="Rectangle 22">
              <a:extLst>
                <a:ext uri="{FF2B5EF4-FFF2-40B4-BE49-F238E27FC236}">
                  <a16:creationId xmlns:a16="http://schemas.microsoft.com/office/drawing/2014/main" id="{860B0D13-DA0E-6B57-8ED7-3995007E17C0}"/>
                </a:ext>
              </a:extLst>
            </p:cNvPr>
            <p:cNvSpPr/>
            <p:nvPr/>
          </p:nvSpPr>
          <p:spPr>
            <a:xfrm>
              <a:off x="1791413" y="3923729"/>
              <a:ext cx="252000" cy="252000"/>
            </a:xfrm>
            <a:prstGeom prst="rect">
              <a:avLst/>
            </a:prstGeom>
            <a:solidFill>
              <a:schemeClr val="bg2">
                <a:lumMod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24" name="Rectangle 23">
              <a:extLst>
                <a:ext uri="{FF2B5EF4-FFF2-40B4-BE49-F238E27FC236}">
                  <a16:creationId xmlns:a16="http://schemas.microsoft.com/office/drawing/2014/main" id="{11E6572F-00D5-5477-D6B1-EE5FB0E217E4}"/>
                </a:ext>
              </a:extLst>
            </p:cNvPr>
            <p:cNvSpPr/>
            <p:nvPr/>
          </p:nvSpPr>
          <p:spPr>
            <a:xfrm>
              <a:off x="1791413" y="4854440"/>
              <a:ext cx="252000" cy="252000"/>
            </a:xfrm>
            <a:prstGeom prst="rect">
              <a:avLst/>
            </a:prstGeom>
            <a:solidFill>
              <a:schemeClr val="bg2">
                <a:lumMod val="2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25" name="Rectangle 24">
              <a:extLst>
                <a:ext uri="{FF2B5EF4-FFF2-40B4-BE49-F238E27FC236}">
                  <a16:creationId xmlns:a16="http://schemas.microsoft.com/office/drawing/2014/main" id="{5B60CBEA-7DA2-B293-82F7-5FC20FD5204C}"/>
                </a:ext>
              </a:extLst>
            </p:cNvPr>
            <p:cNvSpPr/>
            <p:nvPr/>
          </p:nvSpPr>
          <p:spPr>
            <a:xfrm>
              <a:off x="1791413" y="3613492"/>
              <a:ext cx="252000" cy="252000"/>
            </a:xfrm>
            <a:prstGeom prst="rect">
              <a:avLst/>
            </a:prstGeom>
            <a:solidFill>
              <a:schemeClr val="bg2"/>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M</a:t>
              </a:r>
              <a:endParaRPr lang="en-US" sz="800">
                <a:solidFill>
                  <a:schemeClr val="tx1"/>
                </a:solidFill>
                <a:latin typeface="Ubuntu" panose="020B0504030602030204" pitchFamily="34" charset="0"/>
              </a:endParaRPr>
            </a:p>
          </p:txBody>
        </p:sp>
        <p:sp>
          <p:nvSpPr>
            <p:cNvPr id="26" name="Rectangle 25">
              <a:extLst>
                <a:ext uri="{FF2B5EF4-FFF2-40B4-BE49-F238E27FC236}">
                  <a16:creationId xmlns:a16="http://schemas.microsoft.com/office/drawing/2014/main" id="{45758946-F330-461B-0939-2F42FD2581F8}"/>
                </a:ext>
              </a:extLst>
            </p:cNvPr>
            <p:cNvSpPr/>
            <p:nvPr/>
          </p:nvSpPr>
          <p:spPr>
            <a:xfrm>
              <a:off x="1791413" y="4233966"/>
              <a:ext cx="252000" cy="252000"/>
            </a:xfrm>
            <a:prstGeom prst="rect">
              <a:avLst/>
            </a:prstGeom>
            <a:solidFill>
              <a:schemeClr val="bg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27" name="TextBox 26">
              <a:extLst>
                <a:ext uri="{FF2B5EF4-FFF2-40B4-BE49-F238E27FC236}">
                  <a16:creationId xmlns:a16="http://schemas.microsoft.com/office/drawing/2014/main" id="{91550782-2B46-0888-76A4-5ED64012D0D5}"/>
                </a:ext>
              </a:extLst>
            </p:cNvPr>
            <p:cNvSpPr txBox="1"/>
            <p:nvPr/>
          </p:nvSpPr>
          <p:spPr>
            <a:xfrm>
              <a:off x="1573369" y="3267321"/>
              <a:ext cx="707198" cy="261610"/>
            </a:xfrm>
            <a:prstGeom prst="rect">
              <a:avLst/>
            </a:prstGeom>
            <a:noFill/>
          </p:spPr>
          <p:txBody>
            <a:bodyPr wrap="square" rtlCol="0">
              <a:spAutoFit/>
            </a:bodyPr>
            <a:lstStyle/>
            <a:p>
              <a:pPr algn="ctr"/>
              <a:r>
                <a:rPr lang="nb-NO" sz="1100" b="1">
                  <a:latin typeface="Ubuntu" panose="020B0504030602030204" pitchFamily="34" charset="0"/>
                </a:rPr>
                <a:t>C</a:t>
              </a:r>
              <a:endParaRPr lang="en-US" sz="1100" b="1">
                <a:latin typeface="Ubuntu" panose="020B0504030602030204" pitchFamily="34" charset="0"/>
              </a:endParaRPr>
            </a:p>
          </p:txBody>
        </p:sp>
        <p:sp>
          <p:nvSpPr>
            <p:cNvPr id="28" name="Rectangle 27">
              <a:extLst>
                <a:ext uri="{FF2B5EF4-FFF2-40B4-BE49-F238E27FC236}">
                  <a16:creationId xmlns:a16="http://schemas.microsoft.com/office/drawing/2014/main" id="{663D9363-F975-D53A-A3DE-36EDD66042F3}"/>
                </a:ext>
              </a:extLst>
            </p:cNvPr>
            <p:cNvSpPr/>
            <p:nvPr/>
          </p:nvSpPr>
          <p:spPr>
            <a:xfrm>
              <a:off x="3017558" y="5164674"/>
              <a:ext cx="252000" cy="252000"/>
            </a:xfrm>
            <a:prstGeom prst="rect">
              <a:avLst/>
            </a:prstGeom>
            <a:solidFill>
              <a:schemeClr val="accent2"/>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M</a:t>
              </a:r>
              <a:endParaRPr lang="en-US" sz="800">
                <a:solidFill>
                  <a:schemeClr val="bg1"/>
                </a:solidFill>
                <a:latin typeface="Ubuntu" panose="020B0504030602030204" pitchFamily="34" charset="0"/>
              </a:endParaRPr>
            </a:p>
          </p:txBody>
        </p:sp>
        <p:sp>
          <p:nvSpPr>
            <p:cNvPr id="29" name="Rectangle 28">
              <a:extLst>
                <a:ext uri="{FF2B5EF4-FFF2-40B4-BE49-F238E27FC236}">
                  <a16:creationId xmlns:a16="http://schemas.microsoft.com/office/drawing/2014/main" id="{573EC67A-8ACD-197A-DA6A-451B47F2244C}"/>
                </a:ext>
              </a:extLst>
            </p:cNvPr>
            <p:cNvSpPr/>
            <p:nvPr/>
          </p:nvSpPr>
          <p:spPr>
            <a:xfrm>
              <a:off x="3017558" y="4854440"/>
              <a:ext cx="252000" cy="252000"/>
            </a:xfrm>
            <a:prstGeom prst="rect">
              <a:avLst/>
            </a:prstGeom>
            <a:solidFill>
              <a:schemeClr val="accent2">
                <a:lumMod val="90000"/>
                <a:lumOff val="1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30" name="Rectangle 29">
              <a:extLst>
                <a:ext uri="{FF2B5EF4-FFF2-40B4-BE49-F238E27FC236}">
                  <a16:creationId xmlns:a16="http://schemas.microsoft.com/office/drawing/2014/main" id="{16806A22-36FD-9374-061E-94A41C81AFE2}"/>
                </a:ext>
              </a:extLst>
            </p:cNvPr>
            <p:cNvSpPr/>
            <p:nvPr/>
          </p:nvSpPr>
          <p:spPr>
            <a:xfrm>
              <a:off x="3017558" y="4544203"/>
              <a:ext cx="252000" cy="252000"/>
            </a:xfrm>
            <a:prstGeom prst="rect">
              <a:avLst/>
            </a:prstGeom>
            <a:solidFill>
              <a:schemeClr val="accent2">
                <a:lumMod val="75000"/>
                <a:lumOff val="2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4</a:t>
              </a:r>
              <a:endParaRPr lang="en-US" sz="800">
                <a:solidFill>
                  <a:schemeClr val="bg1"/>
                </a:solidFill>
                <a:latin typeface="Ubuntu" panose="020B0504030602030204" pitchFamily="34" charset="0"/>
              </a:endParaRPr>
            </a:p>
          </p:txBody>
        </p:sp>
        <p:sp>
          <p:nvSpPr>
            <p:cNvPr id="31" name="Rectangle 30">
              <a:extLst>
                <a:ext uri="{FF2B5EF4-FFF2-40B4-BE49-F238E27FC236}">
                  <a16:creationId xmlns:a16="http://schemas.microsoft.com/office/drawing/2014/main" id="{14D93C5F-4CCD-558A-23B6-8F401F987753}"/>
                </a:ext>
              </a:extLst>
            </p:cNvPr>
            <p:cNvSpPr/>
            <p:nvPr/>
          </p:nvSpPr>
          <p:spPr>
            <a:xfrm>
              <a:off x="3017558" y="3613492"/>
              <a:ext cx="252000" cy="252000"/>
            </a:xfrm>
            <a:prstGeom prst="rect">
              <a:avLst/>
            </a:prstGeom>
            <a:solidFill>
              <a:schemeClr val="accent2">
                <a:lumMod val="10000"/>
                <a:lumOff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1</a:t>
              </a:r>
              <a:endParaRPr lang="en-US" sz="800">
                <a:solidFill>
                  <a:schemeClr val="tx1"/>
                </a:solidFill>
                <a:latin typeface="Ubuntu" panose="020B0504030602030204" pitchFamily="34" charset="0"/>
              </a:endParaRPr>
            </a:p>
          </p:txBody>
        </p:sp>
        <p:sp>
          <p:nvSpPr>
            <p:cNvPr id="32" name="Rectangle 31">
              <a:extLst>
                <a:ext uri="{FF2B5EF4-FFF2-40B4-BE49-F238E27FC236}">
                  <a16:creationId xmlns:a16="http://schemas.microsoft.com/office/drawing/2014/main" id="{B22E38E9-E79F-910E-784D-7C99EE58AF19}"/>
                </a:ext>
              </a:extLst>
            </p:cNvPr>
            <p:cNvSpPr/>
            <p:nvPr/>
          </p:nvSpPr>
          <p:spPr>
            <a:xfrm>
              <a:off x="3017558" y="3923729"/>
              <a:ext cx="252000" cy="252000"/>
            </a:xfrm>
            <a:prstGeom prst="rect">
              <a:avLst/>
            </a:prstGeom>
            <a:solidFill>
              <a:srgbClr val="96BDF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33" name="Rectangle 32">
              <a:extLst>
                <a:ext uri="{FF2B5EF4-FFF2-40B4-BE49-F238E27FC236}">
                  <a16:creationId xmlns:a16="http://schemas.microsoft.com/office/drawing/2014/main" id="{1BA41248-1B7E-B8FD-16A1-AAA9DD2CE2EA}"/>
                </a:ext>
              </a:extLst>
            </p:cNvPr>
            <p:cNvSpPr/>
            <p:nvPr/>
          </p:nvSpPr>
          <p:spPr>
            <a:xfrm>
              <a:off x="3426273" y="5164674"/>
              <a:ext cx="252000" cy="252000"/>
            </a:xfrm>
            <a:prstGeom prst="rect">
              <a:avLst/>
            </a:prstGeom>
            <a:solidFill>
              <a:schemeClr val="accent3">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6</a:t>
              </a:r>
              <a:endParaRPr lang="en-US" sz="800">
                <a:solidFill>
                  <a:schemeClr val="bg1"/>
                </a:solidFill>
                <a:latin typeface="Ubuntu" panose="020B0504030602030204" pitchFamily="34" charset="0"/>
              </a:endParaRPr>
            </a:p>
          </p:txBody>
        </p:sp>
        <p:sp>
          <p:nvSpPr>
            <p:cNvPr id="34" name="Rectangle 33">
              <a:extLst>
                <a:ext uri="{FF2B5EF4-FFF2-40B4-BE49-F238E27FC236}">
                  <a16:creationId xmlns:a16="http://schemas.microsoft.com/office/drawing/2014/main" id="{B2F1F3F5-3657-C83A-4806-9F0ECF5DDCBD}"/>
                </a:ext>
              </a:extLst>
            </p:cNvPr>
            <p:cNvSpPr/>
            <p:nvPr/>
          </p:nvSpPr>
          <p:spPr>
            <a:xfrm>
              <a:off x="3426273" y="4544203"/>
              <a:ext cx="252000" cy="252000"/>
            </a:xfrm>
            <a:prstGeom prst="rect">
              <a:avLst/>
            </a:prstGeom>
            <a:solidFill>
              <a:schemeClr val="accent3"/>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M</a:t>
              </a:r>
              <a:endParaRPr lang="en-US" sz="800">
                <a:solidFill>
                  <a:schemeClr val="tx1"/>
                </a:solidFill>
                <a:latin typeface="Ubuntu" panose="020B0504030602030204" pitchFamily="34" charset="0"/>
              </a:endParaRPr>
            </a:p>
          </p:txBody>
        </p:sp>
        <p:sp>
          <p:nvSpPr>
            <p:cNvPr id="35" name="Rectangle 34">
              <a:extLst>
                <a:ext uri="{FF2B5EF4-FFF2-40B4-BE49-F238E27FC236}">
                  <a16:creationId xmlns:a16="http://schemas.microsoft.com/office/drawing/2014/main" id="{2ADCB9E0-E7FB-4A73-3587-590A3B2EE83C}"/>
                </a:ext>
              </a:extLst>
            </p:cNvPr>
            <p:cNvSpPr/>
            <p:nvPr/>
          </p:nvSpPr>
          <p:spPr>
            <a:xfrm>
              <a:off x="3426273" y="4854440"/>
              <a:ext cx="252000" cy="252000"/>
            </a:xfrm>
            <a:prstGeom prst="rect">
              <a:avLst/>
            </a:prstGeom>
            <a:solidFill>
              <a:schemeClr val="accent3">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36" name="Rectangle 35">
              <a:extLst>
                <a:ext uri="{FF2B5EF4-FFF2-40B4-BE49-F238E27FC236}">
                  <a16:creationId xmlns:a16="http://schemas.microsoft.com/office/drawing/2014/main" id="{498D14E1-7DE2-B129-4B11-C0F8347F5493}"/>
                </a:ext>
              </a:extLst>
            </p:cNvPr>
            <p:cNvSpPr/>
            <p:nvPr/>
          </p:nvSpPr>
          <p:spPr>
            <a:xfrm>
              <a:off x="3426273" y="3613492"/>
              <a:ext cx="252000" cy="252000"/>
            </a:xfrm>
            <a:prstGeom prst="rect">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1</a:t>
              </a:r>
              <a:endParaRPr lang="en-US" sz="800">
                <a:solidFill>
                  <a:schemeClr val="tx1"/>
                </a:solidFill>
                <a:latin typeface="Ubuntu" panose="020B0504030602030204" pitchFamily="34" charset="0"/>
              </a:endParaRPr>
            </a:p>
          </p:txBody>
        </p:sp>
        <p:sp>
          <p:nvSpPr>
            <p:cNvPr id="37" name="Rectangle 36">
              <a:extLst>
                <a:ext uri="{FF2B5EF4-FFF2-40B4-BE49-F238E27FC236}">
                  <a16:creationId xmlns:a16="http://schemas.microsoft.com/office/drawing/2014/main" id="{4FC647C3-9A71-F3CF-D87F-1EA276D48F26}"/>
                </a:ext>
              </a:extLst>
            </p:cNvPr>
            <p:cNvSpPr/>
            <p:nvPr/>
          </p:nvSpPr>
          <p:spPr>
            <a:xfrm>
              <a:off x="3426273" y="3923729"/>
              <a:ext cx="252000" cy="252000"/>
            </a:xfrm>
            <a:prstGeom prst="rect">
              <a:avLst/>
            </a:prstGeom>
            <a:solidFill>
              <a:schemeClr val="accent3">
                <a:lumMod val="40000"/>
                <a:lumOff val="60000"/>
                <a:alpha val="69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38" name="Rectangle 37">
              <a:extLst>
                <a:ext uri="{FF2B5EF4-FFF2-40B4-BE49-F238E27FC236}">
                  <a16:creationId xmlns:a16="http://schemas.microsoft.com/office/drawing/2014/main" id="{B3E0DECC-C359-E700-1783-A8D579319823}"/>
                </a:ext>
              </a:extLst>
            </p:cNvPr>
            <p:cNvSpPr/>
            <p:nvPr/>
          </p:nvSpPr>
          <p:spPr>
            <a:xfrm>
              <a:off x="3426273" y="4233966"/>
              <a:ext cx="252000" cy="252000"/>
            </a:xfrm>
            <a:prstGeom prst="rect">
              <a:avLst/>
            </a:prstGeom>
            <a:solidFill>
              <a:schemeClr val="accent3">
                <a:lumMod val="75000"/>
                <a:alpha val="77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39" name="Rectangle 38">
              <a:extLst>
                <a:ext uri="{FF2B5EF4-FFF2-40B4-BE49-F238E27FC236}">
                  <a16:creationId xmlns:a16="http://schemas.microsoft.com/office/drawing/2014/main" id="{F2B4F65C-0B35-7278-DD5E-D187602A844F}"/>
                </a:ext>
              </a:extLst>
            </p:cNvPr>
            <p:cNvSpPr/>
            <p:nvPr/>
          </p:nvSpPr>
          <p:spPr>
            <a:xfrm>
              <a:off x="3017558" y="4233966"/>
              <a:ext cx="252000" cy="252000"/>
            </a:xfrm>
            <a:prstGeom prst="rect">
              <a:avLst/>
            </a:prstGeom>
            <a:solidFill>
              <a:schemeClr val="accent2">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40" name="TextBox 39">
              <a:extLst>
                <a:ext uri="{FF2B5EF4-FFF2-40B4-BE49-F238E27FC236}">
                  <a16:creationId xmlns:a16="http://schemas.microsoft.com/office/drawing/2014/main" id="{974048F2-2C15-7F59-D4ED-7E8AC5056DF0}"/>
                </a:ext>
              </a:extLst>
            </p:cNvPr>
            <p:cNvSpPr txBox="1"/>
            <p:nvPr/>
          </p:nvSpPr>
          <p:spPr>
            <a:xfrm>
              <a:off x="2794591" y="3267321"/>
              <a:ext cx="707198" cy="261610"/>
            </a:xfrm>
            <a:prstGeom prst="rect">
              <a:avLst/>
            </a:prstGeom>
            <a:noFill/>
          </p:spPr>
          <p:txBody>
            <a:bodyPr wrap="square" rtlCol="0">
              <a:spAutoFit/>
            </a:bodyPr>
            <a:lstStyle/>
            <a:p>
              <a:pPr algn="ctr"/>
              <a:r>
                <a:rPr lang="nb-NO" sz="1100" b="1">
                  <a:latin typeface="Ubuntu" panose="020B0504030602030204" pitchFamily="34" charset="0"/>
                </a:rPr>
                <a:t>F</a:t>
              </a:r>
              <a:endParaRPr lang="en-US" sz="1100" b="1">
                <a:latin typeface="Ubuntu" panose="020B0504030602030204" pitchFamily="34" charset="0"/>
              </a:endParaRPr>
            </a:p>
          </p:txBody>
        </p:sp>
        <p:sp>
          <p:nvSpPr>
            <p:cNvPr id="41" name="TextBox 40">
              <a:extLst>
                <a:ext uri="{FF2B5EF4-FFF2-40B4-BE49-F238E27FC236}">
                  <a16:creationId xmlns:a16="http://schemas.microsoft.com/office/drawing/2014/main" id="{B9C72C25-E2E7-98E4-E1AA-D01A8F83280F}"/>
                </a:ext>
              </a:extLst>
            </p:cNvPr>
            <p:cNvSpPr txBox="1"/>
            <p:nvPr/>
          </p:nvSpPr>
          <p:spPr>
            <a:xfrm>
              <a:off x="3201665" y="3267321"/>
              <a:ext cx="707198" cy="261610"/>
            </a:xfrm>
            <a:prstGeom prst="rect">
              <a:avLst/>
            </a:prstGeom>
            <a:noFill/>
          </p:spPr>
          <p:txBody>
            <a:bodyPr wrap="square" rtlCol="0">
              <a:spAutoFit/>
            </a:bodyPr>
            <a:lstStyle/>
            <a:p>
              <a:pPr algn="ctr"/>
              <a:r>
                <a:rPr lang="nb-NO" sz="1100" b="1">
                  <a:latin typeface="Ubuntu" panose="020B0504030602030204" pitchFamily="34" charset="0"/>
                </a:rPr>
                <a:t>G</a:t>
              </a:r>
              <a:endParaRPr lang="en-US" sz="1100" b="1">
                <a:latin typeface="Ubuntu" panose="020B0504030602030204" pitchFamily="34" charset="0"/>
              </a:endParaRPr>
            </a:p>
          </p:txBody>
        </p:sp>
        <p:grpSp>
          <p:nvGrpSpPr>
            <p:cNvPr id="42" name="Group 41">
              <a:extLst>
                <a:ext uri="{FF2B5EF4-FFF2-40B4-BE49-F238E27FC236}">
                  <a16:creationId xmlns:a16="http://schemas.microsoft.com/office/drawing/2014/main" id="{3D7DECFE-15F5-F0DC-346C-D7CC6673D45B}"/>
                </a:ext>
              </a:extLst>
            </p:cNvPr>
            <p:cNvGrpSpPr/>
            <p:nvPr/>
          </p:nvGrpSpPr>
          <p:grpSpPr>
            <a:xfrm>
              <a:off x="973983" y="3613492"/>
              <a:ext cx="660715" cy="1803182"/>
              <a:chOff x="666268" y="3837260"/>
              <a:chExt cx="660715" cy="1803182"/>
            </a:xfrm>
          </p:grpSpPr>
          <p:sp>
            <p:nvSpPr>
              <p:cNvPr id="43" name="Rectangle 42">
                <a:extLst>
                  <a:ext uri="{FF2B5EF4-FFF2-40B4-BE49-F238E27FC236}">
                    <a16:creationId xmlns:a16="http://schemas.microsoft.com/office/drawing/2014/main" id="{5F0BAB98-E247-ACCD-B77D-966AD7752222}"/>
                  </a:ext>
                </a:extLst>
              </p:cNvPr>
              <p:cNvSpPr/>
              <p:nvPr/>
            </p:nvSpPr>
            <p:spPr>
              <a:xfrm>
                <a:off x="1074983" y="5078204"/>
                <a:ext cx="252000" cy="252000"/>
              </a:xfrm>
              <a:prstGeom prst="rect">
                <a:avLst/>
              </a:prstGeom>
              <a:solidFill>
                <a:schemeClr val="tx1">
                  <a:lumMod val="95000"/>
                  <a:lumOff val="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44" name="Rectangle 43">
                <a:extLst>
                  <a:ext uri="{FF2B5EF4-FFF2-40B4-BE49-F238E27FC236}">
                    <a16:creationId xmlns:a16="http://schemas.microsoft.com/office/drawing/2014/main" id="{892C8952-AC85-F401-74A5-74455FAC7F86}"/>
                  </a:ext>
                </a:extLst>
              </p:cNvPr>
              <p:cNvSpPr/>
              <p:nvPr/>
            </p:nvSpPr>
            <p:spPr>
              <a:xfrm>
                <a:off x="1074983" y="3837260"/>
                <a:ext cx="252000" cy="252000"/>
              </a:xfrm>
              <a:prstGeom prst="rect">
                <a:avLst/>
              </a:prstGeom>
              <a:solidFill>
                <a:schemeClr val="tx1">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1</a:t>
                </a:r>
                <a:r>
                  <a:rPr lang="nb-NO" sz="800" baseline="30000">
                    <a:solidFill>
                      <a:schemeClr val="bg1"/>
                    </a:solidFill>
                    <a:latin typeface="Ubuntu" panose="020B0504030602030204" pitchFamily="34" charset="0"/>
                  </a:rPr>
                  <a:t>1</a:t>
                </a:r>
                <a:endParaRPr lang="en-US" sz="800" baseline="30000">
                  <a:solidFill>
                    <a:schemeClr val="bg1"/>
                  </a:solidFill>
                  <a:latin typeface="Ubuntu" panose="020B0504030602030204" pitchFamily="34" charset="0"/>
                </a:endParaRPr>
              </a:p>
            </p:txBody>
          </p:sp>
          <p:sp>
            <p:nvSpPr>
              <p:cNvPr id="45" name="Rectangle 44">
                <a:extLst>
                  <a:ext uri="{FF2B5EF4-FFF2-40B4-BE49-F238E27FC236}">
                    <a16:creationId xmlns:a16="http://schemas.microsoft.com/office/drawing/2014/main" id="{5E81757A-FD69-86BC-BA92-2096B9142486}"/>
                  </a:ext>
                </a:extLst>
              </p:cNvPr>
              <p:cNvSpPr/>
              <p:nvPr/>
            </p:nvSpPr>
            <p:spPr>
              <a:xfrm>
                <a:off x="1074983" y="5388442"/>
                <a:ext cx="252000" cy="252000"/>
              </a:xfrm>
              <a:prstGeom prst="rect">
                <a:avLst/>
              </a:prstGeom>
              <a:solidFill>
                <a:schemeClr val="tx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M</a:t>
                </a:r>
                <a:endParaRPr lang="en-US" sz="800">
                  <a:solidFill>
                    <a:schemeClr val="bg1"/>
                  </a:solidFill>
                  <a:latin typeface="Ubuntu" panose="020B0504030602030204" pitchFamily="34" charset="0"/>
                </a:endParaRPr>
              </a:p>
            </p:txBody>
          </p:sp>
          <p:sp>
            <p:nvSpPr>
              <p:cNvPr id="46" name="Rectangle 45">
                <a:extLst>
                  <a:ext uri="{FF2B5EF4-FFF2-40B4-BE49-F238E27FC236}">
                    <a16:creationId xmlns:a16="http://schemas.microsoft.com/office/drawing/2014/main" id="{4396D4B3-09AC-2580-0497-45B202B65C20}"/>
                  </a:ext>
                </a:extLst>
              </p:cNvPr>
              <p:cNvSpPr/>
              <p:nvPr/>
            </p:nvSpPr>
            <p:spPr>
              <a:xfrm>
                <a:off x="1074983" y="4147496"/>
                <a:ext cx="252000" cy="252000"/>
              </a:xfrm>
              <a:prstGeom prst="rect">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2</a:t>
                </a:r>
                <a:endParaRPr lang="en-US" sz="800">
                  <a:solidFill>
                    <a:schemeClr val="bg1"/>
                  </a:solidFill>
                  <a:latin typeface="Ubuntu" panose="020B0504030602030204" pitchFamily="34" charset="0"/>
                </a:endParaRPr>
              </a:p>
            </p:txBody>
          </p:sp>
          <p:sp>
            <p:nvSpPr>
              <p:cNvPr id="47" name="Rectangle 46">
                <a:extLst>
                  <a:ext uri="{FF2B5EF4-FFF2-40B4-BE49-F238E27FC236}">
                    <a16:creationId xmlns:a16="http://schemas.microsoft.com/office/drawing/2014/main" id="{F5521C76-6AA6-79B8-6A4D-BBECD39B7C06}"/>
                  </a:ext>
                </a:extLst>
              </p:cNvPr>
              <p:cNvSpPr/>
              <p:nvPr/>
            </p:nvSpPr>
            <p:spPr>
              <a:xfrm>
                <a:off x="1074983" y="4457732"/>
                <a:ext cx="252000" cy="252000"/>
              </a:xfrm>
              <a:prstGeom prst="rect">
                <a:avLst/>
              </a:prstGeom>
              <a:solidFill>
                <a:schemeClr val="tx1">
                  <a:lumMod val="75000"/>
                  <a:lumOff val="2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3</a:t>
                </a:r>
                <a:endParaRPr lang="en-US" sz="800">
                  <a:solidFill>
                    <a:schemeClr val="bg1"/>
                  </a:solidFill>
                  <a:latin typeface="Ubuntu" panose="020B0504030602030204" pitchFamily="34" charset="0"/>
                </a:endParaRPr>
              </a:p>
            </p:txBody>
          </p:sp>
          <p:sp>
            <p:nvSpPr>
              <p:cNvPr id="48" name="Rectangle 47">
                <a:extLst>
                  <a:ext uri="{FF2B5EF4-FFF2-40B4-BE49-F238E27FC236}">
                    <a16:creationId xmlns:a16="http://schemas.microsoft.com/office/drawing/2014/main" id="{8C87FF1B-3487-C0B6-7A8E-E85438B7A42B}"/>
                  </a:ext>
                </a:extLst>
              </p:cNvPr>
              <p:cNvSpPr/>
              <p:nvPr/>
            </p:nvSpPr>
            <p:spPr>
              <a:xfrm>
                <a:off x="1074983" y="4767968"/>
                <a:ext cx="252000" cy="252000"/>
              </a:xfrm>
              <a:prstGeom prst="rect">
                <a:avLst/>
              </a:prstGeom>
              <a:solidFill>
                <a:schemeClr val="tx1">
                  <a:lumMod val="85000"/>
                  <a:lumOff val="1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4</a:t>
                </a:r>
                <a:endParaRPr lang="en-US" sz="800">
                  <a:solidFill>
                    <a:schemeClr val="bg1"/>
                  </a:solidFill>
                  <a:latin typeface="Ubuntu" panose="020B0504030602030204" pitchFamily="34" charset="0"/>
                </a:endParaRPr>
              </a:p>
            </p:txBody>
          </p:sp>
          <p:sp>
            <p:nvSpPr>
              <p:cNvPr id="49" name="Rectangle 48">
                <a:extLst>
                  <a:ext uri="{FF2B5EF4-FFF2-40B4-BE49-F238E27FC236}">
                    <a16:creationId xmlns:a16="http://schemas.microsoft.com/office/drawing/2014/main" id="{F6EEDCFC-707F-640F-D068-3B4D392B9959}"/>
                  </a:ext>
                </a:extLst>
              </p:cNvPr>
              <p:cNvSpPr/>
              <p:nvPr/>
            </p:nvSpPr>
            <p:spPr>
              <a:xfrm>
                <a:off x="666268" y="5388442"/>
                <a:ext cx="252000" cy="252000"/>
              </a:xfrm>
              <a:prstGeom prst="rect">
                <a:avLst/>
              </a:prstGeom>
              <a:solidFill>
                <a:schemeClr val="tx1">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6</a:t>
                </a:r>
                <a:r>
                  <a:rPr lang="nb-NO" sz="800" baseline="30000">
                    <a:solidFill>
                      <a:schemeClr val="bg1"/>
                    </a:solidFill>
                    <a:latin typeface="Ubuntu" panose="020B0504030602030204" pitchFamily="34" charset="0"/>
                  </a:rPr>
                  <a:t>1</a:t>
                </a:r>
                <a:endParaRPr lang="en-US" sz="800" baseline="30000">
                  <a:solidFill>
                    <a:schemeClr val="bg1"/>
                  </a:solidFill>
                  <a:latin typeface="Ubuntu" panose="020B0504030602030204" pitchFamily="34" charset="0"/>
                </a:endParaRPr>
              </a:p>
            </p:txBody>
          </p:sp>
          <p:sp>
            <p:nvSpPr>
              <p:cNvPr id="50" name="Rectangle 49">
                <a:extLst>
                  <a:ext uri="{FF2B5EF4-FFF2-40B4-BE49-F238E27FC236}">
                    <a16:creationId xmlns:a16="http://schemas.microsoft.com/office/drawing/2014/main" id="{CA1E4D46-F9A1-66C2-C2BE-1A7817875825}"/>
                  </a:ext>
                </a:extLst>
              </p:cNvPr>
              <p:cNvSpPr/>
              <p:nvPr/>
            </p:nvSpPr>
            <p:spPr>
              <a:xfrm>
                <a:off x="666268" y="5078204"/>
                <a:ext cx="252000" cy="252000"/>
              </a:xfrm>
              <a:prstGeom prst="rect">
                <a:avLst/>
              </a:prstGeom>
              <a:solidFill>
                <a:schemeClr val="bg1">
                  <a:lumMod val="6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5</a:t>
                </a:r>
                <a:endParaRPr lang="en-US" sz="800">
                  <a:solidFill>
                    <a:schemeClr val="tx1"/>
                  </a:solidFill>
                  <a:latin typeface="Ubuntu" panose="020B0504030602030204" pitchFamily="34" charset="0"/>
                </a:endParaRPr>
              </a:p>
            </p:txBody>
          </p:sp>
          <p:sp>
            <p:nvSpPr>
              <p:cNvPr id="51" name="Rectangle 50">
                <a:extLst>
                  <a:ext uri="{FF2B5EF4-FFF2-40B4-BE49-F238E27FC236}">
                    <a16:creationId xmlns:a16="http://schemas.microsoft.com/office/drawing/2014/main" id="{899AE552-0561-3DDE-DD60-023A38AD0C3E}"/>
                  </a:ext>
                </a:extLst>
              </p:cNvPr>
              <p:cNvSpPr/>
              <p:nvPr/>
            </p:nvSpPr>
            <p:spPr>
              <a:xfrm>
                <a:off x="666268" y="4767968"/>
                <a:ext cx="252000" cy="252000"/>
              </a:xfrm>
              <a:prstGeom prst="rect">
                <a:avLst/>
              </a:pr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4</a:t>
                </a:r>
                <a:endParaRPr lang="en-US" sz="800">
                  <a:solidFill>
                    <a:schemeClr val="tx1"/>
                  </a:solidFill>
                  <a:latin typeface="Ubuntu" panose="020B0504030602030204" pitchFamily="34" charset="0"/>
                </a:endParaRPr>
              </a:p>
            </p:txBody>
          </p:sp>
          <p:sp>
            <p:nvSpPr>
              <p:cNvPr id="52" name="Rectangle 51">
                <a:extLst>
                  <a:ext uri="{FF2B5EF4-FFF2-40B4-BE49-F238E27FC236}">
                    <a16:creationId xmlns:a16="http://schemas.microsoft.com/office/drawing/2014/main" id="{16FB4666-1263-0F8A-2B9E-1D45901DA766}"/>
                  </a:ext>
                </a:extLst>
              </p:cNvPr>
              <p:cNvSpPr/>
              <p:nvPr/>
            </p:nvSpPr>
            <p:spPr>
              <a:xfrm>
                <a:off x="666268" y="4457732"/>
                <a:ext cx="252000" cy="252000"/>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53" name="Rectangle 52">
                <a:extLst>
                  <a:ext uri="{FF2B5EF4-FFF2-40B4-BE49-F238E27FC236}">
                    <a16:creationId xmlns:a16="http://schemas.microsoft.com/office/drawing/2014/main" id="{06CC249B-91F2-3BDE-441E-DEB005B57A07}"/>
                  </a:ext>
                </a:extLst>
              </p:cNvPr>
              <p:cNvSpPr/>
              <p:nvPr/>
            </p:nvSpPr>
            <p:spPr>
              <a:xfrm>
                <a:off x="666268" y="4147496"/>
                <a:ext cx="252000" cy="252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54" name="Rectangle 53">
                <a:extLst>
                  <a:ext uri="{FF2B5EF4-FFF2-40B4-BE49-F238E27FC236}">
                    <a16:creationId xmlns:a16="http://schemas.microsoft.com/office/drawing/2014/main" id="{B682C14C-8705-B010-9215-AA4D4308B9B9}"/>
                  </a:ext>
                </a:extLst>
              </p:cNvPr>
              <p:cNvSpPr/>
              <p:nvPr/>
            </p:nvSpPr>
            <p:spPr>
              <a:xfrm>
                <a:off x="666268" y="3837260"/>
                <a:ext cx="252000" cy="252000"/>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M</a:t>
                </a:r>
                <a:endParaRPr lang="en-US" sz="800">
                  <a:solidFill>
                    <a:schemeClr val="tx1"/>
                  </a:solidFill>
                  <a:latin typeface="Ubuntu" panose="020B0504030602030204" pitchFamily="34" charset="0"/>
                </a:endParaRPr>
              </a:p>
            </p:txBody>
          </p:sp>
          <p:cxnSp>
            <p:nvCxnSpPr>
              <p:cNvPr id="55" name="Straight Connector 54">
                <a:extLst>
                  <a:ext uri="{FF2B5EF4-FFF2-40B4-BE49-F238E27FC236}">
                    <a16:creationId xmlns:a16="http://schemas.microsoft.com/office/drawing/2014/main" id="{57312274-DBF1-09A0-8C40-19CD2152E42B}"/>
                  </a:ext>
                </a:extLst>
              </p:cNvPr>
              <p:cNvCxnSpPr>
                <a:cxnSpLocks/>
                <a:stCxn id="44" idx="1"/>
                <a:endCxn id="49" idx="3"/>
              </p:cNvCxnSpPr>
              <p:nvPr/>
            </p:nvCxnSpPr>
            <p:spPr>
              <a:xfrm flipH="1">
                <a:off x="918268" y="3963260"/>
                <a:ext cx="156715" cy="15511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6" name="Rectangle 55">
              <a:extLst>
                <a:ext uri="{FF2B5EF4-FFF2-40B4-BE49-F238E27FC236}">
                  <a16:creationId xmlns:a16="http://schemas.microsoft.com/office/drawing/2014/main" id="{C3A4AF03-77C3-F841-0D86-C8D525592B27}"/>
                </a:ext>
              </a:extLst>
            </p:cNvPr>
            <p:cNvSpPr/>
            <p:nvPr/>
          </p:nvSpPr>
          <p:spPr>
            <a:xfrm>
              <a:off x="3835794" y="5164674"/>
              <a:ext cx="252000" cy="252000"/>
            </a:xfrm>
            <a:prstGeom prst="rect">
              <a:avLst/>
            </a:prstGeom>
            <a:solidFill>
              <a:schemeClr val="accent4">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6</a:t>
              </a:r>
              <a:endParaRPr lang="en-US" sz="800">
                <a:solidFill>
                  <a:schemeClr val="bg1"/>
                </a:solidFill>
                <a:latin typeface="Ubuntu" panose="020B0504030602030204" pitchFamily="34" charset="0"/>
              </a:endParaRPr>
            </a:p>
          </p:txBody>
        </p:sp>
        <p:sp>
          <p:nvSpPr>
            <p:cNvPr id="57" name="Rectangle 56">
              <a:extLst>
                <a:ext uri="{FF2B5EF4-FFF2-40B4-BE49-F238E27FC236}">
                  <a16:creationId xmlns:a16="http://schemas.microsoft.com/office/drawing/2014/main" id="{C9483259-D2F6-5932-FD48-8A0FA6EC6224}"/>
                </a:ext>
              </a:extLst>
            </p:cNvPr>
            <p:cNvSpPr/>
            <p:nvPr/>
          </p:nvSpPr>
          <p:spPr>
            <a:xfrm>
              <a:off x="3835794" y="3613492"/>
              <a:ext cx="252000" cy="252000"/>
            </a:xfrm>
            <a:prstGeom prst="rect">
              <a:avLst/>
            </a:prstGeom>
            <a:solidFill>
              <a:schemeClr val="accent4">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1</a:t>
              </a:r>
              <a:endParaRPr lang="en-US" sz="800">
                <a:solidFill>
                  <a:schemeClr val="tx1"/>
                </a:solidFill>
                <a:latin typeface="Ubuntu" panose="020B0504030602030204" pitchFamily="34" charset="0"/>
              </a:endParaRPr>
            </a:p>
          </p:txBody>
        </p:sp>
        <p:sp>
          <p:nvSpPr>
            <p:cNvPr id="58" name="Rectangle 57">
              <a:extLst>
                <a:ext uri="{FF2B5EF4-FFF2-40B4-BE49-F238E27FC236}">
                  <a16:creationId xmlns:a16="http://schemas.microsoft.com/office/drawing/2014/main" id="{35D4E06D-CBBB-BC05-7533-67384F03A227}"/>
                </a:ext>
              </a:extLst>
            </p:cNvPr>
            <p:cNvSpPr/>
            <p:nvPr/>
          </p:nvSpPr>
          <p:spPr>
            <a:xfrm>
              <a:off x="3835794" y="3923729"/>
              <a:ext cx="252000" cy="252000"/>
            </a:xfrm>
            <a:prstGeom prst="rect">
              <a:avLst/>
            </a:prstGeom>
            <a:solidFill>
              <a:schemeClr val="accent4">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59" name="Rectangle 58">
              <a:extLst>
                <a:ext uri="{FF2B5EF4-FFF2-40B4-BE49-F238E27FC236}">
                  <a16:creationId xmlns:a16="http://schemas.microsoft.com/office/drawing/2014/main" id="{1AB890B3-B3C1-F55F-71D7-7C00942DD19C}"/>
                </a:ext>
              </a:extLst>
            </p:cNvPr>
            <p:cNvSpPr/>
            <p:nvPr/>
          </p:nvSpPr>
          <p:spPr>
            <a:xfrm>
              <a:off x="3835794" y="4233966"/>
              <a:ext cx="252000" cy="252000"/>
            </a:xfrm>
            <a:prstGeom prst="rect">
              <a:avLst/>
            </a:prstGeom>
            <a:solidFill>
              <a:schemeClr val="accent4">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60" name="Rectangle 59">
              <a:extLst>
                <a:ext uri="{FF2B5EF4-FFF2-40B4-BE49-F238E27FC236}">
                  <a16:creationId xmlns:a16="http://schemas.microsoft.com/office/drawing/2014/main" id="{46DC8EBC-01B6-0539-73CA-0E13F36C3A12}"/>
                </a:ext>
              </a:extLst>
            </p:cNvPr>
            <p:cNvSpPr/>
            <p:nvPr/>
          </p:nvSpPr>
          <p:spPr>
            <a:xfrm>
              <a:off x="3835794" y="4854440"/>
              <a:ext cx="252000" cy="252000"/>
            </a:xfrm>
            <a:prstGeom prst="rect">
              <a:avLst/>
            </a:prstGeom>
            <a:solidFill>
              <a:schemeClr val="accent4">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61" name="Rectangle 60">
              <a:extLst>
                <a:ext uri="{FF2B5EF4-FFF2-40B4-BE49-F238E27FC236}">
                  <a16:creationId xmlns:a16="http://schemas.microsoft.com/office/drawing/2014/main" id="{B18BB72E-8431-DA6A-ED15-12AE8E67283C}"/>
                </a:ext>
              </a:extLst>
            </p:cNvPr>
            <p:cNvSpPr/>
            <p:nvPr/>
          </p:nvSpPr>
          <p:spPr>
            <a:xfrm>
              <a:off x="3835794" y="4544203"/>
              <a:ext cx="252000" cy="252000"/>
            </a:xfrm>
            <a:prstGeom prst="rect">
              <a:avLst/>
            </a:prstGeom>
            <a:solidFill>
              <a:schemeClr val="accent4"/>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M</a:t>
              </a:r>
              <a:endParaRPr lang="en-US" sz="800">
                <a:solidFill>
                  <a:schemeClr val="tx1"/>
                </a:solidFill>
                <a:latin typeface="Ubuntu" panose="020B0504030602030204" pitchFamily="34" charset="0"/>
              </a:endParaRPr>
            </a:p>
          </p:txBody>
        </p:sp>
        <p:sp>
          <p:nvSpPr>
            <p:cNvPr id="62" name="TextBox 61">
              <a:extLst>
                <a:ext uri="{FF2B5EF4-FFF2-40B4-BE49-F238E27FC236}">
                  <a16:creationId xmlns:a16="http://schemas.microsoft.com/office/drawing/2014/main" id="{F04037EE-169D-5A74-7082-B55A777F62C7}"/>
                </a:ext>
              </a:extLst>
            </p:cNvPr>
            <p:cNvSpPr txBox="1"/>
            <p:nvPr/>
          </p:nvSpPr>
          <p:spPr>
            <a:xfrm>
              <a:off x="3608739" y="3267321"/>
              <a:ext cx="707198" cy="261610"/>
            </a:xfrm>
            <a:prstGeom prst="rect">
              <a:avLst/>
            </a:prstGeom>
            <a:noFill/>
          </p:spPr>
          <p:txBody>
            <a:bodyPr wrap="square" rtlCol="0">
              <a:spAutoFit/>
            </a:bodyPr>
            <a:lstStyle/>
            <a:p>
              <a:pPr algn="ctr"/>
              <a:r>
                <a:rPr lang="nb-NO" sz="1100" b="1">
                  <a:latin typeface="Ubuntu" panose="020B0504030602030204" pitchFamily="34" charset="0"/>
                </a:rPr>
                <a:t>H</a:t>
              </a:r>
              <a:endParaRPr lang="en-US" sz="1100" b="1">
                <a:latin typeface="Ubuntu" panose="020B0504030602030204" pitchFamily="34" charset="0"/>
              </a:endParaRPr>
            </a:p>
          </p:txBody>
        </p:sp>
        <p:sp>
          <p:nvSpPr>
            <p:cNvPr id="63" name="Rectangle 62">
              <a:extLst>
                <a:ext uri="{FF2B5EF4-FFF2-40B4-BE49-F238E27FC236}">
                  <a16:creationId xmlns:a16="http://schemas.microsoft.com/office/drawing/2014/main" id="{BC7D4613-7CD4-470E-A197-ABA69B2C53AC}"/>
                </a:ext>
              </a:extLst>
            </p:cNvPr>
            <p:cNvSpPr/>
            <p:nvPr/>
          </p:nvSpPr>
          <p:spPr>
            <a:xfrm>
              <a:off x="4242061" y="5164674"/>
              <a:ext cx="252000" cy="252000"/>
            </a:xfrm>
            <a:prstGeom prst="rect">
              <a:avLst/>
            </a:prstGeom>
            <a:solidFill>
              <a:schemeClr val="accent5">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6</a:t>
              </a:r>
              <a:endParaRPr lang="en-US" sz="800">
                <a:solidFill>
                  <a:schemeClr val="bg1"/>
                </a:solidFill>
                <a:latin typeface="Ubuntu" panose="020B0504030602030204" pitchFamily="34" charset="0"/>
              </a:endParaRPr>
            </a:p>
          </p:txBody>
        </p:sp>
        <p:sp>
          <p:nvSpPr>
            <p:cNvPr id="64" name="Rectangle 63">
              <a:extLst>
                <a:ext uri="{FF2B5EF4-FFF2-40B4-BE49-F238E27FC236}">
                  <a16:creationId xmlns:a16="http://schemas.microsoft.com/office/drawing/2014/main" id="{509AE077-9054-0842-1F88-040E1A946CD9}"/>
                </a:ext>
              </a:extLst>
            </p:cNvPr>
            <p:cNvSpPr/>
            <p:nvPr/>
          </p:nvSpPr>
          <p:spPr>
            <a:xfrm>
              <a:off x="4242061" y="3613492"/>
              <a:ext cx="252000" cy="252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1</a:t>
              </a:r>
              <a:endParaRPr lang="en-US" sz="800">
                <a:solidFill>
                  <a:schemeClr val="tx1"/>
                </a:solidFill>
                <a:latin typeface="Ubuntu" panose="020B0504030602030204" pitchFamily="34" charset="0"/>
              </a:endParaRPr>
            </a:p>
          </p:txBody>
        </p:sp>
        <p:sp>
          <p:nvSpPr>
            <p:cNvPr id="65" name="Rectangle 64">
              <a:extLst>
                <a:ext uri="{FF2B5EF4-FFF2-40B4-BE49-F238E27FC236}">
                  <a16:creationId xmlns:a16="http://schemas.microsoft.com/office/drawing/2014/main" id="{6ADE12D0-334B-E910-54FB-822491C61479}"/>
                </a:ext>
              </a:extLst>
            </p:cNvPr>
            <p:cNvSpPr/>
            <p:nvPr/>
          </p:nvSpPr>
          <p:spPr>
            <a:xfrm>
              <a:off x="4242061" y="3923729"/>
              <a:ext cx="252000" cy="252000"/>
            </a:xfrm>
            <a:prstGeom prst="rect">
              <a:avLst/>
            </a:prstGeom>
            <a:solidFill>
              <a:schemeClr val="accent5">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66" name="Rectangle 65">
              <a:extLst>
                <a:ext uri="{FF2B5EF4-FFF2-40B4-BE49-F238E27FC236}">
                  <a16:creationId xmlns:a16="http://schemas.microsoft.com/office/drawing/2014/main" id="{00C34E8E-8BA0-3BBC-F140-B4C840C4C611}"/>
                </a:ext>
              </a:extLst>
            </p:cNvPr>
            <p:cNvSpPr/>
            <p:nvPr/>
          </p:nvSpPr>
          <p:spPr>
            <a:xfrm>
              <a:off x="4242061" y="4544203"/>
              <a:ext cx="252000" cy="252000"/>
            </a:xfrm>
            <a:prstGeom prst="rect">
              <a:avLst/>
            </a:prstGeom>
            <a:solidFill>
              <a:schemeClr val="accent5"/>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M</a:t>
              </a:r>
              <a:endParaRPr lang="en-US" sz="800">
                <a:solidFill>
                  <a:schemeClr val="tx1"/>
                </a:solidFill>
                <a:latin typeface="Ubuntu" panose="020B0504030602030204" pitchFamily="34" charset="0"/>
              </a:endParaRPr>
            </a:p>
          </p:txBody>
        </p:sp>
        <p:sp>
          <p:nvSpPr>
            <p:cNvPr id="67" name="Rectangle 66">
              <a:extLst>
                <a:ext uri="{FF2B5EF4-FFF2-40B4-BE49-F238E27FC236}">
                  <a16:creationId xmlns:a16="http://schemas.microsoft.com/office/drawing/2014/main" id="{86F76628-AC23-9DF6-1627-4FD7A4E8EA9D}"/>
                </a:ext>
              </a:extLst>
            </p:cNvPr>
            <p:cNvSpPr/>
            <p:nvPr/>
          </p:nvSpPr>
          <p:spPr>
            <a:xfrm>
              <a:off x="4242061" y="4233966"/>
              <a:ext cx="252000" cy="252000"/>
            </a:xfrm>
            <a:prstGeom prst="rect">
              <a:avLst/>
            </a:prstGeom>
            <a:solidFill>
              <a:schemeClr val="accent5">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68" name="Rectangle 67">
              <a:extLst>
                <a:ext uri="{FF2B5EF4-FFF2-40B4-BE49-F238E27FC236}">
                  <a16:creationId xmlns:a16="http://schemas.microsoft.com/office/drawing/2014/main" id="{6437C4CC-3C29-68BB-60AE-D1B4BE99F67A}"/>
                </a:ext>
              </a:extLst>
            </p:cNvPr>
            <p:cNvSpPr/>
            <p:nvPr/>
          </p:nvSpPr>
          <p:spPr>
            <a:xfrm>
              <a:off x="4242061" y="4854440"/>
              <a:ext cx="252000" cy="252000"/>
            </a:xfrm>
            <a:prstGeom prst="rect">
              <a:avLst/>
            </a:prstGeom>
            <a:solidFill>
              <a:schemeClr val="accent5">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69" name="TextBox 68">
              <a:extLst>
                <a:ext uri="{FF2B5EF4-FFF2-40B4-BE49-F238E27FC236}">
                  <a16:creationId xmlns:a16="http://schemas.microsoft.com/office/drawing/2014/main" id="{FAE329BE-6842-45C9-97EC-5C81D478327B}"/>
                </a:ext>
              </a:extLst>
            </p:cNvPr>
            <p:cNvSpPr txBox="1"/>
            <p:nvPr/>
          </p:nvSpPr>
          <p:spPr>
            <a:xfrm>
              <a:off x="4015812" y="3267321"/>
              <a:ext cx="707198" cy="261610"/>
            </a:xfrm>
            <a:prstGeom prst="rect">
              <a:avLst/>
            </a:prstGeom>
            <a:noFill/>
          </p:spPr>
          <p:txBody>
            <a:bodyPr wrap="square" rtlCol="0">
              <a:spAutoFit/>
            </a:bodyPr>
            <a:lstStyle/>
            <a:p>
              <a:pPr algn="ctr"/>
              <a:r>
                <a:rPr lang="nb-NO" sz="1100" b="1">
                  <a:latin typeface="Ubuntu" panose="020B0504030602030204" pitchFamily="34" charset="0"/>
                </a:rPr>
                <a:t>I</a:t>
              </a:r>
              <a:endParaRPr lang="en-US" sz="1100" b="1">
                <a:latin typeface="Ubuntu" panose="020B0504030602030204" pitchFamily="34" charset="0"/>
              </a:endParaRPr>
            </a:p>
          </p:txBody>
        </p:sp>
        <p:sp>
          <p:nvSpPr>
            <p:cNvPr id="70" name="TextBox 69">
              <a:extLst>
                <a:ext uri="{FF2B5EF4-FFF2-40B4-BE49-F238E27FC236}">
                  <a16:creationId xmlns:a16="http://schemas.microsoft.com/office/drawing/2014/main" id="{3D2E1DD9-51AF-61FC-5CD6-D497697B0A4A}"/>
                </a:ext>
              </a:extLst>
            </p:cNvPr>
            <p:cNvSpPr txBox="1"/>
            <p:nvPr/>
          </p:nvSpPr>
          <p:spPr>
            <a:xfrm>
              <a:off x="1161998" y="3267321"/>
              <a:ext cx="707198" cy="261610"/>
            </a:xfrm>
            <a:prstGeom prst="rect">
              <a:avLst/>
            </a:prstGeom>
            <a:noFill/>
          </p:spPr>
          <p:txBody>
            <a:bodyPr wrap="square" rtlCol="0">
              <a:spAutoFit/>
            </a:bodyPr>
            <a:lstStyle/>
            <a:p>
              <a:pPr algn="ctr"/>
              <a:r>
                <a:rPr lang="nb-NO" sz="1100" b="1">
                  <a:latin typeface="Ubuntu" panose="020B0504030602030204" pitchFamily="34" charset="0"/>
                </a:rPr>
                <a:t>B</a:t>
              </a:r>
              <a:endParaRPr lang="en-US" sz="1100" b="1">
                <a:latin typeface="Ubuntu" panose="020B0504030602030204" pitchFamily="34" charset="0"/>
              </a:endParaRPr>
            </a:p>
          </p:txBody>
        </p:sp>
        <p:sp>
          <p:nvSpPr>
            <p:cNvPr id="71" name="TextBox 70">
              <a:extLst>
                <a:ext uri="{FF2B5EF4-FFF2-40B4-BE49-F238E27FC236}">
                  <a16:creationId xmlns:a16="http://schemas.microsoft.com/office/drawing/2014/main" id="{788C0879-F95A-6A13-9373-B1A00B44B62C}"/>
                </a:ext>
              </a:extLst>
            </p:cNvPr>
            <p:cNvSpPr txBox="1"/>
            <p:nvPr/>
          </p:nvSpPr>
          <p:spPr>
            <a:xfrm>
              <a:off x="750627" y="3267321"/>
              <a:ext cx="707198" cy="261610"/>
            </a:xfrm>
            <a:prstGeom prst="rect">
              <a:avLst/>
            </a:prstGeom>
            <a:noFill/>
          </p:spPr>
          <p:txBody>
            <a:bodyPr wrap="square" rtlCol="0">
              <a:spAutoFit/>
            </a:bodyPr>
            <a:lstStyle/>
            <a:p>
              <a:pPr algn="ctr"/>
              <a:r>
                <a:rPr lang="nb-NO" sz="1100" b="1">
                  <a:latin typeface="Ubuntu" panose="020B0504030602030204" pitchFamily="34" charset="0"/>
                </a:rPr>
                <a:t>A</a:t>
              </a:r>
              <a:endParaRPr lang="en-US" sz="1100" b="1">
                <a:latin typeface="Ubuntu" panose="020B0504030602030204" pitchFamily="34" charset="0"/>
              </a:endParaRPr>
            </a:p>
          </p:txBody>
        </p:sp>
        <p:sp>
          <p:nvSpPr>
            <p:cNvPr id="72" name="Rectangle 71">
              <a:extLst>
                <a:ext uri="{FF2B5EF4-FFF2-40B4-BE49-F238E27FC236}">
                  <a16:creationId xmlns:a16="http://schemas.microsoft.com/office/drawing/2014/main" id="{15E22DE3-74D2-ED85-EF6B-E7C2F4F51226}"/>
                </a:ext>
              </a:extLst>
            </p:cNvPr>
            <p:cNvSpPr/>
            <p:nvPr/>
          </p:nvSpPr>
          <p:spPr>
            <a:xfrm>
              <a:off x="4650196" y="5164674"/>
              <a:ext cx="252000" cy="252000"/>
            </a:xfrm>
            <a:prstGeom prst="rect">
              <a:avLst/>
            </a:prstGeom>
            <a:solidFill>
              <a:schemeClr val="accent6">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6</a:t>
              </a:r>
              <a:endParaRPr lang="en-US" sz="800">
                <a:solidFill>
                  <a:schemeClr val="bg1"/>
                </a:solidFill>
                <a:latin typeface="Ubuntu" panose="020B0504030602030204" pitchFamily="34" charset="0"/>
              </a:endParaRPr>
            </a:p>
          </p:txBody>
        </p:sp>
        <p:sp>
          <p:nvSpPr>
            <p:cNvPr id="73" name="Rectangle 72">
              <a:extLst>
                <a:ext uri="{FF2B5EF4-FFF2-40B4-BE49-F238E27FC236}">
                  <a16:creationId xmlns:a16="http://schemas.microsoft.com/office/drawing/2014/main" id="{6237733D-0BC9-5F2D-023F-216C88914970}"/>
                </a:ext>
              </a:extLst>
            </p:cNvPr>
            <p:cNvSpPr/>
            <p:nvPr/>
          </p:nvSpPr>
          <p:spPr>
            <a:xfrm>
              <a:off x="4650196" y="3613492"/>
              <a:ext cx="252000" cy="252000"/>
            </a:xfrm>
            <a:prstGeom prst="rect">
              <a:avLst/>
            </a:prstGeom>
            <a:solidFill>
              <a:schemeClr val="accent6">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1</a:t>
              </a:r>
              <a:endParaRPr lang="en-US" sz="800">
                <a:solidFill>
                  <a:schemeClr val="tx1"/>
                </a:solidFill>
                <a:latin typeface="Ubuntu" panose="020B0504030602030204" pitchFamily="34" charset="0"/>
              </a:endParaRPr>
            </a:p>
          </p:txBody>
        </p:sp>
        <p:sp>
          <p:nvSpPr>
            <p:cNvPr id="74" name="Rectangle 73">
              <a:extLst>
                <a:ext uri="{FF2B5EF4-FFF2-40B4-BE49-F238E27FC236}">
                  <a16:creationId xmlns:a16="http://schemas.microsoft.com/office/drawing/2014/main" id="{E60BD6C9-AB69-8BBA-F1ED-FE3674AF8B7A}"/>
                </a:ext>
              </a:extLst>
            </p:cNvPr>
            <p:cNvSpPr/>
            <p:nvPr/>
          </p:nvSpPr>
          <p:spPr>
            <a:xfrm>
              <a:off x="4650196" y="3923729"/>
              <a:ext cx="252000" cy="252000"/>
            </a:xfrm>
            <a:prstGeom prst="rect">
              <a:avLst/>
            </a:prstGeom>
            <a:solidFill>
              <a:schemeClr val="accent6">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75" name="Rectangle 74">
              <a:extLst>
                <a:ext uri="{FF2B5EF4-FFF2-40B4-BE49-F238E27FC236}">
                  <a16:creationId xmlns:a16="http://schemas.microsoft.com/office/drawing/2014/main" id="{28D0E125-06FE-4091-46C4-4AA0D8A2B462}"/>
                </a:ext>
              </a:extLst>
            </p:cNvPr>
            <p:cNvSpPr/>
            <p:nvPr/>
          </p:nvSpPr>
          <p:spPr>
            <a:xfrm>
              <a:off x="4650196" y="4233966"/>
              <a:ext cx="252000" cy="252000"/>
            </a:xfrm>
            <a:prstGeom prst="rect">
              <a:avLst/>
            </a:prstGeom>
            <a:solidFill>
              <a:schemeClr val="accent6">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76" name="Rectangle 75">
              <a:extLst>
                <a:ext uri="{FF2B5EF4-FFF2-40B4-BE49-F238E27FC236}">
                  <a16:creationId xmlns:a16="http://schemas.microsoft.com/office/drawing/2014/main" id="{7A0CC89A-6E88-B7D8-8B47-8E75AE5C78A3}"/>
                </a:ext>
              </a:extLst>
            </p:cNvPr>
            <p:cNvSpPr/>
            <p:nvPr/>
          </p:nvSpPr>
          <p:spPr>
            <a:xfrm>
              <a:off x="4650196" y="4854440"/>
              <a:ext cx="252000" cy="252000"/>
            </a:xfrm>
            <a:prstGeom prst="rect">
              <a:avLst/>
            </a:prstGeom>
            <a:solidFill>
              <a:schemeClr val="accent6">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77" name="Rectangle 76">
              <a:extLst>
                <a:ext uri="{FF2B5EF4-FFF2-40B4-BE49-F238E27FC236}">
                  <a16:creationId xmlns:a16="http://schemas.microsoft.com/office/drawing/2014/main" id="{FD31C0EE-145C-7737-6C58-FBDDDBA5F75B}"/>
                </a:ext>
              </a:extLst>
            </p:cNvPr>
            <p:cNvSpPr/>
            <p:nvPr/>
          </p:nvSpPr>
          <p:spPr>
            <a:xfrm>
              <a:off x="4650196" y="4544203"/>
              <a:ext cx="252000" cy="252000"/>
            </a:xfrm>
            <a:prstGeom prst="rect">
              <a:avLst/>
            </a:prstGeom>
            <a:solidFill>
              <a:schemeClr val="accent6"/>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800">
                  <a:solidFill>
                    <a:schemeClr val="tx1"/>
                  </a:solidFill>
                  <a:latin typeface="Ubuntu" panose="020B0504030602030204" pitchFamily="34" charset="0"/>
                </a:rPr>
                <a:t>M</a:t>
              </a:r>
              <a:endParaRPr lang="en-US" sz="800">
                <a:solidFill>
                  <a:schemeClr val="tx1"/>
                </a:solidFill>
                <a:latin typeface="Ubuntu" panose="020B0504030602030204" pitchFamily="34" charset="0"/>
              </a:endParaRPr>
            </a:p>
          </p:txBody>
        </p:sp>
        <p:sp>
          <p:nvSpPr>
            <p:cNvPr id="78" name="TextBox 77">
              <a:extLst>
                <a:ext uri="{FF2B5EF4-FFF2-40B4-BE49-F238E27FC236}">
                  <a16:creationId xmlns:a16="http://schemas.microsoft.com/office/drawing/2014/main" id="{0BCFE54F-15ED-D72E-3ADE-590512CA70F8}"/>
                </a:ext>
              </a:extLst>
            </p:cNvPr>
            <p:cNvSpPr txBox="1"/>
            <p:nvPr/>
          </p:nvSpPr>
          <p:spPr>
            <a:xfrm>
              <a:off x="4422304" y="3267321"/>
              <a:ext cx="707198" cy="261610"/>
            </a:xfrm>
            <a:prstGeom prst="rect">
              <a:avLst/>
            </a:prstGeom>
            <a:noFill/>
          </p:spPr>
          <p:txBody>
            <a:bodyPr wrap="square" rtlCol="0">
              <a:spAutoFit/>
            </a:bodyPr>
            <a:lstStyle/>
            <a:p>
              <a:pPr algn="ctr"/>
              <a:r>
                <a:rPr lang="nb-NO" sz="1100" b="1">
                  <a:latin typeface="Ubuntu" panose="020B0504030602030204" pitchFamily="34" charset="0"/>
                </a:rPr>
                <a:t>J</a:t>
              </a:r>
              <a:endParaRPr lang="en-US" sz="1100" b="1">
                <a:latin typeface="Ubuntu" panose="020B0504030602030204" pitchFamily="34" charset="0"/>
              </a:endParaRPr>
            </a:p>
          </p:txBody>
        </p:sp>
        <p:grpSp>
          <p:nvGrpSpPr>
            <p:cNvPr id="94" name="Group 93">
              <a:extLst>
                <a:ext uri="{FF2B5EF4-FFF2-40B4-BE49-F238E27FC236}">
                  <a16:creationId xmlns:a16="http://schemas.microsoft.com/office/drawing/2014/main" id="{DE3D8885-B974-3E2C-094C-9094225EE35C}"/>
                </a:ext>
              </a:extLst>
            </p:cNvPr>
            <p:cNvGrpSpPr/>
            <p:nvPr/>
          </p:nvGrpSpPr>
          <p:grpSpPr>
            <a:xfrm>
              <a:off x="1315888" y="1495391"/>
              <a:ext cx="2836936" cy="1525010"/>
              <a:chOff x="871161" y="1085948"/>
              <a:chExt cx="2836936" cy="1525010"/>
            </a:xfrm>
          </p:grpSpPr>
          <p:pic>
            <p:nvPicPr>
              <p:cNvPr id="95" name="Picture 94">
                <a:extLst>
                  <a:ext uri="{FF2B5EF4-FFF2-40B4-BE49-F238E27FC236}">
                    <a16:creationId xmlns:a16="http://schemas.microsoft.com/office/drawing/2014/main" id="{54B986AB-CE02-1B3D-1B1B-DEA6F3E57630}"/>
                  </a:ext>
                </a:extLst>
              </p:cNvPr>
              <p:cNvPicPr>
                <a:picLocks noChangeAspect="1"/>
              </p:cNvPicPr>
              <p:nvPr/>
            </p:nvPicPr>
            <p:blipFill rotWithShape="1">
              <a:blip r:embed="rId2">
                <a:clrChange>
                  <a:clrFrom>
                    <a:srgbClr val="FFFFFF"/>
                  </a:clrFrom>
                  <a:clrTo>
                    <a:srgbClr val="FFFFFF">
                      <a:alpha val="0"/>
                    </a:srgbClr>
                  </a:clrTo>
                </a:clrChange>
              </a:blip>
              <a:srcRect t="18180" r="3361"/>
              <a:stretch/>
            </p:blipFill>
            <p:spPr>
              <a:xfrm>
                <a:off x="1580696" y="1311773"/>
                <a:ext cx="2049892" cy="1299185"/>
              </a:xfrm>
              <a:prstGeom prst="rect">
                <a:avLst/>
              </a:prstGeom>
            </p:spPr>
          </p:pic>
          <p:sp>
            <p:nvSpPr>
              <p:cNvPr id="96" name="TextBox 95">
                <a:extLst>
                  <a:ext uri="{FF2B5EF4-FFF2-40B4-BE49-F238E27FC236}">
                    <a16:creationId xmlns:a16="http://schemas.microsoft.com/office/drawing/2014/main" id="{2CA623F6-6EE9-6A7A-3DCD-C8F0E510BE37}"/>
                  </a:ext>
                </a:extLst>
              </p:cNvPr>
              <p:cNvSpPr txBox="1"/>
              <p:nvPr/>
            </p:nvSpPr>
            <p:spPr>
              <a:xfrm>
                <a:off x="871161" y="1355919"/>
                <a:ext cx="793244" cy="261610"/>
              </a:xfrm>
              <a:prstGeom prst="rect">
                <a:avLst/>
              </a:prstGeom>
              <a:noFill/>
            </p:spPr>
            <p:txBody>
              <a:bodyPr wrap="square" rtlCol="0">
                <a:spAutoFit/>
              </a:bodyPr>
              <a:lstStyle/>
              <a:p>
                <a:pPr algn="r"/>
                <a:r>
                  <a:rPr lang="nb-NO" sz="1100">
                    <a:latin typeface="Ubuntu" panose="020B0504030602030204" pitchFamily="34" charset="0"/>
                  </a:rPr>
                  <a:t>Main (M)</a:t>
                </a:r>
                <a:endParaRPr lang="en-US" sz="1100">
                  <a:latin typeface="Ubuntu" panose="020B0504030602030204" pitchFamily="34" charset="0"/>
                </a:endParaRPr>
              </a:p>
            </p:txBody>
          </p:sp>
          <p:sp>
            <p:nvSpPr>
              <p:cNvPr id="97" name="TextBox 96">
                <a:extLst>
                  <a:ext uri="{FF2B5EF4-FFF2-40B4-BE49-F238E27FC236}">
                    <a16:creationId xmlns:a16="http://schemas.microsoft.com/office/drawing/2014/main" id="{F9B546B7-5694-C5F9-16C6-C18817DC044F}"/>
                  </a:ext>
                </a:extLst>
              </p:cNvPr>
              <p:cNvSpPr txBox="1"/>
              <p:nvPr/>
            </p:nvSpPr>
            <p:spPr>
              <a:xfrm>
                <a:off x="1418795" y="1658016"/>
                <a:ext cx="154607" cy="261610"/>
              </a:xfrm>
              <a:prstGeom prst="rect">
                <a:avLst/>
              </a:prstGeom>
              <a:noFill/>
            </p:spPr>
            <p:txBody>
              <a:bodyPr wrap="square" rtlCol="0">
                <a:spAutoFit/>
              </a:bodyPr>
              <a:lstStyle/>
              <a:p>
                <a:pPr algn="ctr"/>
                <a:r>
                  <a:rPr lang="nb-NO" sz="1100">
                    <a:latin typeface="Ubuntu" panose="020B0504030602030204" pitchFamily="34" charset="0"/>
                  </a:rPr>
                  <a:t>1</a:t>
                </a:r>
                <a:endParaRPr lang="en-US" sz="1100">
                  <a:latin typeface="Ubuntu" panose="020B0504030602030204" pitchFamily="34" charset="0"/>
                </a:endParaRPr>
              </a:p>
            </p:txBody>
          </p:sp>
          <p:sp>
            <p:nvSpPr>
              <p:cNvPr id="98" name="TextBox 97">
                <a:extLst>
                  <a:ext uri="{FF2B5EF4-FFF2-40B4-BE49-F238E27FC236}">
                    <a16:creationId xmlns:a16="http://schemas.microsoft.com/office/drawing/2014/main" id="{90AD14FF-0886-A442-0D5F-2A540D4E5011}"/>
                  </a:ext>
                </a:extLst>
              </p:cNvPr>
              <p:cNvSpPr txBox="1"/>
              <p:nvPr/>
            </p:nvSpPr>
            <p:spPr>
              <a:xfrm>
                <a:off x="1418795" y="1815754"/>
                <a:ext cx="154607" cy="261610"/>
              </a:xfrm>
              <a:prstGeom prst="rect">
                <a:avLst/>
              </a:prstGeom>
              <a:noFill/>
            </p:spPr>
            <p:txBody>
              <a:bodyPr wrap="square" rtlCol="0">
                <a:spAutoFit/>
              </a:bodyPr>
              <a:lstStyle/>
              <a:p>
                <a:pPr algn="ctr"/>
                <a:r>
                  <a:rPr lang="nb-NO" sz="1100">
                    <a:latin typeface="Ubuntu" panose="020B0504030602030204" pitchFamily="34" charset="0"/>
                  </a:rPr>
                  <a:t>2</a:t>
                </a:r>
                <a:endParaRPr lang="en-US" sz="1100">
                  <a:latin typeface="Ubuntu" panose="020B0504030602030204" pitchFamily="34" charset="0"/>
                </a:endParaRPr>
              </a:p>
            </p:txBody>
          </p:sp>
          <p:sp>
            <p:nvSpPr>
              <p:cNvPr id="99" name="TextBox 98">
                <a:extLst>
                  <a:ext uri="{FF2B5EF4-FFF2-40B4-BE49-F238E27FC236}">
                    <a16:creationId xmlns:a16="http://schemas.microsoft.com/office/drawing/2014/main" id="{F58197B4-65C5-9838-4642-63D3D76E84D9}"/>
                  </a:ext>
                </a:extLst>
              </p:cNvPr>
              <p:cNvSpPr txBox="1"/>
              <p:nvPr/>
            </p:nvSpPr>
            <p:spPr>
              <a:xfrm>
                <a:off x="1418795" y="1973492"/>
                <a:ext cx="154607" cy="261610"/>
              </a:xfrm>
              <a:prstGeom prst="rect">
                <a:avLst/>
              </a:prstGeom>
              <a:noFill/>
            </p:spPr>
            <p:txBody>
              <a:bodyPr wrap="square" rtlCol="0">
                <a:spAutoFit/>
              </a:bodyPr>
              <a:lstStyle/>
              <a:p>
                <a:pPr algn="ctr"/>
                <a:r>
                  <a:rPr lang="nb-NO" sz="1100">
                    <a:latin typeface="Ubuntu" panose="020B0504030602030204" pitchFamily="34" charset="0"/>
                  </a:rPr>
                  <a:t>3</a:t>
                </a:r>
                <a:endParaRPr lang="en-US" sz="1100">
                  <a:latin typeface="Ubuntu" panose="020B0504030602030204" pitchFamily="34" charset="0"/>
                </a:endParaRPr>
              </a:p>
            </p:txBody>
          </p:sp>
          <p:sp>
            <p:nvSpPr>
              <p:cNvPr id="100" name="TextBox 99">
                <a:extLst>
                  <a:ext uri="{FF2B5EF4-FFF2-40B4-BE49-F238E27FC236}">
                    <a16:creationId xmlns:a16="http://schemas.microsoft.com/office/drawing/2014/main" id="{5A0B3264-DACC-D2A9-B53A-7A82D95DB37F}"/>
                  </a:ext>
                </a:extLst>
              </p:cNvPr>
              <p:cNvSpPr txBox="1"/>
              <p:nvPr/>
            </p:nvSpPr>
            <p:spPr>
              <a:xfrm>
                <a:off x="1418795" y="2131230"/>
                <a:ext cx="154607" cy="261610"/>
              </a:xfrm>
              <a:prstGeom prst="rect">
                <a:avLst/>
              </a:prstGeom>
              <a:noFill/>
            </p:spPr>
            <p:txBody>
              <a:bodyPr wrap="square" rtlCol="0">
                <a:spAutoFit/>
              </a:bodyPr>
              <a:lstStyle/>
              <a:p>
                <a:pPr algn="ctr"/>
                <a:r>
                  <a:rPr lang="nb-NO" sz="1100">
                    <a:latin typeface="Ubuntu" panose="020B0504030602030204" pitchFamily="34" charset="0"/>
                  </a:rPr>
                  <a:t>4</a:t>
                </a:r>
                <a:endParaRPr lang="en-US" sz="1100">
                  <a:latin typeface="Ubuntu" panose="020B0504030602030204" pitchFamily="34" charset="0"/>
                </a:endParaRPr>
              </a:p>
            </p:txBody>
          </p:sp>
          <p:sp>
            <p:nvSpPr>
              <p:cNvPr id="101" name="TextBox 100">
                <a:extLst>
                  <a:ext uri="{FF2B5EF4-FFF2-40B4-BE49-F238E27FC236}">
                    <a16:creationId xmlns:a16="http://schemas.microsoft.com/office/drawing/2014/main" id="{76C9F502-666C-5DD6-FF05-F68727E6A3F3}"/>
                  </a:ext>
                </a:extLst>
              </p:cNvPr>
              <p:cNvSpPr txBox="1"/>
              <p:nvPr/>
            </p:nvSpPr>
            <p:spPr>
              <a:xfrm>
                <a:off x="1418795" y="2288967"/>
                <a:ext cx="154607" cy="261610"/>
              </a:xfrm>
              <a:prstGeom prst="rect">
                <a:avLst/>
              </a:prstGeom>
              <a:noFill/>
            </p:spPr>
            <p:txBody>
              <a:bodyPr wrap="square" rtlCol="0">
                <a:spAutoFit/>
              </a:bodyPr>
              <a:lstStyle/>
              <a:p>
                <a:pPr algn="ctr"/>
                <a:r>
                  <a:rPr lang="nb-NO" sz="1100">
                    <a:latin typeface="Ubuntu" panose="020B0504030602030204" pitchFamily="34" charset="0"/>
                  </a:rPr>
                  <a:t>5</a:t>
                </a:r>
                <a:endParaRPr lang="en-US" sz="1100">
                  <a:latin typeface="Ubuntu" panose="020B0504030602030204" pitchFamily="34" charset="0"/>
                </a:endParaRPr>
              </a:p>
            </p:txBody>
          </p:sp>
          <p:sp>
            <p:nvSpPr>
              <p:cNvPr id="102" name="TextBox 101">
                <a:extLst>
                  <a:ext uri="{FF2B5EF4-FFF2-40B4-BE49-F238E27FC236}">
                    <a16:creationId xmlns:a16="http://schemas.microsoft.com/office/drawing/2014/main" id="{C9683B4C-132D-831F-4588-F4CB99F73E08}"/>
                  </a:ext>
                </a:extLst>
              </p:cNvPr>
              <p:cNvSpPr txBox="1"/>
              <p:nvPr/>
            </p:nvSpPr>
            <p:spPr>
              <a:xfrm>
                <a:off x="1588076" y="1085948"/>
                <a:ext cx="154607" cy="261610"/>
              </a:xfrm>
              <a:prstGeom prst="rect">
                <a:avLst/>
              </a:prstGeom>
              <a:noFill/>
            </p:spPr>
            <p:txBody>
              <a:bodyPr wrap="square" rtlCol="0">
                <a:spAutoFit/>
              </a:bodyPr>
              <a:lstStyle/>
              <a:p>
                <a:pPr algn="ctr"/>
                <a:r>
                  <a:rPr lang="nb-NO" sz="1100">
                    <a:latin typeface="Ubuntu" panose="020B0504030602030204" pitchFamily="34" charset="0"/>
                  </a:rPr>
                  <a:t>A</a:t>
                </a:r>
                <a:endParaRPr lang="en-US" sz="1100">
                  <a:latin typeface="Ubuntu" panose="020B0504030602030204" pitchFamily="34" charset="0"/>
                </a:endParaRPr>
              </a:p>
            </p:txBody>
          </p:sp>
          <p:sp>
            <p:nvSpPr>
              <p:cNvPr id="103" name="TextBox 102">
                <a:extLst>
                  <a:ext uri="{FF2B5EF4-FFF2-40B4-BE49-F238E27FC236}">
                    <a16:creationId xmlns:a16="http://schemas.microsoft.com/office/drawing/2014/main" id="{534E9B0E-CFEE-A5B5-759D-54EA0E640C13}"/>
                  </a:ext>
                </a:extLst>
              </p:cNvPr>
              <p:cNvSpPr txBox="1"/>
              <p:nvPr/>
            </p:nvSpPr>
            <p:spPr>
              <a:xfrm>
                <a:off x="1796586" y="1085948"/>
                <a:ext cx="154607" cy="261610"/>
              </a:xfrm>
              <a:prstGeom prst="rect">
                <a:avLst/>
              </a:prstGeom>
              <a:noFill/>
            </p:spPr>
            <p:txBody>
              <a:bodyPr wrap="square" rtlCol="0">
                <a:spAutoFit/>
              </a:bodyPr>
              <a:lstStyle/>
              <a:p>
                <a:pPr algn="ctr"/>
                <a:r>
                  <a:rPr lang="nb-NO" sz="1100">
                    <a:latin typeface="Ubuntu" panose="020B0504030602030204" pitchFamily="34" charset="0"/>
                  </a:rPr>
                  <a:t>B</a:t>
                </a:r>
                <a:endParaRPr lang="en-US" sz="1100">
                  <a:latin typeface="Ubuntu" panose="020B0504030602030204" pitchFamily="34" charset="0"/>
                </a:endParaRPr>
              </a:p>
            </p:txBody>
          </p:sp>
          <p:sp>
            <p:nvSpPr>
              <p:cNvPr id="104" name="TextBox 103">
                <a:extLst>
                  <a:ext uri="{FF2B5EF4-FFF2-40B4-BE49-F238E27FC236}">
                    <a16:creationId xmlns:a16="http://schemas.microsoft.com/office/drawing/2014/main" id="{05E13214-B86D-F5D5-5352-CBF2BF674CBD}"/>
                  </a:ext>
                </a:extLst>
              </p:cNvPr>
              <p:cNvSpPr txBox="1"/>
              <p:nvPr/>
            </p:nvSpPr>
            <p:spPr>
              <a:xfrm>
                <a:off x="2005096" y="1085948"/>
                <a:ext cx="154607" cy="261610"/>
              </a:xfrm>
              <a:prstGeom prst="rect">
                <a:avLst/>
              </a:prstGeom>
              <a:noFill/>
            </p:spPr>
            <p:txBody>
              <a:bodyPr wrap="square" rtlCol="0">
                <a:spAutoFit/>
              </a:bodyPr>
              <a:lstStyle/>
              <a:p>
                <a:pPr algn="ctr"/>
                <a:r>
                  <a:rPr lang="nb-NO" sz="1100">
                    <a:latin typeface="Ubuntu" panose="020B0504030602030204" pitchFamily="34" charset="0"/>
                  </a:rPr>
                  <a:t>C</a:t>
                </a:r>
                <a:endParaRPr lang="en-US" sz="1100">
                  <a:latin typeface="Ubuntu" panose="020B0504030602030204" pitchFamily="34" charset="0"/>
                </a:endParaRPr>
              </a:p>
            </p:txBody>
          </p:sp>
          <p:sp>
            <p:nvSpPr>
              <p:cNvPr id="105" name="TextBox 104">
                <a:extLst>
                  <a:ext uri="{FF2B5EF4-FFF2-40B4-BE49-F238E27FC236}">
                    <a16:creationId xmlns:a16="http://schemas.microsoft.com/office/drawing/2014/main" id="{B3D5A651-0656-AEDD-F728-01793D889505}"/>
                  </a:ext>
                </a:extLst>
              </p:cNvPr>
              <p:cNvSpPr txBox="1"/>
              <p:nvPr/>
            </p:nvSpPr>
            <p:spPr>
              <a:xfrm>
                <a:off x="2213606" y="1085948"/>
                <a:ext cx="154607" cy="261610"/>
              </a:xfrm>
              <a:prstGeom prst="rect">
                <a:avLst/>
              </a:prstGeom>
              <a:noFill/>
            </p:spPr>
            <p:txBody>
              <a:bodyPr wrap="square" rtlCol="0">
                <a:spAutoFit/>
              </a:bodyPr>
              <a:lstStyle/>
              <a:p>
                <a:pPr algn="ctr"/>
                <a:r>
                  <a:rPr lang="nb-NO" sz="1100">
                    <a:latin typeface="Ubuntu" panose="020B0504030602030204" pitchFamily="34" charset="0"/>
                  </a:rPr>
                  <a:t>D</a:t>
                </a:r>
                <a:endParaRPr lang="en-US" sz="1100">
                  <a:latin typeface="Ubuntu" panose="020B0504030602030204" pitchFamily="34" charset="0"/>
                </a:endParaRPr>
              </a:p>
            </p:txBody>
          </p:sp>
          <p:sp>
            <p:nvSpPr>
              <p:cNvPr id="106" name="TextBox 105">
                <a:extLst>
                  <a:ext uri="{FF2B5EF4-FFF2-40B4-BE49-F238E27FC236}">
                    <a16:creationId xmlns:a16="http://schemas.microsoft.com/office/drawing/2014/main" id="{4DE89C95-3A26-DC49-29AC-20E6BF60AF40}"/>
                  </a:ext>
                </a:extLst>
              </p:cNvPr>
              <p:cNvSpPr txBox="1"/>
              <p:nvPr/>
            </p:nvSpPr>
            <p:spPr>
              <a:xfrm>
                <a:off x="2422116" y="1085948"/>
                <a:ext cx="154607" cy="261610"/>
              </a:xfrm>
              <a:prstGeom prst="rect">
                <a:avLst/>
              </a:prstGeom>
              <a:noFill/>
            </p:spPr>
            <p:txBody>
              <a:bodyPr wrap="square" rtlCol="0">
                <a:spAutoFit/>
              </a:bodyPr>
              <a:lstStyle/>
              <a:p>
                <a:pPr algn="ctr"/>
                <a:r>
                  <a:rPr lang="nb-NO" sz="1100">
                    <a:latin typeface="Ubuntu" panose="020B0504030602030204" pitchFamily="34" charset="0"/>
                  </a:rPr>
                  <a:t>E</a:t>
                </a:r>
                <a:endParaRPr lang="en-US" sz="1100">
                  <a:latin typeface="Ubuntu" panose="020B0504030602030204" pitchFamily="34" charset="0"/>
                </a:endParaRPr>
              </a:p>
            </p:txBody>
          </p:sp>
          <p:sp>
            <p:nvSpPr>
              <p:cNvPr id="107" name="TextBox 106">
                <a:extLst>
                  <a:ext uri="{FF2B5EF4-FFF2-40B4-BE49-F238E27FC236}">
                    <a16:creationId xmlns:a16="http://schemas.microsoft.com/office/drawing/2014/main" id="{886BDB0A-5972-0933-6778-7D542068214C}"/>
                  </a:ext>
                </a:extLst>
              </p:cNvPr>
              <p:cNvSpPr txBox="1"/>
              <p:nvPr/>
            </p:nvSpPr>
            <p:spPr>
              <a:xfrm>
                <a:off x="2630626" y="1085948"/>
                <a:ext cx="154607" cy="261610"/>
              </a:xfrm>
              <a:prstGeom prst="rect">
                <a:avLst/>
              </a:prstGeom>
              <a:noFill/>
            </p:spPr>
            <p:txBody>
              <a:bodyPr wrap="square" rtlCol="0">
                <a:spAutoFit/>
              </a:bodyPr>
              <a:lstStyle/>
              <a:p>
                <a:pPr algn="ctr"/>
                <a:r>
                  <a:rPr lang="nb-NO" sz="1100">
                    <a:latin typeface="Ubuntu" panose="020B0504030602030204" pitchFamily="34" charset="0"/>
                  </a:rPr>
                  <a:t>F</a:t>
                </a:r>
                <a:endParaRPr lang="en-US" sz="1100">
                  <a:latin typeface="Ubuntu" panose="020B0504030602030204" pitchFamily="34" charset="0"/>
                </a:endParaRPr>
              </a:p>
            </p:txBody>
          </p:sp>
          <p:sp>
            <p:nvSpPr>
              <p:cNvPr id="108" name="TextBox 107">
                <a:extLst>
                  <a:ext uri="{FF2B5EF4-FFF2-40B4-BE49-F238E27FC236}">
                    <a16:creationId xmlns:a16="http://schemas.microsoft.com/office/drawing/2014/main" id="{818BCD70-69F8-B231-9D62-D5626525D128}"/>
                  </a:ext>
                </a:extLst>
              </p:cNvPr>
              <p:cNvSpPr txBox="1"/>
              <p:nvPr/>
            </p:nvSpPr>
            <p:spPr>
              <a:xfrm>
                <a:off x="2839136" y="1085948"/>
                <a:ext cx="154607" cy="261610"/>
              </a:xfrm>
              <a:prstGeom prst="rect">
                <a:avLst/>
              </a:prstGeom>
              <a:noFill/>
            </p:spPr>
            <p:txBody>
              <a:bodyPr wrap="square" rtlCol="0">
                <a:spAutoFit/>
              </a:bodyPr>
              <a:lstStyle/>
              <a:p>
                <a:pPr algn="ctr"/>
                <a:r>
                  <a:rPr lang="nb-NO" sz="1100">
                    <a:latin typeface="Ubuntu" panose="020B0504030602030204" pitchFamily="34" charset="0"/>
                  </a:rPr>
                  <a:t>G</a:t>
                </a:r>
                <a:endParaRPr lang="en-US" sz="1100">
                  <a:latin typeface="Ubuntu" panose="020B0504030602030204" pitchFamily="34" charset="0"/>
                </a:endParaRPr>
              </a:p>
            </p:txBody>
          </p:sp>
          <p:sp>
            <p:nvSpPr>
              <p:cNvPr id="109" name="TextBox 108">
                <a:extLst>
                  <a:ext uri="{FF2B5EF4-FFF2-40B4-BE49-F238E27FC236}">
                    <a16:creationId xmlns:a16="http://schemas.microsoft.com/office/drawing/2014/main" id="{219EA725-9D77-EDCE-59B4-DB3A94718BAD}"/>
                  </a:ext>
                </a:extLst>
              </p:cNvPr>
              <p:cNvSpPr txBox="1"/>
              <p:nvPr/>
            </p:nvSpPr>
            <p:spPr>
              <a:xfrm>
                <a:off x="3047646" y="1085948"/>
                <a:ext cx="154607" cy="261610"/>
              </a:xfrm>
              <a:prstGeom prst="rect">
                <a:avLst/>
              </a:prstGeom>
              <a:noFill/>
            </p:spPr>
            <p:txBody>
              <a:bodyPr wrap="square" rtlCol="0">
                <a:spAutoFit/>
              </a:bodyPr>
              <a:lstStyle/>
              <a:p>
                <a:pPr algn="ctr"/>
                <a:r>
                  <a:rPr lang="nb-NO" sz="1100">
                    <a:latin typeface="Ubuntu" panose="020B0504030602030204" pitchFamily="34" charset="0"/>
                  </a:rPr>
                  <a:t>H</a:t>
                </a:r>
                <a:endParaRPr lang="en-US" sz="1100">
                  <a:latin typeface="Ubuntu" panose="020B0504030602030204" pitchFamily="34" charset="0"/>
                </a:endParaRPr>
              </a:p>
            </p:txBody>
          </p:sp>
          <p:sp>
            <p:nvSpPr>
              <p:cNvPr id="110" name="TextBox 109">
                <a:extLst>
                  <a:ext uri="{FF2B5EF4-FFF2-40B4-BE49-F238E27FC236}">
                    <a16:creationId xmlns:a16="http://schemas.microsoft.com/office/drawing/2014/main" id="{AD9D0540-B43F-AFCE-B87B-4FF79D137B8E}"/>
                  </a:ext>
                </a:extLst>
              </p:cNvPr>
              <p:cNvSpPr txBox="1"/>
              <p:nvPr/>
            </p:nvSpPr>
            <p:spPr>
              <a:xfrm>
                <a:off x="3256156" y="1085948"/>
                <a:ext cx="154607" cy="261610"/>
              </a:xfrm>
              <a:prstGeom prst="rect">
                <a:avLst/>
              </a:prstGeom>
              <a:noFill/>
            </p:spPr>
            <p:txBody>
              <a:bodyPr wrap="square" rtlCol="0">
                <a:spAutoFit/>
              </a:bodyPr>
              <a:lstStyle/>
              <a:p>
                <a:pPr algn="ctr"/>
                <a:r>
                  <a:rPr lang="nb-NO" sz="1100">
                    <a:latin typeface="Ubuntu" panose="020B0504030602030204" pitchFamily="34" charset="0"/>
                  </a:rPr>
                  <a:t>I</a:t>
                </a:r>
                <a:endParaRPr lang="en-US" sz="1100">
                  <a:latin typeface="Ubuntu" panose="020B0504030602030204" pitchFamily="34" charset="0"/>
                </a:endParaRPr>
              </a:p>
            </p:txBody>
          </p:sp>
          <p:sp>
            <p:nvSpPr>
              <p:cNvPr id="111" name="TextBox 110">
                <a:extLst>
                  <a:ext uri="{FF2B5EF4-FFF2-40B4-BE49-F238E27FC236}">
                    <a16:creationId xmlns:a16="http://schemas.microsoft.com/office/drawing/2014/main" id="{1D68C5F4-04D5-DF24-EFF2-2C0BC8AE6B22}"/>
                  </a:ext>
                </a:extLst>
              </p:cNvPr>
              <p:cNvSpPr txBox="1"/>
              <p:nvPr/>
            </p:nvSpPr>
            <p:spPr>
              <a:xfrm>
                <a:off x="3464666" y="1085948"/>
                <a:ext cx="154607" cy="261610"/>
              </a:xfrm>
              <a:prstGeom prst="rect">
                <a:avLst/>
              </a:prstGeom>
              <a:noFill/>
            </p:spPr>
            <p:txBody>
              <a:bodyPr wrap="square" rtlCol="0">
                <a:spAutoFit/>
              </a:bodyPr>
              <a:lstStyle/>
              <a:p>
                <a:pPr algn="ctr"/>
                <a:r>
                  <a:rPr lang="nb-NO" sz="1100">
                    <a:latin typeface="Ubuntu" panose="020B0504030602030204" pitchFamily="34" charset="0"/>
                  </a:rPr>
                  <a:t>J</a:t>
                </a:r>
                <a:endParaRPr lang="en-US" sz="1100">
                  <a:latin typeface="Ubuntu" panose="020B0504030602030204" pitchFamily="34" charset="0"/>
                </a:endParaRPr>
              </a:p>
            </p:txBody>
          </p:sp>
          <p:sp>
            <p:nvSpPr>
              <p:cNvPr id="112" name="Rectangle 111">
                <a:extLst>
                  <a:ext uri="{FF2B5EF4-FFF2-40B4-BE49-F238E27FC236}">
                    <a16:creationId xmlns:a16="http://schemas.microsoft.com/office/drawing/2014/main" id="{C4C4B361-49AB-5857-00AC-5EC4DC659290}"/>
                  </a:ext>
                </a:extLst>
              </p:cNvPr>
              <p:cNvSpPr/>
              <p:nvPr/>
            </p:nvSpPr>
            <p:spPr>
              <a:xfrm>
                <a:off x="961232" y="1347558"/>
                <a:ext cx="2746865" cy="29739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grpSp>
      </p:grpSp>
      <p:sp>
        <p:nvSpPr>
          <p:cNvPr id="152" name="Rectangle 151">
            <a:extLst>
              <a:ext uri="{FF2B5EF4-FFF2-40B4-BE49-F238E27FC236}">
                <a16:creationId xmlns:a16="http://schemas.microsoft.com/office/drawing/2014/main" id="{BCAB01D8-74D7-A5CA-86A5-3EF589176195}"/>
              </a:ext>
            </a:extLst>
          </p:cNvPr>
          <p:cNvSpPr/>
          <p:nvPr/>
        </p:nvSpPr>
        <p:spPr>
          <a:xfrm rot="5400000">
            <a:off x="8329540" y="4254325"/>
            <a:ext cx="252000" cy="252000"/>
          </a:xfrm>
          <a:prstGeom prst="rect">
            <a:avLst/>
          </a:prstGeom>
          <a:solidFill>
            <a:schemeClr val="accent5">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6</a:t>
            </a:r>
            <a:endParaRPr lang="en-US" sz="800">
              <a:solidFill>
                <a:schemeClr val="bg1"/>
              </a:solidFill>
              <a:latin typeface="Ubuntu" panose="020B0504030602030204" pitchFamily="34" charset="0"/>
            </a:endParaRPr>
          </a:p>
        </p:txBody>
      </p:sp>
      <p:sp>
        <p:nvSpPr>
          <p:cNvPr id="153" name="Rectangle 152">
            <a:extLst>
              <a:ext uri="{FF2B5EF4-FFF2-40B4-BE49-F238E27FC236}">
                <a16:creationId xmlns:a16="http://schemas.microsoft.com/office/drawing/2014/main" id="{51A9101C-B899-BFD4-322E-E2A67D5BDD3E}"/>
              </a:ext>
            </a:extLst>
          </p:cNvPr>
          <p:cNvSpPr/>
          <p:nvPr/>
        </p:nvSpPr>
        <p:spPr>
          <a:xfrm rot="5400000">
            <a:off x="9880722" y="4254325"/>
            <a:ext cx="252000" cy="252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1</a:t>
            </a:r>
            <a:endParaRPr lang="en-US" sz="800">
              <a:solidFill>
                <a:schemeClr val="tx1"/>
              </a:solidFill>
              <a:latin typeface="Ubuntu" panose="020B0504030602030204" pitchFamily="34" charset="0"/>
            </a:endParaRPr>
          </a:p>
        </p:txBody>
      </p:sp>
      <p:sp>
        <p:nvSpPr>
          <p:cNvPr id="154" name="Rectangle 153">
            <a:extLst>
              <a:ext uri="{FF2B5EF4-FFF2-40B4-BE49-F238E27FC236}">
                <a16:creationId xmlns:a16="http://schemas.microsoft.com/office/drawing/2014/main" id="{E52A0A9F-E37A-5E13-E946-85DEB31B1B29}"/>
              </a:ext>
            </a:extLst>
          </p:cNvPr>
          <p:cNvSpPr/>
          <p:nvPr/>
        </p:nvSpPr>
        <p:spPr>
          <a:xfrm rot="5400000">
            <a:off x="9570484" y="4254325"/>
            <a:ext cx="252000" cy="252000"/>
          </a:xfrm>
          <a:prstGeom prst="rect">
            <a:avLst/>
          </a:prstGeom>
          <a:solidFill>
            <a:schemeClr val="accent5">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155" name="Rectangle 154">
            <a:extLst>
              <a:ext uri="{FF2B5EF4-FFF2-40B4-BE49-F238E27FC236}">
                <a16:creationId xmlns:a16="http://schemas.microsoft.com/office/drawing/2014/main" id="{9D006E05-0273-CCF9-448D-107CB0AACF1E}"/>
              </a:ext>
            </a:extLst>
          </p:cNvPr>
          <p:cNvSpPr/>
          <p:nvPr/>
        </p:nvSpPr>
        <p:spPr>
          <a:xfrm rot="5400000">
            <a:off x="8950012" y="4254325"/>
            <a:ext cx="252000" cy="252000"/>
          </a:xfrm>
          <a:prstGeom prst="rect">
            <a:avLst/>
          </a:prstGeom>
          <a:solidFill>
            <a:schemeClr val="accent5"/>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M</a:t>
            </a:r>
            <a:endParaRPr lang="en-US" sz="800">
              <a:solidFill>
                <a:schemeClr val="tx1"/>
              </a:solidFill>
              <a:latin typeface="Ubuntu" panose="020B0504030602030204" pitchFamily="34" charset="0"/>
            </a:endParaRPr>
          </a:p>
        </p:txBody>
      </p:sp>
      <p:sp>
        <p:nvSpPr>
          <p:cNvPr id="156" name="Rectangle 155">
            <a:extLst>
              <a:ext uri="{FF2B5EF4-FFF2-40B4-BE49-F238E27FC236}">
                <a16:creationId xmlns:a16="http://schemas.microsoft.com/office/drawing/2014/main" id="{27A1382B-E800-E144-77BE-2DCA2F9728F0}"/>
              </a:ext>
            </a:extLst>
          </p:cNvPr>
          <p:cNvSpPr/>
          <p:nvPr/>
        </p:nvSpPr>
        <p:spPr>
          <a:xfrm rot="5400000">
            <a:off x="9260248" y="4254325"/>
            <a:ext cx="252000" cy="252000"/>
          </a:xfrm>
          <a:prstGeom prst="rect">
            <a:avLst/>
          </a:prstGeom>
          <a:solidFill>
            <a:schemeClr val="accent5">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157" name="Rectangle 156">
            <a:extLst>
              <a:ext uri="{FF2B5EF4-FFF2-40B4-BE49-F238E27FC236}">
                <a16:creationId xmlns:a16="http://schemas.microsoft.com/office/drawing/2014/main" id="{8B77FB26-D154-D9E0-255D-82E34EE05159}"/>
              </a:ext>
            </a:extLst>
          </p:cNvPr>
          <p:cNvSpPr/>
          <p:nvPr/>
        </p:nvSpPr>
        <p:spPr>
          <a:xfrm rot="5400000">
            <a:off x="8639776" y="4254325"/>
            <a:ext cx="252000" cy="252000"/>
          </a:xfrm>
          <a:prstGeom prst="rect">
            <a:avLst/>
          </a:prstGeom>
          <a:solidFill>
            <a:schemeClr val="accent5">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158" name="TextBox 157">
            <a:extLst>
              <a:ext uri="{FF2B5EF4-FFF2-40B4-BE49-F238E27FC236}">
                <a16:creationId xmlns:a16="http://schemas.microsoft.com/office/drawing/2014/main" id="{575EAE0E-8356-7557-5957-154D4FA9E50E}"/>
              </a:ext>
            </a:extLst>
          </p:cNvPr>
          <p:cNvSpPr txBox="1"/>
          <p:nvPr/>
        </p:nvSpPr>
        <p:spPr>
          <a:xfrm rot="5400000">
            <a:off x="7866049" y="4081586"/>
            <a:ext cx="353943" cy="600176"/>
          </a:xfrm>
          <a:prstGeom prst="rect">
            <a:avLst/>
          </a:prstGeom>
          <a:noFill/>
        </p:spPr>
        <p:txBody>
          <a:bodyPr vert="vert270" wrap="square" rtlCol="0">
            <a:spAutoFit/>
          </a:bodyPr>
          <a:lstStyle/>
          <a:p>
            <a:pPr algn="ctr"/>
            <a:r>
              <a:rPr lang="nb-NO" sz="1100">
                <a:latin typeface="Ubuntu" panose="020B0504030602030204" pitchFamily="34" charset="0"/>
              </a:rPr>
              <a:t>I</a:t>
            </a:r>
            <a:endParaRPr lang="en-US" sz="1100">
              <a:latin typeface="Ubuntu" panose="020B0504030602030204" pitchFamily="34" charset="0"/>
            </a:endParaRPr>
          </a:p>
        </p:txBody>
      </p:sp>
      <p:sp>
        <p:nvSpPr>
          <p:cNvPr id="125" name="Rectangle 124">
            <a:extLst>
              <a:ext uri="{FF2B5EF4-FFF2-40B4-BE49-F238E27FC236}">
                <a16:creationId xmlns:a16="http://schemas.microsoft.com/office/drawing/2014/main" id="{E4E769EA-0431-9DDF-51E9-18A47E8EED8A}"/>
              </a:ext>
            </a:extLst>
          </p:cNvPr>
          <p:cNvSpPr/>
          <p:nvPr/>
        </p:nvSpPr>
        <p:spPr>
          <a:xfrm rot="5400000">
            <a:off x="8329540" y="2344485"/>
            <a:ext cx="252000" cy="252000"/>
          </a:xfrm>
          <a:prstGeom prst="rect">
            <a:avLst/>
          </a:prstGeom>
          <a:solidFill>
            <a:schemeClr val="accent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6</a:t>
            </a:r>
            <a:endParaRPr lang="en-US" sz="800">
              <a:solidFill>
                <a:schemeClr val="bg1"/>
              </a:solidFill>
              <a:latin typeface="Ubuntu" panose="020B0504030602030204" pitchFamily="34" charset="0"/>
            </a:endParaRPr>
          </a:p>
        </p:txBody>
      </p:sp>
      <p:sp>
        <p:nvSpPr>
          <p:cNvPr id="126" name="Rectangle 125">
            <a:extLst>
              <a:ext uri="{FF2B5EF4-FFF2-40B4-BE49-F238E27FC236}">
                <a16:creationId xmlns:a16="http://schemas.microsoft.com/office/drawing/2014/main" id="{AFA06DB3-2150-F09D-67E6-3F74D3742924}"/>
              </a:ext>
            </a:extLst>
          </p:cNvPr>
          <p:cNvSpPr/>
          <p:nvPr/>
        </p:nvSpPr>
        <p:spPr>
          <a:xfrm rot="5400000">
            <a:off x="8950011" y="2344485"/>
            <a:ext cx="252000" cy="252000"/>
          </a:xfrm>
          <a:prstGeom prst="rect">
            <a:avLst/>
          </a:prstGeom>
          <a:solidFill>
            <a:schemeClr val="accent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M</a:t>
            </a:r>
            <a:endParaRPr lang="en-US" sz="800">
              <a:solidFill>
                <a:schemeClr val="bg1"/>
              </a:solidFill>
              <a:latin typeface="Ubuntu" panose="020B0504030602030204" pitchFamily="34" charset="0"/>
            </a:endParaRPr>
          </a:p>
        </p:txBody>
      </p:sp>
      <p:sp>
        <p:nvSpPr>
          <p:cNvPr id="127" name="Rectangle 126">
            <a:extLst>
              <a:ext uri="{FF2B5EF4-FFF2-40B4-BE49-F238E27FC236}">
                <a16:creationId xmlns:a16="http://schemas.microsoft.com/office/drawing/2014/main" id="{0DEAB9BD-62B8-61EA-5051-A96852F440F0}"/>
              </a:ext>
            </a:extLst>
          </p:cNvPr>
          <p:cNvSpPr/>
          <p:nvPr/>
        </p:nvSpPr>
        <p:spPr>
          <a:xfrm rot="5400000">
            <a:off x="9570485" y="2344485"/>
            <a:ext cx="252000" cy="252000"/>
          </a:xfrm>
          <a:prstGeom prst="rect">
            <a:avLst/>
          </a:prstGeom>
          <a:solidFill>
            <a:schemeClr val="accent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128" name="Rectangle 127">
            <a:extLst>
              <a:ext uri="{FF2B5EF4-FFF2-40B4-BE49-F238E27FC236}">
                <a16:creationId xmlns:a16="http://schemas.microsoft.com/office/drawing/2014/main" id="{4088249A-88B2-A6B2-180B-DAED79D14689}"/>
              </a:ext>
            </a:extLst>
          </p:cNvPr>
          <p:cNvSpPr/>
          <p:nvPr/>
        </p:nvSpPr>
        <p:spPr>
          <a:xfrm rot="5400000">
            <a:off x="8639774" y="2344485"/>
            <a:ext cx="252000" cy="252000"/>
          </a:xfrm>
          <a:prstGeom prst="rect">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5</a:t>
            </a:r>
          </a:p>
        </p:txBody>
      </p:sp>
      <p:sp>
        <p:nvSpPr>
          <p:cNvPr id="129" name="Rectangle 128">
            <a:extLst>
              <a:ext uri="{FF2B5EF4-FFF2-40B4-BE49-F238E27FC236}">
                <a16:creationId xmlns:a16="http://schemas.microsoft.com/office/drawing/2014/main" id="{E67E3468-A992-CA8F-D85B-C2CE6A8B4700}"/>
              </a:ext>
            </a:extLst>
          </p:cNvPr>
          <p:cNvSpPr/>
          <p:nvPr/>
        </p:nvSpPr>
        <p:spPr>
          <a:xfrm rot="5400000">
            <a:off x="9260248" y="2344485"/>
            <a:ext cx="252000" cy="252000"/>
          </a:xfrm>
          <a:prstGeom prst="rect">
            <a:avLst/>
          </a:prstGeom>
          <a:solidFill>
            <a:schemeClr val="accent1">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130" name="Rectangle 129">
            <a:extLst>
              <a:ext uri="{FF2B5EF4-FFF2-40B4-BE49-F238E27FC236}">
                <a16:creationId xmlns:a16="http://schemas.microsoft.com/office/drawing/2014/main" id="{9297FD4E-2B87-5385-0DC8-C33729A516CE}"/>
              </a:ext>
            </a:extLst>
          </p:cNvPr>
          <p:cNvSpPr/>
          <p:nvPr/>
        </p:nvSpPr>
        <p:spPr>
          <a:xfrm rot="5400000">
            <a:off x="9880722" y="2344485"/>
            <a:ext cx="252000" cy="252000"/>
          </a:xfrm>
          <a:prstGeom prst="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1</a:t>
            </a:r>
            <a:endParaRPr lang="en-US" sz="800">
              <a:solidFill>
                <a:schemeClr val="tx1"/>
              </a:solidFill>
              <a:latin typeface="Ubuntu" panose="020B0504030602030204" pitchFamily="34" charset="0"/>
            </a:endParaRPr>
          </a:p>
        </p:txBody>
      </p:sp>
      <p:sp>
        <p:nvSpPr>
          <p:cNvPr id="131" name="Rectangle 130">
            <a:extLst>
              <a:ext uri="{FF2B5EF4-FFF2-40B4-BE49-F238E27FC236}">
                <a16:creationId xmlns:a16="http://schemas.microsoft.com/office/drawing/2014/main" id="{0277A3DD-BA1E-B78F-EE95-EE824BDEFAC0}"/>
              </a:ext>
            </a:extLst>
          </p:cNvPr>
          <p:cNvSpPr/>
          <p:nvPr/>
        </p:nvSpPr>
        <p:spPr>
          <a:xfrm rot="5400000">
            <a:off x="8329540" y="1935770"/>
            <a:ext cx="252000" cy="252000"/>
          </a:xfrm>
          <a:prstGeom prst="rect">
            <a:avLst/>
          </a:prstGeom>
          <a:solidFill>
            <a:srgbClr val="222A35"/>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6</a:t>
            </a:r>
            <a:endParaRPr lang="en-US" sz="800">
              <a:solidFill>
                <a:schemeClr val="bg1"/>
              </a:solidFill>
              <a:latin typeface="Ubuntu" panose="020B0504030602030204" pitchFamily="34" charset="0"/>
            </a:endParaRPr>
          </a:p>
        </p:txBody>
      </p:sp>
      <p:sp>
        <p:nvSpPr>
          <p:cNvPr id="132" name="Rectangle 131">
            <a:extLst>
              <a:ext uri="{FF2B5EF4-FFF2-40B4-BE49-F238E27FC236}">
                <a16:creationId xmlns:a16="http://schemas.microsoft.com/office/drawing/2014/main" id="{156D8F7F-2F23-F818-7DC2-66727238573F}"/>
              </a:ext>
            </a:extLst>
          </p:cNvPr>
          <p:cNvSpPr/>
          <p:nvPr/>
        </p:nvSpPr>
        <p:spPr>
          <a:xfrm rot="5400000">
            <a:off x="8950011" y="1935770"/>
            <a:ext cx="252000" cy="252000"/>
          </a:xfrm>
          <a:prstGeom prst="rect">
            <a:avLst/>
          </a:prstGeom>
          <a:solidFill>
            <a:srgbClr val="44546A"/>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M</a:t>
            </a:r>
            <a:endParaRPr lang="en-US" sz="800">
              <a:solidFill>
                <a:schemeClr val="bg1"/>
              </a:solidFill>
              <a:latin typeface="Ubuntu" panose="020B0504030602030204" pitchFamily="34" charset="0"/>
            </a:endParaRPr>
          </a:p>
        </p:txBody>
      </p:sp>
      <p:sp>
        <p:nvSpPr>
          <p:cNvPr id="133" name="Rectangle 132">
            <a:extLst>
              <a:ext uri="{FF2B5EF4-FFF2-40B4-BE49-F238E27FC236}">
                <a16:creationId xmlns:a16="http://schemas.microsoft.com/office/drawing/2014/main" id="{7EA3F243-4AFF-0133-9E82-8C520BB4A949}"/>
              </a:ext>
            </a:extLst>
          </p:cNvPr>
          <p:cNvSpPr/>
          <p:nvPr/>
        </p:nvSpPr>
        <p:spPr>
          <a:xfrm rot="5400000">
            <a:off x="9570485" y="1935770"/>
            <a:ext cx="252000" cy="252000"/>
          </a:xfrm>
          <a:prstGeom prst="rect">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134" name="Rectangle 133">
            <a:extLst>
              <a:ext uri="{FF2B5EF4-FFF2-40B4-BE49-F238E27FC236}">
                <a16:creationId xmlns:a16="http://schemas.microsoft.com/office/drawing/2014/main" id="{85E271BF-1DD4-263A-ACE0-F81E9B3F35A0}"/>
              </a:ext>
            </a:extLst>
          </p:cNvPr>
          <p:cNvSpPr/>
          <p:nvPr/>
        </p:nvSpPr>
        <p:spPr>
          <a:xfrm rot="5400000">
            <a:off x="8639774" y="1935770"/>
            <a:ext cx="252000" cy="252000"/>
          </a:xfrm>
          <a:prstGeom prst="rect">
            <a:avLst/>
          </a:prstGeom>
          <a:solidFill>
            <a:srgbClr val="333F5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135" name="Rectangle 134">
            <a:extLst>
              <a:ext uri="{FF2B5EF4-FFF2-40B4-BE49-F238E27FC236}">
                <a16:creationId xmlns:a16="http://schemas.microsoft.com/office/drawing/2014/main" id="{78E790A5-9057-5977-4632-10810EA1E0D3}"/>
              </a:ext>
            </a:extLst>
          </p:cNvPr>
          <p:cNvSpPr/>
          <p:nvPr/>
        </p:nvSpPr>
        <p:spPr>
          <a:xfrm rot="5400000">
            <a:off x="9260248" y="1935770"/>
            <a:ext cx="252000" cy="252000"/>
          </a:xfrm>
          <a:prstGeom prst="rect">
            <a:avLst/>
          </a:prstGeom>
          <a:solidFill>
            <a:srgbClr val="8497B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136" name="Rectangle 135">
            <a:extLst>
              <a:ext uri="{FF2B5EF4-FFF2-40B4-BE49-F238E27FC236}">
                <a16:creationId xmlns:a16="http://schemas.microsoft.com/office/drawing/2014/main" id="{A52311CC-0ABA-BB6C-9628-5C039461F8CF}"/>
              </a:ext>
            </a:extLst>
          </p:cNvPr>
          <p:cNvSpPr/>
          <p:nvPr/>
        </p:nvSpPr>
        <p:spPr>
          <a:xfrm rot="5400000">
            <a:off x="9880722" y="1935770"/>
            <a:ext cx="252000" cy="252000"/>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nb-NO" sz="800">
                <a:solidFill>
                  <a:schemeClr val="tx1"/>
                </a:solidFill>
                <a:latin typeface="Ubuntu" panose="020B0504030602030204" pitchFamily="34" charset="0"/>
              </a:rPr>
              <a:t>1</a:t>
            </a:r>
            <a:endParaRPr lang="en-US" sz="800">
              <a:solidFill>
                <a:schemeClr val="tx1"/>
              </a:solidFill>
              <a:latin typeface="Ubuntu" panose="020B0504030602030204" pitchFamily="34" charset="0"/>
            </a:endParaRPr>
          </a:p>
        </p:txBody>
      </p:sp>
      <p:sp>
        <p:nvSpPr>
          <p:cNvPr id="137" name="TextBox 136">
            <a:extLst>
              <a:ext uri="{FF2B5EF4-FFF2-40B4-BE49-F238E27FC236}">
                <a16:creationId xmlns:a16="http://schemas.microsoft.com/office/drawing/2014/main" id="{BE2586AD-6239-F893-0B9F-6BF27E70C58E}"/>
              </a:ext>
            </a:extLst>
          </p:cNvPr>
          <p:cNvSpPr txBox="1"/>
          <p:nvPr/>
        </p:nvSpPr>
        <p:spPr>
          <a:xfrm rot="5400000">
            <a:off x="7866052" y="2176669"/>
            <a:ext cx="353943" cy="600178"/>
          </a:xfrm>
          <a:prstGeom prst="rect">
            <a:avLst/>
          </a:prstGeom>
          <a:noFill/>
        </p:spPr>
        <p:txBody>
          <a:bodyPr vert="vert270" wrap="square" rtlCol="0">
            <a:spAutoFit/>
          </a:bodyPr>
          <a:lstStyle/>
          <a:p>
            <a:pPr algn="ctr"/>
            <a:r>
              <a:rPr lang="nb-NO" sz="1100">
                <a:latin typeface="Ubuntu" panose="020B0504030602030204" pitchFamily="34" charset="0"/>
              </a:rPr>
              <a:t>E</a:t>
            </a:r>
            <a:endParaRPr lang="en-US" sz="1100">
              <a:latin typeface="Ubuntu" panose="020B0504030602030204" pitchFamily="34" charset="0"/>
            </a:endParaRPr>
          </a:p>
        </p:txBody>
      </p:sp>
      <p:sp>
        <p:nvSpPr>
          <p:cNvPr id="138" name="TextBox 137">
            <a:extLst>
              <a:ext uri="{FF2B5EF4-FFF2-40B4-BE49-F238E27FC236}">
                <a16:creationId xmlns:a16="http://schemas.microsoft.com/office/drawing/2014/main" id="{F3CB84BA-855D-1D78-B56A-35CD4C277169}"/>
              </a:ext>
            </a:extLst>
          </p:cNvPr>
          <p:cNvSpPr txBox="1"/>
          <p:nvPr/>
        </p:nvSpPr>
        <p:spPr>
          <a:xfrm rot="5400000">
            <a:off x="7866049" y="1769595"/>
            <a:ext cx="353943" cy="600176"/>
          </a:xfrm>
          <a:prstGeom prst="rect">
            <a:avLst/>
          </a:prstGeom>
          <a:noFill/>
        </p:spPr>
        <p:txBody>
          <a:bodyPr vert="vert270" wrap="square" rtlCol="0">
            <a:spAutoFit/>
          </a:bodyPr>
          <a:lstStyle/>
          <a:p>
            <a:pPr algn="ctr"/>
            <a:r>
              <a:rPr lang="nb-NO" sz="1100">
                <a:latin typeface="Ubuntu" panose="020B0504030602030204" pitchFamily="34" charset="0"/>
              </a:rPr>
              <a:t>D</a:t>
            </a:r>
            <a:endParaRPr lang="en-US" sz="1100">
              <a:latin typeface="Ubuntu" panose="020B0504030602030204" pitchFamily="34" charset="0"/>
            </a:endParaRPr>
          </a:p>
        </p:txBody>
      </p:sp>
      <p:sp>
        <p:nvSpPr>
          <p:cNvPr id="140" name="Rectangle 139">
            <a:extLst>
              <a:ext uri="{FF2B5EF4-FFF2-40B4-BE49-F238E27FC236}">
                <a16:creationId xmlns:a16="http://schemas.microsoft.com/office/drawing/2014/main" id="{9C3BD66D-BD9A-A11A-E0DE-1D7F9ACCE75F}"/>
              </a:ext>
            </a:extLst>
          </p:cNvPr>
          <p:cNvSpPr/>
          <p:nvPr/>
        </p:nvSpPr>
        <p:spPr>
          <a:xfrm rot="5400000">
            <a:off x="8329540" y="2753200"/>
            <a:ext cx="252000" cy="252000"/>
          </a:xfrm>
          <a:prstGeom prst="rect">
            <a:avLst/>
          </a:prstGeom>
          <a:solidFill>
            <a:schemeClr val="accent2"/>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M</a:t>
            </a:r>
            <a:endParaRPr lang="en-US" sz="800">
              <a:solidFill>
                <a:schemeClr val="bg1"/>
              </a:solidFill>
              <a:latin typeface="Ubuntu" panose="020B0504030602030204" pitchFamily="34" charset="0"/>
            </a:endParaRPr>
          </a:p>
        </p:txBody>
      </p:sp>
      <p:sp>
        <p:nvSpPr>
          <p:cNvPr id="141" name="Rectangle 140">
            <a:extLst>
              <a:ext uri="{FF2B5EF4-FFF2-40B4-BE49-F238E27FC236}">
                <a16:creationId xmlns:a16="http://schemas.microsoft.com/office/drawing/2014/main" id="{2CFC7301-97F0-D48D-5BA9-2FC90386F709}"/>
              </a:ext>
            </a:extLst>
          </p:cNvPr>
          <p:cNvSpPr/>
          <p:nvPr/>
        </p:nvSpPr>
        <p:spPr>
          <a:xfrm rot="5400000">
            <a:off x="8639774" y="2753200"/>
            <a:ext cx="252000" cy="252000"/>
          </a:xfrm>
          <a:prstGeom prst="rect">
            <a:avLst/>
          </a:prstGeom>
          <a:solidFill>
            <a:schemeClr val="accent2">
              <a:lumMod val="90000"/>
              <a:lumOff val="1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142" name="Rectangle 141">
            <a:extLst>
              <a:ext uri="{FF2B5EF4-FFF2-40B4-BE49-F238E27FC236}">
                <a16:creationId xmlns:a16="http://schemas.microsoft.com/office/drawing/2014/main" id="{A0168ECF-749E-D692-8DCF-6A31E98618C4}"/>
              </a:ext>
            </a:extLst>
          </p:cNvPr>
          <p:cNvSpPr/>
          <p:nvPr/>
        </p:nvSpPr>
        <p:spPr>
          <a:xfrm rot="5400000">
            <a:off x="8950011" y="2753200"/>
            <a:ext cx="252000" cy="252000"/>
          </a:xfrm>
          <a:prstGeom prst="rect">
            <a:avLst/>
          </a:prstGeom>
          <a:solidFill>
            <a:schemeClr val="accent2">
              <a:lumMod val="75000"/>
              <a:lumOff val="2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4</a:t>
            </a:r>
            <a:endParaRPr lang="en-US" sz="800">
              <a:solidFill>
                <a:schemeClr val="bg1"/>
              </a:solidFill>
              <a:latin typeface="Ubuntu" panose="020B0504030602030204" pitchFamily="34" charset="0"/>
            </a:endParaRPr>
          </a:p>
        </p:txBody>
      </p:sp>
      <p:sp>
        <p:nvSpPr>
          <p:cNvPr id="143" name="Rectangle 142">
            <a:extLst>
              <a:ext uri="{FF2B5EF4-FFF2-40B4-BE49-F238E27FC236}">
                <a16:creationId xmlns:a16="http://schemas.microsoft.com/office/drawing/2014/main" id="{A066095C-288C-F178-BADA-225A1AABDF99}"/>
              </a:ext>
            </a:extLst>
          </p:cNvPr>
          <p:cNvSpPr/>
          <p:nvPr/>
        </p:nvSpPr>
        <p:spPr>
          <a:xfrm rot="5400000">
            <a:off x="9880722" y="2753200"/>
            <a:ext cx="252000" cy="252000"/>
          </a:xfrm>
          <a:prstGeom prst="rect">
            <a:avLst/>
          </a:prstGeom>
          <a:solidFill>
            <a:schemeClr val="accent2">
              <a:lumMod val="10000"/>
              <a:lumOff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1</a:t>
            </a:r>
            <a:endParaRPr lang="en-US" sz="800">
              <a:solidFill>
                <a:schemeClr val="tx1"/>
              </a:solidFill>
              <a:latin typeface="Ubuntu" panose="020B0504030602030204" pitchFamily="34" charset="0"/>
            </a:endParaRPr>
          </a:p>
        </p:txBody>
      </p:sp>
      <p:sp>
        <p:nvSpPr>
          <p:cNvPr id="144" name="Rectangle 143">
            <a:extLst>
              <a:ext uri="{FF2B5EF4-FFF2-40B4-BE49-F238E27FC236}">
                <a16:creationId xmlns:a16="http://schemas.microsoft.com/office/drawing/2014/main" id="{7BEB2C61-5E8C-3851-5783-C50F3E110BBF}"/>
              </a:ext>
            </a:extLst>
          </p:cNvPr>
          <p:cNvSpPr/>
          <p:nvPr/>
        </p:nvSpPr>
        <p:spPr>
          <a:xfrm rot="5400000">
            <a:off x="9570485" y="2753200"/>
            <a:ext cx="252000" cy="252000"/>
          </a:xfrm>
          <a:prstGeom prst="rect">
            <a:avLst/>
          </a:prstGeom>
          <a:solidFill>
            <a:srgbClr val="96BDF8"/>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145" name="Rectangle 144">
            <a:extLst>
              <a:ext uri="{FF2B5EF4-FFF2-40B4-BE49-F238E27FC236}">
                <a16:creationId xmlns:a16="http://schemas.microsoft.com/office/drawing/2014/main" id="{3D1C2C9D-564A-3472-D736-ACB30A98CE5D}"/>
              </a:ext>
            </a:extLst>
          </p:cNvPr>
          <p:cNvSpPr/>
          <p:nvPr/>
        </p:nvSpPr>
        <p:spPr>
          <a:xfrm rot="5400000">
            <a:off x="9260248" y="2753200"/>
            <a:ext cx="252000" cy="252000"/>
          </a:xfrm>
          <a:prstGeom prst="rect">
            <a:avLst/>
          </a:prstGeom>
          <a:solidFill>
            <a:schemeClr val="accent2">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146" name="TextBox 145">
            <a:extLst>
              <a:ext uri="{FF2B5EF4-FFF2-40B4-BE49-F238E27FC236}">
                <a16:creationId xmlns:a16="http://schemas.microsoft.com/office/drawing/2014/main" id="{523EA0A3-E51B-84D4-D5DD-F2D1DF2F18A7}"/>
              </a:ext>
            </a:extLst>
          </p:cNvPr>
          <p:cNvSpPr txBox="1"/>
          <p:nvPr/>
        </p:nvSpPr>
        <p:spPr>
          <a:xfrm rot="5400000">
            <a:off x="7866049" y="2583743"/>
            <a:ext cx="353943" cy="600176"/>
          </a:xfrm>
          <a:prstGeom prst="rect">
            <a:avLst/>
          </a:prstGeom>
          <a:noFill/>
        </p:spPr>
        <p:txBody>
          <a:bodyPr vert="vert270" wrap="square" rtlCol="0">
            <a:spAutoFit/>
          </a:bodyPr>
          <a:lstStyle/>
          <a:p>
            <a:pPr algn="ctr"/>
            <a:r>
              <a:rPr lang="nb-NO" sz="1100">
                <a:latin typeface="Ubuntu" panose="020B0504030602030204" pitchFamily="34" charset="0"/>
              </a:rPr>
              <a:t>F</a:t>
            </a:r>
            <a:endParaRPr lang="en-US" sz="1100">
              <a:latin typeface="Ubuntu" panose="020B0504030602030204" pitchFamily="34" charset="0"/>
            </a:endParaRPr>
          </a:p>
        </p:txBody>
      </p:sp>
      <p:sp>
        <p:nvSpPr>
          <p:cNvPr id="147" name="Rectangle 146">
            <a:extLst>
              <a:ext uri="{FF2B5EF4-FFF2-40B4-BE49-F238E27FC236}">
                <a16:creationId xmlns:a16="http://schemas.microsoft.com/office/drawing/2014/main" id="{59CEC692-9D75-693A-CC65-F18CA6FBA8AA}"/>
              </a:ext>
            </a:extLst>
          </p:cNvPr>
          <p:cNvSpPr/>
          <p:nvPr/>
        </p:nvSpPr>
        <p:spPr>
          <a:xfrm rot="5400000">
            <a:off x="8639620" y="1516485"/>
            <a:ext cx="252000" cy="252000"/>
          </a:xfrm>
          <a:prstGeom prst="rect">
            <a:avLst/>
          </a:prstGeom>
          <a:solidFill>
            <a:schemeClr val="bg2">
              <a:lumMod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148" name="Rectangle 147">
            <a:extLst>
              <a:ext uri="{FF2B5EF4-FFF2-40B4-BE49-F238E27FC236}">
                <a16:creationId xmlns:a16="http://schemas.microsoft.com/office/drawing/2014/main" id="{93862BD4-6CC8-E7C0-0388-1394C14053F8}"/>
              </a:ext>
            </a:extLst>
          </p:cNvPr>
          <p:cNvSpPr/>
          <p:nvPr/>
        </p:nvSpPr>
        <p:spPr>
          <a:xfrm rot="5400000">
            <a:off x="8949858" y="1516485"/>
            <a:ext cx="252000" cy="252000"/>
          </a:xfrm>
          <a:prstGeom prst="rect">
            <a:avLst/>
          </a:prstGeom>
          <a:solidFill>
            <a:schemeClr val="bg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4</a:t>
            </a:r>
            <a:endParaRPr lang="en-US" sz="800">
              <a:solidFill>
                <a:schemeClr val="tx1"/>
              </a:solidFill>
              <a:latin typeface="Ubuntu" panose="020B0504030602030204" pitchFamily="34" charset="0"/>
            </a:endParaRPr>
          </a:p>
        </p:txBody>
      </p:sp>
      <p:sp>
        <p:nvSpPr>
          <p:cNvPr id="149" name="Rectangle 148">
            <a:extLst>
              <a:ext uri="{FF2B5EF4-FFF2-40B4-BE49-F238E27FC236}">
                <a16:creationId xmlns:a16="http://schemas.microsoft.com/office/drawing/2014/main" id="{97BA3895-543B-7AD5-5280-12F9AE9CD44F}"/>
              </a:ext>
            </a:extLst>
          </p:cNvPr>
          <p:cNvSpPr/>
          <p:nvPr/>
        </p:nvSpPr>
        <p:spPr>
          <a:xfrm rot="5400000">
            <a:off x="9260094" y="1516485"/>
            <a:ext cx="252000" cy="252000"/>
          </a:xfrm>
          <a:prstGeom prst="rect">
            <a:avLst/>
          </a:prstGeom>
          <a:solidFill>
            <a:schemeClr val="bg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150" name="Rectangle 149">
            <a:extLst>
              <a:ext uri="{FF2B5EF4-FFF2-40B4-BE49-F238E27FC236}">
                <a16:creationId xmlns:a16="http://schemas.microsoft.com/office/drawing/2014/main" id="{881AB454-7348-BBA4-5A92-CF868F83DD32}"/>
              </a:ext>
            </a:extLst>
          </p:cNvPr>
          <p:cNvSpPr/>
          <p:nvPr/>
        </p:nvSpPr>
        <p:spPr>
          <a:xfrm rot="5400000">
            <a:off x="9570330" y="1516485"/>
            <a:ext cx="252000" cy="252000"/>
          </a:xfrm>
          <a:prstGeom prst="rect">
            <a:avLst/>
          </a:prstGeom>
          <a:solidFill>
            <a:schemeClr val="bg2">
              <a:lumMod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151" name="Rectangle 150">
            <a:extLst>
              <a:ext uri="{FF2B5EF4-FFF2-40B4-BE49-F238E27FC236}">
                <a16:creationId xmlns:a16="http://schemas.microsoft.com/office/drawing/2014/main" id="{B9B35081-F1F8-81E6-4D23-AE77AC2F9305}"/>
              </a:ext>
            </a:extLst>
          </p:cNvPr>
          <p:cNvSpPr/>
          <p:nvPr/>
        </p:nvSpPr>
        <p:spPr>
          <a:xfrm rot="5400000">
            <a:off x="9880566" y="1516485"/>
            <a:ext cx="252000" cy="252000"/>
          </a:xfrm>
          <a:prstGeom prst="rect">
            <a:avLst/>
          </a:prstGeom>
          <a:solidFill>
            <a:schemeClr val="bg2"/>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lvl="0" algn="ctr"/>
            <a:r>
              <a:rPr lang="nb-NO" sz="800">
                <a:solidFill>
                  <a:schemeClr val="tx1"/>
                </a:solidFill>
                <a:latin typeface="Ubuntu" panose="020B0504030602030204" pitchFamily="34" charset="0"/>
              </a:rPr>
              <a:t>M</a:t>
            </a:r>
            <a:endParaRPr lang="en-US" sz="800">
              <a:solidFill>
                <a:schemeClr val="tx1"/>
              </a:solidFill>
              <a:latin typeface="Ubuntu" panose="020B0504030602030204" pitchFamily="34" charset="0"/>
            </a:endParaRPr>
          </a:p>
        </p:txBody>
      </p:sp>
      <p:sp>
        <p:nvSpPr>
          <p:cNvPr id="159" name="TextBox 158">
            <a:extLst>
              <a:ext uri="{FF2B5EF4-FFF2-40B4-BE49-F238E27FC236}">
                <a16:creationId xmlns:a16="http://schemas.microsoft.com/office/drawing/2014/main" id="{D8E61BAF-284B-7B0C-F420-EF24DC317FEE}"/>
              </a:ext>
            </a:extLst>
          </p:cNvPr>
          <p:cNvSpPr txBox="1"/>
          <p:nvPr/>
        </p:nvSpPr>
        <p:spPr>
          <a:xfrm rot="5400000">
            <a:off x="7866049" y="1334281"/>
            <a:ext cx="353943" cy="600176"/>
          </a:xfrm>
          <a:prstGeom prst="rect">
            <a:avLst/>
          </a:prstGeom>
          <a:noFill/>
        </p:spPr>
        <p:txBody>
          <a:bodyPr vert="vert270" wrap="square" rtlCol="0">
            <a:spAutoFit/>
          </a:bodyPr>
          <a:lstStyle/>
          <a:p>
            <a:pPr algn="ctr"/>
            <a:r>
              <a:rPr lang="nb-NO" sz="1100">
                <a:latin typeface="Ubuntu" panose="020B0504030602030204" pitchFamily="34" charset="0"/>
              </a:rPr>
              <a:t>C</a:t>
            </a:r>
            <a:endParaRPr lang="en-US" sz="1100">
              <a:latin typeface="Ubuntu" panose="020B0504030602030204" pitchFamily="34" charset="0"/>
            </a:endParaRPr>
          </a:p>
        </p:txBody>
      </p:sp>
      <p:sp>
        <p:nvSpPr>
          <p:cNvPr id="160" name="Rectangle 159">
            <a:extLst>
              <a:ext uri="{FF2B5EF4-FFF2-40B4-BE49-F238E27FC236}">
                <a16:creationId xmlns:a16="http://schemas.microsoft.com/office/drawing/2014/main" id="{034B5904-3974-781B-8DB4-CB83AC368CCE}"/>
              </a:ext>
            </a:extLst>
          </p:cNvPr>
          <p:cNvSpPr/>
          <p:nvPr/>
        </p:nvSpPr>
        <p:spPr>
          <a:xfrm rot="5400000">
            <a:off x="8329540" y="3503604"/>
            <a:ext cx="252000" cy="252000"/>
          </a:xfrm>
          <a:prstGeom prst="rect">
            <a:avLst/>
          </a:prstGeom>
          <a:solidFill>
            <a:schemeClr val="accent6">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6</a:t>
            </a:r>
            <a:endParaRPr lang="en-US" sz="800">
              <a:solidFill>
                <a:schemeClr val="bg1"/>
              </a:solidFill>
              <a:latin typeface="Ubuntu" panose="020B0504030602030204" pitchFamily="34" charset="0"/>
            </a:endParaRPr>
          </a:p>
        </p:txBody>
      </p:sp>
      <p:sp>
        <p:nvSpPr>
          <p:cNvPr id="161" name="Rectangle 160">
            <a:extLst>
              <a:ext uri="{FF2B5EF4-FFF2-40B4-BE49-F238E27FC236}">
                <a16:creationId xmlns:a16="http://schemas.microsoft.com/office/drawing/2014/main" id="{25005D4B-E2E2-AA33-2F12-30A2981A0180}"/>
              </a:ext>
            </a:extLst>
          </p:cNvPr>
          <p:cNvSpPr/>
          <p:nvPr/>
        </p:nvSpPr>
        <p:spPr>
          <a:xfrm rot="5400000">
            <a:off x="9880722" y="3503604"/>
            <a:ext cx="252000" cy="252000"/>
          </a:xfrm>
          <a:prstGeom prst="rect">
            <a:avLst/>
          </a:prstGeom>
          <a:solidFill>
            <a:schemeClr val="accent6">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1</a:t>
            </a:r>
            <a:endParaRPr lang="en-US" sz="800">
              <a:solidFill>
                <a:schemeClr val="tx1"/>
              </a:solidFill>
              <a:latin typeface="Ubuntu" panose="020B0504030602030204" pitchFamily="34" charset="0"/>
            </a:endParaRPr>
          </a:p>
        </p:txBody>
      </p:sp>
      <p:sp>
        <p:nvSpPr>
          <p:cNvPr id="162" name="Rectangle 161">
            <a:extLst>
              <a:ext uri="{FF2B5EF4-FFF2-40B4-BE49-F238E27FC236}">
                <a16:creationId xmlns:a16="http://schemas.microsoft.com/office/drawing/2014/main" id="{EA1EFE3A-14BA-3A76-AB23-EC96916694D0}"/>
              </a:ext>
            </a:extLst>
          </p:cNvPr>
          <p:cNvSpPr/>
          <p:nvPr/>
        </p:nvSpPr>
        <p:spPr>
          <a:xfrm rot="5400000">
            <a:off x="9570485" y="3503604"/>
            <a:ext cx="252000" cy="252000"/>
          </a:xfrm>
          <a:prstGeom prst="rect">
            <a:avLst/>
          </a:prstGeom>
          <a:solidFill>
            <a:schemeClr val="accent6">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163" name="Rectangle 162">
            <a:extLst>
              <a:ext uri="{FF2B5EF4-FFF2-40B4-BE49-F238E27FC236}">
                <a16:creationId xmlns:a16="http://schemas.microsoft.com/office/drawing/2014/main" id="{A8FE93A6-208A-D9EF-299E-1E31BB29ECCA}"/>
              </a:ext>
            </a:extLst>
          </p:cNvPr>
          <p:cNvSpPr/>
          <p:nvPr/>
        </p:nvSpPr>
        <p:spPr>
          <a:xfrm rot="5400000">
            <a:off x="9260248" y="3503604"/>
            <a:ext cx="252000" cy="252000"/>
          </a:xfrm>
          <a:prstGeom prst="rect">
            <a:avLst/>
          </a:prstGeom>
          <a:solidFill>
            <a:schemeClr val="accent6">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164" name="Rectangle 163">
            <a:extLst>
              <a:ext uri="{FF2B5EF4-FFF2-40B4-BE49-F238E27FC236}">
                <a16:creationId xmlns:a16="http://schemas.microsoft.com/office/drawing/2014/main" id="{788B23DC-C0AD-4FAC-3A66-B613F817E8C7}"/>
              </a:ext>
            </a:extLst>
          </p:cNvPr>
          <p:cNvSpPr/>
          <p:nvPr/>
        </p:nvSpPr>
        <p:spPr>
          <a:xfrm rot="5400000">
            <a:off x="8639774" y="3503604"/>
            <a:ext cx="252000" cy="252000"/>
          </a:xfrm>
          <a:prstGeom prst="rect">
            <a:avLst/>
          </a:prstGeom>
          <a:solidFill>
            <a:schemeClr val="accent6">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165" name="Rectangle 164">
            <a:extLst>
              <a:ext uri="{FF2B5EF4-FFF2-40B4-BE49-F238E27FC236}">
                <a16:creationId xmlns:a16="http://schemas.microsoft.com/office/drawing/2014/main" id="{1284E73A-79A5-2070-D098-514AB190C0E7}"/>
              </a:ext>
            </a:extLst>
          </p:cNvPr>
          <p:cNvSpPr/>
          <p:nvPr/>
        </p:nvSpPr>
        <p:spPr>
          <a:xfrm rot="5400000">
            <a:off x="8950011" y="3503604"/>
            <a:ext cx="252000" cy="252000"/>
          </a:xfrm>
          <a:prstGeom prst="rect">
            <a:avLst/>
          </a:prstGeom>
          <a:solidFill>
            <a:schemeClr val="accent6"/>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M</a:t>
            </a:r>
            <a:endParaRPr lang="en-US" sz="800">
              <a:solidFill>
                <a:schemeClr val="tx1"/>
              </a:solidFill>
              <a:latin typeface="Ubuntu" panose="020B0504030602030204" pitchFamily="34" charset="0"/>
            </a:endParaRPr>
          </a:p>
        </p:txBody>
      </p:sp>
      <p:sp>
        <p:nvSpPr>
          <p:cNvPr id="166" name="TextBox 165">
            <a:extLst>
              <a:ext uri="{FF2B5EF4-FFF2-40B4-BE49-F238E27FC236}">
                <a16:creationId xmlns:a16="http://schemas.microsoft.com/office/drawing/2014/main" id="{16E17417-5081-1446-877D-88ADA099DC04}"/>
              </a:ext>
            </a:extLst>
          </p:cNvPr>
          <p:cNvSpPr txBox="1"/>
          <p:nvPr/>
        </p:nvSpPr>
        <p:spPr>
          <a:xfrm rot="5400000">
            <a:off x="7866049" y="3329222"/>
            <a:ext cx="353943" cy="600176"/>
          </a:xfrm>
          <a:prstGeom prst="rect">
            <a:avLst/>
          </a:prstGeom>
          <a:noFill/>
        </p:spPr>
        <p:txBody>
          <a:bodyPr vert="vert270" wrap="square" rtlCol="0">
            <a:spAutoFit/>
          </a:bodyPr>
          <a:lstStyle/>
          <a:p>
            <a:pPr algn="ctr"/>
            <a:r>
              <a:rPr lang="nb-NO" sz="1100">
                <a:latin typeface="Ubuntu" panose="020B0504030602030204" pitchFamily="34" charset="0"/>
              </a:rPr>
              <a:t>J</a:t>
            </a:r>
            <a:endParaRPr lang="en-US" sz="1100">
              <a:latin typeface="Ubuntu" panose="020B0504030602030204" pitchFamily="34" charset="0"/>
            </a:endParaRPr>
          </a:p>
        </p:txBody>
      </p:sp>
      <p:sp>
        <p:nvSpPr>
          <p:cNvPr id="122" name="Rectangle 121">
            <a:extLst>
              <a:ext uri="{FF2B5EF4-FFF2-40B4-BE49-F238E27FC236}">
                <a16:creationId xmlns:a16="http://schemas.microsoft.com/office/drawing/2014/main" id="{D2B5622B-454F-B324-898D-5D552FF07A9D}"/>
              </a:ext>
            </a:extLst>
          </p:cNvPr>
          <p:cNvSpPr/>
          <p:nvPr/>
        </p:nvSpPr>
        <p:spPr>
          <a:xfrm>
            <a:off x="7778175" y="3073862"/>
            <a:ext cx="2408740" cy="377283"/>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sp>
        <p:nvSpPr>
          <p:cNvPr id="167" name="TextBox 166">
            <a:extLst>
              <a:ext uri="{FF2B5EF4-FFF2-40B4-BE49-F238E27FC236}">
                <a16:creationId xmlns:a16="http://schemas.microsoft.com/office/drawing/2014/main" id="{32F08430-252F-35EE-58A8-FD3D68367BEE}"/>
              </a:ext>
            </a:extLst>
          </p:cNvPr>
          <p:cNvSpPr txBox="1"/>
          <p:nvPr/>
        </p:nvSpPr>
        <p:spPr>
          <a:xfrm rot="5400000">
            <a:off x="7844310" y="3048133"/>
            <a:ext cx="353943" cy="430887"/>
          </a:xfrm>
          <a:prstGeom prst="rect">
            <a:avLst/>
          </a:prstGeom>
          <a:noFill/>
        </p:spPr>
        <p:txBody>
          <a:bodyPr vert="vert270" wrap="square" rtlCol="0">
            <a:spAutoFit/>
          </a:bodyPr>
          <a:lstStyle/>
          <a:p>
            <a:pPr algn="ctr"/>
            <a:r>
              <a:rPr lang="nb-NO" sz="1100">
                <a:latin typeface="Ubuntu" panose="020B0504030602030204" pitchFamily="34" charset="0"/>
              </a:rPr>
              <a:t>K</a:t>
            </a:r>
            <a:r>
              <a:rPr lang="nb-NO" sz="1100" baseline="30000">
                <a:latin typeface="Ubuntu" panose="020B0504030602030204" pitchFamily="34" charset="0"/>
              </a:rPr>
              <a:t>3</a:t>
            </a:r>
            <a:endParaRPr lang="en-US" sz="1100" baseline="30000">
              <a:latin typeface="Ubuntu" panose="020B0504030602030204" pitchFamily="34" charset="0"/>
            </a:endParaRPr>
          </a:p>
        </p:txBody>
      </p:sp>
      <p:sp>
        <p:nvSpPr>
          <p:cNvPr id="168" name="Rectangle 167">
            <a:extLst>
              <a:ext uri="{FF2B5EF4-FFF2-40B4-BE49-F238E27FC236}">
                <a16:creationId xmlns:a16="http://schemas.microsoft.com/office/drawing/2014/main" id="{68FAFB92-1720-A102-ED84-EFD54253C481}"/>
              </a:ext>
            </a:extLst>
          </p:cNvPr>
          <p:cNvSpPr/>
          <p:nvPr/>
        </p:nvSpPr>
        <p:spPr>
          <a:xfrm rot="5400000">
            <a:off x="8329540" y="3133520"/>
            <a:ext cx="252000" cy="252000"/>
          </a:xfrm>
          <a:prstGeom prst="rect">
            <a:avLst/>
          </a:prstGeom>
          <a:solidFill>
            <a:srgbClr val="293B33"/>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6</a:t>
            </a:r>
            <a:endParaRPr lang="en-US" sz="800">
              <a:solidFill>
                <a:schemeClr val="bg1"/>
              </a:solidFill>
              <a:latin typeface="Ubuntu" panose="020B0504030602030204" pitchFamily="34" charset="0"/>
            </a:endParaRPr>
          </a:p>
        </p:txBody>
      </p:sp>
      <p:sp>
        <p:nvSpPr>
          <p:cNvPr id="169" name="Rectangle 168">
            <a:extLst>
              <a:ext uri="{FF2B5EF4-FFF2-40B4-BE49-F238E27FC236}">
                <a16:creationId xmlns:a16="http://schemas.microsoft.com/office/drawing/2014/main" id="{00B97BFC-AF91-954D-1A79-08A5C9AD211F}"/>
              </a:ext>
            </a:extLst>
          </p:cNvPr>
          <p:cNvSpPr/>
          <p:nvPr/>
        </p:nvSpPr>
        <p:spPr>
          <a:xfrm rot="5400000">
            <a:off x="8639776" y="3133520"/>
            <a:ext cx="252000" cy="252000"/>
          </a:xfrm>
          <a:prstGeom prst="rect">
            <a:avLst/>
          </a:prstGeom>
          <a:solidFill>
            <a:srgbClr val="3C4F46"/>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170" name="Rectangle 169">
            <a:extLst>
              <a:ext uri="{FF2B5EF4-FFF2-40B4-BE49-F238E27FC236}">
                <a16:creationId xmlns:a16="http://schemas.microsoft.com/office/drawing/2014/main" id="{3E172752-59DD-B9A6-7E5F-C3AC916C00DE}"/>
              </a:ext>
            </a:extLst>
          </p:cNvPr>
          <p:cNvSpPr/>
          <p:nvPr/>
        </p:nvSpPr>
        <p:spPr>
          <a:xfrm rot="5400000">
            <a:off x="9570484" y="3133520"/>
            <a:ext cx="252000" cy="252000"/>
          </a:xfrm>
          <a:prstGeom prst="rect">
            <a:avLst/>
          </a:prstGeom>
          <a:solidFill>
            <a:srgbClr val="92A69D"/>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171" name="Rectangle 170">
            <a:extLst>
              <a:ext uri="{FF2B5EF4-FFF2-40B4-BE49-F238E27FC236}">
                <a16:creationId xmlns:a16="http://schemas.microsoft.com/office/drawing/2014/main" id="{4B47E867-6469-43F8-57A3-BF6D6EC9D204}"/>
              </a:ext>
            </a:extLst>
          </p:cNvPr>
          <p:cNvSpPr/>
          <p:nvPr/>
        </p:nvSpPr>
        <p:spPr>
          <a:xfrm rot="5400000">
            <a:off x="9880722" y="3128402"/>
            <a:ext cx="252000" cy="252000"/>
          </a:xfrm>
          <a:prstGeom prst="rect">
            <a:avLst/>
          </a:prstGeom>
          <a:solidFill>
            <a:srgbClr val="C1D5CC"/>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1</a:t>
            </a:r>
            <a:endParaRPr lang="en-US" sz="800">
              <a:solidFill>
                <a:schemeClr val="tx1"/>
              </a:solidFill>
              <a:latin typeface="Ubuntu" panose="020B0504030602030204" pitchFamily="34" charset="0"/>
            </a:endParaRPr>
          </a:p>
        </p:txBody>
      </p:sp>
      <p:sp>
        <p:nvSpPr>
          <p:cNvPr id="172" name="Rectangle 171">
            <a:extLst>
              <a:ext uri="{FF2B5EF4-FFF2-40B4-BE49-F238E27FC236}">
                <a16:creationId xmlns:a16="http://schemas.microsoft.com/office/drawing/2014/main" id="{F005CC8F-0C58-180D-D5E9-70B7C27061AE}"/>
              </a:ext>
            </a:extLst>
          </p:cNvPr>
          <p:cNvSpPr/>
          <p:nvPr/>
        </p:nvSpPr>
        <p:spPr>
          <a:xfrm rot="5400000">
            <a:off x="8950012" y="3133520"/>
            <a:ext cx="252000" cy="252000"/>
          </a:xfrm>
          <a:prstGeom prst="rect">
            <a:avLst/>
          </a:prstGeom>
          <a:solidFill>
            <a:srgbClr val="667970"/>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M</a:t>
            </a:r>
            <a:endParaRPr lang="en-US" sz="800">
              <a:solidFill>
                <a:schemeClr val="bg1"/>
              </a:solidFill>
              <a:latin typeface="Ubuntu" panose="020B0504030602030204" pitchFamily="34" charset="0"/>
            </a:endParaRPr>
          </a:p>
        </p:txBody>
      </p:sp>
      <p:sp>
        <p:nvSpPr>
          <p:cNvPr id="173" name="Rectangle 172">
            <a:extLst>
              <a:ext uri="{FF2B5EF4-FFF2-40B4-BE49-F238E27FC236}">
                <a16:creationId xmlns:a16="http://schemas.microsoft.com/office/drawing/2014/main" id="{1EEBD550-15D6-E629-FDEC-976D663233CF}"/>
              </a:ext>
            </a:extLst>
          </p:cNvPr>
          <p:cNvSpPr/>
          <p:nvPr/>
        </p:nvSpPr>
        <p:spPr>
          <a:xfrm rot="5400000">
            <a:off x="9260248" y="3133520"/>
            <a:ext cx="252000" cy="252000"/>
          </a:xfrm>
          <a:prstGeom prst="rect">
            <a:avLst/>
          </a:prstGeom>
          <a:solidFill>
            <a:srgbClr val="7C8F86"/>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180" name="Rectangle 179">
            <a:extLst>
              <a:ext uri="{FF2B5EF4-FFF2-40B4-BE49-F238E27FC236}">
                <a16:creationId xmlns:a16="http://schemas.microsoft.com/office/drawing/2014/main" id="{675B180B-1054-350E-B7E1-558705F3F86E}"/>
              </a:ext>
            </a:extLst>
          </p:cNvPr>
          <p:cNvSpPr/>
          <p:nvPr/>
        </p:nvSpPr>
        <p:spPr>
          <a:xfrm rot="5400000">
            <a:off x="8329382" y="1519899"/>
            <a:ext cx="252000" cy="252000"/>
          </a:xfrm>
          <a:prstGeom prst="rect">
            <a:avLst/>
          </a:prstGeom>
          <a:solidFill>
            <a:schemeClr val="bg2">
              <a:lumMod val="1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6</a:t>
            </a:r>
            <a:endParaRPr lang="en-US" sz="800">
              <a:solidFill>
                <a:schemeClr val="bg1"/>
              </a:solidFill>
              <a:latin typeface="Ubuntu" panose="020B0504030602030204" pitchFamily="34" charset="0"/>
            </a:endParaRPr>
          </a:p>
        </p:txBody>
      </p:sp>
      <p:sp>
        <p:nvSpPr>
          <p:cNvPr id="181" name="Rectangle 180">
            <a:extLst>
              <a:ext uri="{FF2B5EF4-FFF2-40B4-BE49-F238E27FC236}">
                <a16:creationId xmlns:a16="http://schemas.microsoft.com/office/drawing/2014/main" id="{62DDA9E9-FD7C-33B0-8A57-1D27F415063D}"/>
              </a:ext>
            </a:extLst>
          </p:cNvPr>
          <p:cNvSpPr/>
          <p:nvPr/>
        </p:nvSpPr>
        <p:spPr>
          <a:xfrm>
            <a:off x="7666561" y="1304173"/>
            <a:ext cx="2655365" cy="2563264"/>
          </a:xfrm>
          <a:prstGeom prst="rect">
            <a:avLst/>
          </a:prstGeom>
          <a:no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sp>
        <p:nvSpPr>
          <p:cNvPr id="182" name="Rectangle 181">
            <a:extLst>
              <a:ext uri="{FF2B5EF4-FFF2-40B4-BE49-F238E27FC236}">
                <a16:creationId xmlns:a16="http://schemas.microsoft.com/office/drawing/2014/main" id="{AA5EF0C5-1DC1-6416-9283-D5A0F3825BE7}"/>
              </a:ext>
            </a:extLst>
          </p:cNvPr>
          <p:cNvSpPr/>
          <p:nvPr/>
        </p:nvSpPr>
        <p:spPr>
          <a:xfrm>
            <a:off x="8305394" y="1185836"/>
            <a:ext cx="1377698" cy="25550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100" err="1">
                <a:solidFill>
                  <a:schemeClr val="tx1"/>
                </a:solidFill>
                <a:latin typeface="Ubuntu" panose="020B0504030602030204" pitchFamily="34" charset="0"/>
              </a:rPr>
              <a:t>Example</a:t>
            </a:r>
            <a:r>
              <a:rPr lang="nb-NO" sz="1100">
                <a:solidFill>
                  <a:schemeClr val="tx1"/>
                </a:solidFill>
                <a:latin typeface="Ubuntu" panose="020B0504030602030204" pitchFamily="34" charset="0"/>
              </a:rPr>
              <a:t> palette</a:t>
            </a:r>
            <a:r>
              <a:rPr lang="nb-NO" sz="1100" baseline="30000">
                <a:solidFill>
                  <a:schemeClr val="tx1"/>
                </a:solidFill>
                <a:latin typeface="Ubuntu" panose="020B0504030602030204" pitchFamily="34" charset="0"/>
              </a:rPr>
              <a:t>2</a:t>
            </a:r>
            <a:endParaRPr lang="en-US" sz="1100" baseline="30000">
              <a:solidFill>
                <a:schemeClr val="tx1"/>
              </a:solidFill>
              <a:latin typeface="Ubuntu" panose="020B0504030602030204" pitchFamily="34" charset="0"/>
            </a:endParaRPr>
          </a:p>
        </p:txBody>
      </p:sp>
      <p:sp>
        <p:nvSpPr>
          <p:cNvPr id="183" name="Rectangle 182">
            <a:extLst>
              <a:ext uri="{FF2B5EF4-FFF2-40B4-BE49-F238E27FC236}">
                <a16:creationId xmlns:a16="http://schemas.microsoft.com/office/drawing/2014/main" id="{5E8E479D-55A6-F94C-DB02-BCC5EA9E475B}"/>
              </a:ext>
            </a:extLst>
          </p:cNvPr>
          <p:cNvSpPr/>
          <p:nvPr/>
        </p:nvSpPr>
        <p:spPr>
          <a:xfrm>
            <a:off x="7666562" y="4026654"/>
            <a:ext cx="2655364" cy="1483785"/>
          </a:xfrm>
          <a:prstGeom prst="rect">
            <a:avLst/>
          </a:prstGeom>
          <a:noFill/>
          <a:ln w="63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sp>
        <p:nvSpPr>
          <p:cNvPr id="184" name="Rectangle 183">
            <a:extLst>
              <a:ext uri="{FF2B5EF4-FFF2-40B4-BE49-F238E27FC236}">
                <a16:creationId xmlns:a16="http://schemas.microsoft.com/office/drawing/2014/main" id="{4BB9EBBD-D429-E5FC-38ED-981524D35ECB}"/>
              </a:ext>
            </a:extLst>
          </p:cNvPr>
          <p:cNvSpPr/>
          <p:nvPr/>
        </p:nvSpPr>
        <p:spPr>
          <a:xfrm>
            <a:off x="8305395" y="3908318"/>
            <a:ext cx="1377698" cy="25550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100" err="1">
                <a:solidFill>
                  <a:schemeClr val="tx1"/>
                </a:solidFill>
                <a:latin typeface="Ubuntu" panose="020B0504030602030204" pitchFamily="34" charset="0"/>
              </a:rPr>
              <a:t>Additional</a:t>
            </a:r>
            <a:r>
              <a:rPr lang="nb-NO" sz="1100">
                <a:solidFill>
                  <a:schemeClr val="tx1"/>
                </a:solidFill>
                <a:latin typeface="Ubuntu" panose="020B0504030602030204" pitchFamily="34" charset="0"/>
              </a:rPr>
              <a:t> colors</a:t>
            </a:r>
            <a:r>
              <a:rPr lang="nb-NO" sz="1100" baseline="30000">
                <a:solidFill>
                  <a:schemeClr val="tx1"/>
                </a:solidFill>
                <a:latin typeface="Ubuntu" panose="020B0504030602030204" pitchFamily="34" charset="0"/>
              </a:rPr>
              <a:t>3</a:t>
            </a:r>
            <a:endParaRPr lang="en-US" sz="1100" baseline="30000">
              <a:solidFill>
                <a:schemeClr val="tx1"/>
              </a:solidFill>
              <a:latin typeface="Ubuntu" panose="020B0504030602030204" pitchFamily="34" charset="0"/>
            </a:endParaRPr>
          </a:p>
        </p:txBody>
      </p:sp>
      <p:sp>
        <p:nvSpPr>
          <p:cNvPr id="207" name="Rectangle 206">
            <a:extLst>
              <a:ext uri="{FF2B5EF4-FFF2-40B4-BE49-F238E27FC236}">
                <a16:creationId xmlns:a16="http://schemas.microsoft.com/office/drawing/2014/main" id="{222F5E0E-1E4C-352C-8BC5-41EFEC9A678C}"/>
              </a:ext>
            </a:extLst>
          </p:cNvPr>
          <p:cNvSpPr/>
          <p:nvPr/>
        </p:nvSpPr>
        <p:spPr>
          <a:xfrm>
            <a:off x="7778175" y="4602271"/>
            <a:ext cx="2408740" cy="377283"/>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sp>
        <p:nvSpPr>
          <p:cNvPr id="200" name="TextBox 199">
            <a:extLst>
              <a:ext uri="{FF2B5EF4-FFF2-40B4-BE49-F238E27FC236}">
                <a16:creationId xmlns:a16="http://schemas.microsoft.com/office/drawing/2014/main" id="{B2017384-3FE8-8102-9379-7564585167F4}"/>
              </a:ext>
            </a:extLst>
          </p:cNvPr>
          <p:cNvSpPr txBox="1"/>
          <p:nvPr/>
        </p:nvSpPr>
        <p:spPr>
          <a:xfrm>
            <a:off x="7689422" y="4667042"/>
            <a:ext cx="707198" cy="261610"/>
          </a:xfrm>
          <a:prstGeom prst="rect">
            <a:avLst/>
          </a:prstGeom>
          <a:noFill/>
        </p:spPr>
        <p:txBody>
          <a:bodyPr wrap="square" rtlCol="0">
            <a:spAutoFit/>
          </a:bodyPr>
          <a:lstStyle/>
          <a:p>
            <a:pPr algn="ctr"/>
            <a:r>
              <a:rPr lang="nb-NO" sz="1100">
                <a:latin typeface="Ubuntu" panose="020B0504030602030204" pitchFamily="34" charset="0"/>
              </a:rPr>
              <a:t>L</a:t>
            </a:r>
            <a:r>
              <a:rPr lang="nb-NO" sz="1100" baseline="30000">
                <a:latin typeface="Ubuntu" panose="020B0504030602030204" pitchFamily="34" charset="0"/>
              </a:rPr>
              <a:t>3</a:t>
            </a:r>
          </a:p>
        </p:txBody>
      </p:sp>
      <p:sp>
        <p:nvSpPr>
          <p:cNvPr id="208" name="Rectangle 207">
            <a:extLst>
              <a:ext uri="{FF2B5EF4-FFF2-40B4-BE49-F238E27FC236}">
                <a16:creationId xmlns:a16="http://schemas.microsoft.com/office/drawing/2014/main" id="{41F5DB0F-4A12-A4ED-4F99-17293CCCE2DF}"/>
              </a:ext>
            </a:extLst>
          </p:cNvPr>
          <p:cNvSpPr/>
          <p:nvPr/>
        </p:nvSpPr>
        <p:spPr>
          <a:xfrm rot="5400000">
            <a:off x="8329540" y="4668666"/>
            <a:ext cx="252000" cy="252000"/>
          </a:xfrm>
          <a:prstGeom prst="rect">
            <a:avLst/>
          </a:prstGeom>
          <a:solidFill>
            <a:srgbClr val="6C5027"/>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6</a:t>
            </a:r>
            <a:endParaRPr lang="en-US" sz="800">
              <a:solidFill>
                <a:schemeClr val="bg1"/>
              </a:solidFill>
              <a:latin typeface="Ubuntu" panose="020B0504030602030204" pitchFamily="34" charset="0"/>
            </a:endParaRPr>
          </a:p>
        </p:txBody>
      </p:sp>
      <p:sp>
        <p:nvSpPr>
          <p:cNvPr id="209" name="Rectangle 208">
            <a:extLst>
              <a:ext uri="{FF2B5EF4-FFF2-40B4-BE49-F238E27FC236}">
                <a16:creationId xmlns:a16="http://schemas.microsoft.com/office/drawing/2014/main" id="{4503D75A-AE67-67B5-1053-8ED1BA5AC67C}"/>
              </a:ext>
            </a:extLst>
          </p:cNvPr>
          <p:cNvSpPr/>
          <p:nvPr/>
        </p:nvSpPr>
        <p:spPr>
          <a:xfrm rot="5400000">
            <a:off x="8639776" y="4668666"/>
            <a:ext cx="252000" cy="252000"/>
          </a:xfrm>
          <a:prstGeom prst="rect">
            <a:avLst/>
          </a:prstGeom>
          <a:solidFill>
            <a:srgbClr val="D2890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210" name="Rectangle 209">
            <a:extLst>
              <a:ext uri="{FF2B5EF4-FFF2-40B4-BE49-F238E27FC236}">
                <a16:creationId xmlns:a16="http://schemas.microsoft.com/office/drawing/2014/main" id="{CABF3A6A-8CEC-DD2A-2B46-24AA0077ECBC}"/>
              </a:ext>
            </a:extLst>
          </p:cNvPr>
          <p:cNvSpPr/>
          <p:nvPr/>
        </p:nvSpPr>
        <p:spPr>
          <a:xfrm rot="5400000">
            <a:off x="9570484" y="4668666"/>
            <a:ext cx="252000" cy="252000"/>
          </a:xfrm>
          <a:prstGeom prst="rect">
            <a:avLst/>
          </a:prstGeom>
          <a:solidFill>
            <a:srgbClr val="F8EB65"/>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lvl="0"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211" name="Rectangle 210">
            <a:extLst>
              <a:ext uri="{FF2B5EF4-FFF2-40B4-BE49-F238E27FC236}">
                <a16:creationId xmlns:a16="http://schemas.microsoft.com/office/drawing/2014/main" id="{F9887582-2AFD-3A3F-EBDD-88D6F33DBF87}"/>
              </a:ext>
            </a:extLst>
          </p:cNvPr>
          <p:cNvSpPr/>
          <p:nvPr/>
        </p:nvSpPr>
        <p:spPr>
          <a:xfrm rot="5400000">
            <a:off x="9260248" y="4668666"/>
            <a:ext cx="252000" cy="252000"/>
          </a:xfrm>
          <a:prstGeom prst="rect">
            <a:avLst/>
          </a:prstGeom>
          <a:solidFill>
            <a:srgbClr val="F6D60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212" name="Rectangle 211">
            <a:extLst>
              <a:ext uri="{FF2B5EF4-FFF2-40B4-BE49-F238E27FC236}">
                <a16:creationId xmlns:a16="http://schemas.microsoft.com/office/drawing/2014/main" id="{6D701F2C-0207-4600-E487-8FCE39E9F3A5}"/>
              </a:ext>
            </a:extLst>
          </p:cNvPr>
          <p:cNvSpPr/>
          <p:nvPr/>
        </p:nvSpPr>
        <p:spPr>
          <a:xfrm rot="5400000">
            <a:off x="9880722" y="4668666"/>
            <a:ext cx="252000" cy="252000"/>
          </a:xfrm>
          <a:prstGeom prst="rect">
            <a:avLst/>
          </a:prstGeom>
          <a:solidFill>
            <a:srgbClr val="FDFDA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1</a:t>
            </a:r>
            <a:endParaRPr lang="en-US" sz="800">
              <a:solidFill>
                <a:schemeClr val="tx1"/>
              </a:solidFill>
              <a:latin typeface="Ubuntu" panose="020B0504030602030204" pitchFamily="34" charset="0"/>
            </a:endParaRPr>
          </a:p>
        </p:txBody>
      </p:sp>
      <p:sp>
        <p:nvSpPr>
          <p:cNvPr id="213" name="Rectangle 212">
            <a:extLst>
              <a:ext uri="{FF2B5EF4-FFF2-40B4-BE49-F238E27FC236}">
                <a16:creationId xmlns:a16="http://schemas.microsoft.com/office/drawing/2014/main" id="{49947CBD-A083-0C27-6A58-A42DFB394EE0}"/>
              </a:ext>
            </a:extLst>
          </p:cNvPr>
          <p:cNvSpPr/>
          <p:nvPr/>
        </p:nvSpPr>
        <p:spPr>
          <a:xfrm rot="5400000">
            <a:off x="8950012" y="4668666"/>
            <a:ext cx="252000" cy="252000"/>
          </a:xfrm>
          <a:prstGeom prst="rect">
            <a:avLst/>
          </a:prstGeom>
          <a:solidFill>
            <a:srgbClr val="E7AE00"/>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M</a:t>
            </a:r>
            <a:endParaRPr lang="en-US" sz="800">
              <a:solidFill>
                <a:schemeClr val="bg1"/>
              </a:solidFill>
              <a:latin typeface="Ubuntu" panose="020B0504030602030204" pitchFamily="34" charset="0"/>
            </a:endParaRPr>
          </a:p>
        </p:txBody>
      </p:sp>
      <p:sp>
        <p:nvSpPr>
          <p:cNvPr id="253" name="Text Placeholder 12">
            <a:extLst>
              <a:ext uri="{FF2B5EF4-FFF2-40B4-BE49-F238E27FC236}">
                <a16:creationId xmlns:a16="http://schemas.microsoft.com/office/drawing/2014/main" id="{0FE092BF-BDC9-F37C-7E8C-7BDC83A915D4}"/>
              </a:ext>
            </a:extLst>
          </p:cNvPr>
          <p:cNvSpPr>
            <a:spLocks noGrp="1"/>
          </p:cNvSpPr>
          <p:nvPr>
            <p:ph type="body" sz="quarter" idx="39" hasCustomPrompt="1"/>
          </p:nvPr>
        </p:nvSpPr>
        <p:spPr>
          <a:xfrm>
            <a:off x="442911" y="578543"/>
            <a:ext cx="5509090" cy="389812"/>
          </a:xfrm>
          <a:prstGeom prst="rect">
            <a:avLst/>
          </a:prstGeom>
          <a:solidFill>
            <a:schemeClr val="tx2"/>
          </a:solidFill>
          <a:ln>
            <a:noFill/>
          </a:ln>
        </p:spPr>
        <p:txBody>
          <a:bodyPr anchor="ctr">
            <a:noAutofit/>
          </a:bodyPr>
          <a:lstStyle>
            <a:lvl1pPr>
              <a:spcBef>
                <a:spcPts val="0"/>
              </a:spcBef>
              <a:buNone/>
              <a:defRPr sz="1400" b="1">
                <a:solidFill>
                  <a:schemeClr val="bg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bg1"/>
                </a:solidFill>
                <a:latin typeface="+mn-lt"/>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err="1"/>
              <a:t>Rystad</a:t>
            </a:r>
            <a:r>
              <a:rPr lang="en-US"/>
              <a:t> Energy color palette (sorted)</a:t>
            </a:r>
            <a:endParaRPr lang="en-US" noProof="0"/>
          </a:p>
        </p:txBody>
      </p:sp>
      <p:sp>
        <p:nvSpPr>
          <p:cNvPr id="254" name="Text Placeholder 12">
            <a:extLst>
              <a:ext uri="{FF2B5EF4-FFF2-40B4-BE49-F238E27FC236}">
                <a16:creationId xmlns:a16="http://schemas.microsoft.com/office/drawing/2014/main" id="{2B215CF4-0152-5ACC-721B-BCFC25791073}"/>
              </a:ext>
            </a:extLst>
          </p:cNvPr>
          <p:cNvSpPr>
            <a:spLocks noGrp="1"/>
          </p:cNvSpPr>
          <p:nvPr>
            <p:ph type="body" sz="quarter" idx="44" hasCustomPrompt="1"/>
          </p:nvPr>
        </p:nvSpPr>
        <p:spPr>
          <a:xfrm>
            <a:off x="6239699" y="578543"/>
            <a:ext cx="5509088" cy="389812"/>
          </a:xfrm>
          <a:prstGeom prst="rect">
            <a:avLst/>
          </a:prstGeom>
          <a:solidFill>
            <a:schemeClr val="tx2"/>
          </a:solidFill>
          <a:ln>
            <a:noFill/>
          </a:ln>
        </p:spPr>
        <p:txBody>
          <a:bodyPr anchor="ctr">
            <a:noAutofit/>
          </a:bodyPr>
          <a:lstStyle>
            <a:lvl1pPr>
              <a:spcBef>
                <a:spcPts val="0"/>
              </a:spcBef>
              <a:buNone/>
              <a:defRPr sz="1400" b="1">
                <a:solidFill>
                  <a:schemeClr val="bg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bg1"/>
                </a:solidFill>
                <a:latin typeface="+mn-lt"/>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nb-NO" noProof="0" err="1"/>
              <a:t>Example</a:t>
            </a:r>
            <a:r>
              <a:rPr lang="nb-NO" noProof="0"/>
              <a:t> </a:t>
            </a:r>
            <a:r>
              <a:rPr lang="nb-NO" noProof="0" err="1"/>
              <a:t>color</a:t>
            </a:r>
            <a:r>
              <a:rPr lang="nb-NO" noProof="0"/>
              <a:t> </a:t>
            </a:r>
            <a:r>
              <a:rPr lang="nb-NO" noProof="0" err="1"/>
              <a:t>palette</a:t>
            </a:r>
            <a:r>
              <a:rPr lang="nb-NO" noProof="0"/>
              <a:t> </a:t>
            </a:r>
            <a:r>
              <a:rPr lang="nb-NO" noProof="0" err="1"/>
              <a:t>incl</a:t>
            </a:r>
            <a:r>
              <a:rPr lang="nb-NO" noProof="0"/>
              <a:t>. </a:t>
            </a:r>
            <a:r>
              <a:rPr lang="nb-NO" noProof="0" err="1"/>
              <a:t>additional</a:t>
            </a:r>
            <a:r>
              <a:rPr lang="nb-NO" noProof="0"/>
              <a:t> </a:t>
            </a:r>
            <a:r>
              <a:rPr lang="nb-NO" noProof="0" err="1"/>
              <a:t>colors</a:t>
            </a:r>
            <a:endParaRPr lang="en-US" noProof="0"/>
          </a:p>
        </p:txBody>
      </p:sp>
      <p:sp>
        <p:nvSpPr>
          <p:cNvPr id="123" name="Rectangle 122">
            <a:extLst>
              <a:ext uri="{FF2B5EF4-FFF2-40B4-BE49-F238E27FC236}">
                <a16:creationId xmlns:a16="http://schemas.microsoft.com/office/drawing/2014/main" id="{9DAAACFF-6416-BA20-2613-BD3C85EA613A}"/>
              </a:ext>
            </a:extLst>
          </p:cNvPr>
          <p:cNvSpPr/>
          <p:nvPr/>
        </p:nvSpPr>
        <p:spPr>
          <a:xfrm>
            <a:off x="7778175" y="5052230"/>
            <a:ext cx="2408740" cy="377283"/>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sp>
        <p:nvSpPr>
          <p:cNvPr id="174" name="Rectangle 173">
            <a:extLst>
              <a:ext uri="{FF2B5EF4-FFF2-40B4-BE49-F238E27FC236}">
                <a16:creationId xmlns:a16="http://schemas.microsoft.com/office/drawing/2014/main" id="{6D074D2D-E6E0-02DF-DE07-F109F4127EA7}"/>
              </a:ext>
            </a:extLst>
          </p:cNvPr>
          <p:cNvSpPr/>
          <p:nvPr/>
        </p:nvSpPr>
        <p:spPr>
          <a:xfrm rot="5400000">
            <a:off x="8329540" y="5118625"/>
            <a:ext cx="252000" cy="252000"/>
          </a:xfrm>
          <a:prstGeom prst="rect">
            <a:avLst/>
          </a:prstGeom>
          <a:solidFill>
            <a:srgbClr val="450003"/>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6</a:t>
            </a:r>
            <a:endParaRPr lang="en-US" sz="800">
              <a:solidFill>
                <a:schemeClr val="bg1"/>
              </a:solidFill>
              <a:latin typeface="Ubuntu" panose="020B0504030602030204" pitchFamily="34" charset="0"/>
            </a:endParaRPr>
          </a:p>
        </p:txBody>
      </p:sp>
      <p:sp>
        <p:nvSpPr>
          <p:cNvPr id="175" name="Rectangle 174">
            <a:extLst>
              <a:ext uri="{FF2B5EF4-FFF2-40B4-BE49-F238E27FC236}">
                <a16:creationId xmlns:a16="http://schemas.microsoft.com/office/drawing/2014/main" id="{BF296B4B-EEC0-9AA5-4E64-22089A10DDCC}"/>
              </a:ext>
            </a:extLst>
          </p:cNvPr>
          <p:cNvSpPr/>
          <p:nvPr/>
        </p:nvSpPr>
        <p:spPr>
          <a:xfrm rot="5400000">
            <a:off x="8639776" y="5118625"/>
            <a:ext cx="252000" cy="252000"/>
          </a:xfrm>
          <a:prstGeom prst="rect">
            <a:avLst/>
          </a:prstGeom>
          <a:solidFill>
            <a:srgbClr val="5D161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5</a:t>
            </a:r>
            <a:endParaRPr lang="en-US" sz="800">
              <a:solidFill>
                <a:schemeClr val="bg1"/>
              </a:solidFill>
              <a:latin typeface="Ubuntu" panose="020B0504030602030204" pitchFamily="34" charset="0"/>
            </a:endParaRPr>
          </a:p>
        </p:txBody>
      </p:sp>
      <p:sp>
        <p:nvSpPr>
          <p:cNvPr id="176" name="Rectangle 175">
            <a:extLst>
              <a:ext uri="{FF2B5EF4-FFF2-40B4-BE49-F238E27FC236}">
                <a16:creationId xmlns:a16="http://schemas.microsoft.com/office/drawing/2014/main" id="{6ABC40C7-48E7-34AF-BED1-A67F11951569}"/>
              </a:ext>
            </a:extLst>
          </p:cNvPr>
          <p:cNvSpPr/>
          <p:nvPr/>
        </p:nvSpPr>
        <p:spPr>
          <a:xfrm rot="5400000">
            <a:off x="9570484" y="5118625"/>
            <a:ext cx="252000" cy="252000"/>
          </a:xfrm>
          <a:prstGeom prst="rect">
            <a:avLst/>
          </a:prstGeom>
          <a:solidFill>
            <a:srgbClr val="E3808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2</a:t>
            </a:r>
            <a:endParaRPr lang="en-US" sz="800">
              <a:solidFill>
                <a:schemeClr val="tx1"/>
              </a:solidFill>
              <a:latin typeface="Ubuntu" panose="020B0504030602030204" pitchFamily="34" charset="0"/>
            </a:endParaRPr>
          </a:p>
        </p:txBody>
      </p:sp>
      <p:sp>
        <p:nvSpPr>
          <p:cNvPr id="177" name="Rectangle 176">
            <a:extLst>
              <a:ext uri="{FF2B5EF4-FFF2-40B4-BE49-F238E27FC236}">
                <a16:creationId xmlns:a16="http://schemas.microsoft.com/office/drawing/2014/main" id="{0ECB4AD5-647B-EC1B-DA4C-3CD3BCB63003}"/>
              </a:ext>
            </a:extLst>
          </p:cNvPr>
          <p:cNvSpPr/>
          <p:nvPr/>
        </p:nvSpPr>
        <p:spPr>
          <a:xfrm rot="5400000">
            <a:off x="9260248" y="5118625"/>
            <a:ext cx="252000" cy="252000"/>
          </a:xfrm>
          <a:prstGeom prst="rect">
            <a:avLst/>
          </a:prstGeom>
          <a:solidFill>
            <a:srgbClr val="C76A6C"/>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3</a:t>
            </a:r>
            <a:endParaRPr lang="en-US" sz="800">
              <a:solidFill>
                <a:schemeClr val="tx1"/>
              </a:solidFill>
              <a:latin typeface="Ubuntu" panose="020B0504030602030204" pitchFamily="34" charset="0"/>
            </a:endParaRPr>
          </a:p>
        </p:txBody>
      </p:sp>
      <p:sp>
        <p:nvSpPr>
          <p:cNvPr id="178" name="Rectangle 177">
            <a:extLst>
              <a:ext uri="{FF2B5EF4-FFF2-40B4-BE49-F238E27FC236}">
                <a16:creationId xmlns:a16="http://schemas.microsoft.com/office/drawing/2014/main" id="{44BE95C3-46F4-037F-A3A8-187F92A7A52B}"/>
              </a:ext>
            </a:extLst>
          </p:cNvPr>
          <p:cNvSpPr/>
          <p:nvPr/>
        </p:nvSpPr>
        <p:spPr>
          <a:xfrm rot="5400000">
            <a:off x="9880722" y="5118625"/>
            <a:ext cx="252000" cy="252000"/>
          </a:xfrm>
          <a:prstGeom prst="rect">
            <a:avLst/>
          </a:prstGeom>
          <a:solidFill>
            <a:srgbClr val="FF979A"/>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tx1"/>
                </a:solidFill>
                <a:latin typeface="Ubuntu" panose="020B0504030602030204" pitchFamily="34" charset="0"/>
              </a:rPr>
              <a:t>1</a:t>
            </a:r>
            <a:endParaRPr lang="en-US" sz="800">
              <a:solidFill>
                <a:schemeClr val="tx1"/>
              </a:solidFill>
              <a:latin typeface="Ubuntu" panose="020B0504030602030204" pitchFamily="34" charset="0"/>
            </a:endParaRPr>
          </a:p>
        </p:txBody>
      </p:sp>
      <p:sp>
        <p:nvSpPr>
          <p:cNvPr id="179" name="Rectangle 178">
            <a:extLst>
              <a:ext uri="{FF2B5EF4-FFF2-40B4-BE49-F238E27FC236}">
                <a16:creationId xmlns:a16="http://schemas.microsoft.com/office/drawing/2014/main" id="{A3F8C40B-3E0E-1206-075D-2F6B7F5A8097}"/>
              </a:ext>
            </a:extLst>
          </p:cNvPr>
          <p:cNvSpPr/>
          <p:nvPr/>
        </p:nvSpPr>
        <p:spPr>
          <a:xfrm rot="5400000">
            <a:off x="8950012" y="5118625"/>
            <a:ext cx="252000" cy="252000"/>
          </a:xfrm>
          <a:prstGeom prst="rect">
            <a:avLst/>
          </a:prstGeom>
          <a:solidFill>
            <a:srgbClr val="913F4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vert270" lIns="36000" tIns="36000" rIns="36000" bIns="36000" rtlCol="0" anchor="ctr"/>
          <a:lstStyle/>
          <a:p>
            <a:pPr algn="ctr"/>
            <a:r>
              <a:rPr lang="nb-NO" sz="800">
                <a:solidFill>
                  <a:schemeClr val="bg1"/>
                </a:solidFill>
                <a:latin typeface="Ubuntu" panose="020B0504030602030204" pitchFamily="34" charset="0"/>
              </a:rPr>
              <a:t>M</a:t>
            </a:r>
            <a:endParaRPr lang="en-US" sz="800">
              <a:solidFill>
                <a:schemeClr val="bg1"/>
              </a:solidFill>
              <a:latin typeface="Ubuntu" panose="020B0504030602030204" pitchFamily="34" charset="0"/>
            </a:endParaRPr>
          </a:p>
        </p:txBody>
      </p:sp>
      <p:sp>
        <p:nvSpPr>
          <p:cNvPr id="124" name="TextBox 123">
            <a:extLst>
              <a:ext uri="{FF2B5EF4-FFF2-40B4-BE49-F238E27FC236}">
                <a16:creationId xmlns:a16="http://schemas.microsoft.com/office/drawing/2014/main" id="{60DC3352-0FF0-83DF-2C57-CCBC20F6EE27}"/>
              </a:ext>
            </a:extLst>
          </p:cNvPr>
          <p:cNvSpPr txBox="1"/>
          <p:nvPr/>
        </p:nvSpPr>
        <p:spPr>
          <a:xfrm>
            <a:off x="7689422" y="5116936"/>
            <a:ext cx="707198" cy="261610"/>
          </a:xfrm>
          <a:prstGeom prst="rect">
            <a:avLst/>
          </a:prstGeom>
          <a:noFill/>
        </p:spPr>
        <p:txBody>
          <a:bodyPr wrap="square" rtlCol="0">
            <a:spAutoFit/>
          </a:bodyPr>
          <a:lstStyle/>
          <a:p>
            <a:pPr algn="ctr"/>
            <a:r>
              <a:rPr lang="nb-NO" sz="1100">
                <a:latin typeface="Ubuntu" panose="020B0504030602030204" pitchFamily="34" charset="0"/>
              </a:rPr>
              <a:t>M</a:t>
            </a:r>
            <a:r>
              <a:rPr lang="nb-NO" sz="1100" baseline="30000">
                <a:latin typeface="Ubuntu" panose="020B0504030602030204" pitchFamily="34" charset="0"/>
              </a:rPr>
              <a:t>3</a:t>
            </a:r>
          </a:p>
        </p:txBody>
      </p:sp>
    </p:spTree>
    <p:extLst>
      <p:ext uri="{BB962C8B-B14F-4D97-AF65-F5344CB8AC3E}">
        <p14:creationId xmlns:p14="http://schemas.microsoft.com/office/powerpoint/2010/main" val="1329097263"/>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RE icon library_orange">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C388F31-E626-F123-EC66-2D691FF404C0}"/>
              </a:ext>
            </a:extLst>
          </p:cNvPr>
          <p:cNvSpPr txBox="1">
            <a:spLocks/>
          </p:cNvSpPr>
          <p:nvPr/>
        </p:nvSpPr>
        <p:spPr>
          <a:xfrm>
            <a:off x="442914" y="441324"/>
            <a:ext cx="11306174" cy="611189"/>
          </a:xfrm>
          <a:prstGeom prst="rect">
            <a:avLst/>
          </a:prstGeom>
        </p:spPr>
        <p:txBody>
          <a:bodyPr vert="horz" lIns="91440" tIns="45720" rIns="91440" bIns="45720" rtlCol="0" anchor="ctr">
            <a:noAutofit/>
          </a:bodyPr>
          <a:lstStyle>
            <a:lvl1pPr algn="l" defTabSz="1125472" rtl="0" eaLnBrk="1" latinLnBrk="0" hangingPunct="1">
              <a:lnSpc>
                <a:spcPct val="90000"/>
              </a:lnSpc>
              <a:spcBef>
                <a:spcPct val="0"/>
              </a:spcBef>
              <a:buNone/>
              <a:defRPr lang="en-US" sz="2200" b="0" i="0" kern="1200" dirty="0">
                <a:solidFill>
                  <a:schemeClr val="tx1"/>
                </a:solidFill>
                <a:latin typeface="+mj-lt"/>
                <a:ea typeface="+mj-ea"/>
                <a:cs typeface="Calibri" panose="020F0502020204030204" pitchFamily="34" charset="0"/>
              </a:defRPr>
            </a:lvl1pPr>
          </a:lstStyle>
          <a:p>
            <a:r>
              <a:rPr lang="en-US" b="0" err="1">
                <a:latin typeface="Ubuntu" panose="020B0504030602030204" pitchFamily="34" charset="0"/>
              </a:rPr>
              <a:t>Rystad</a:t>
            </a:r>
            <a:r>
              <a:rPr lang="en-US" b="0">
                <a:latin typeface="Ubuntu" panose="020B0504030602030204" pitchFamily="34" charset="0"/>
              </a:rPr>
              <a:t> Energy icon library – orange</a:t>
            </a:r>
          </a:p>
        </p:txBody>
      </p:sp>
      <p:pic>
        <p:nvPicPr>
          <p:cNvPr id="13" name="Picture 12" descr="Icon&#10;&#10;Description automatically generated">
            <a:extLst>
              <a:ext uri="{FF2B5EF4-FFF2-40B4-BE49-F238E27FC236}">
                <a16:creationId xmlns:a16="http://schemas.microsoft.com/office/drawing/2014/main" id="{7D3EB671-5A85-AD32-47A4-383F2E976A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16531" y="1280922"/>
            <a:ext cx="589549" cy="589549"/>
          </a:xfrm>
          <a:prstGeom prst="rect">
            <a:avLst/>
          </a:prstGeom>
        </p:spPr>
      </p:pic>
      <p:sp>
        <p:nvSpPr>
          <p:cNvPr id="15" name="Rectangle 14">
            <a:extLst>
              <a:ext uri="{FF2B5EF4-FFF2-40B4-BE49-F238E27FC236}">
                <a16:creationId xmlns:a16="http://schemas.microsoft.com/office/drawing/2014/main" id="{FAC31394-ED80-1DFA-CA2D-0823E89BAC34}"/>
              </a:ext>
            </a:extLst>
          </p:cNvPr>
          <p:cNvSpPr/>
          <p:nvPr/>
        </p:nvSpPr>
        <p:spPr>
          <a:xfrm>
            <a:off x="8644542" y="189046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ommentaries</a:t>
            </a:r>
          </a:p>
        </p:txBody>
      </p:sp>
      <p:pic>
        <p:nvPicPr>
          <p:cNvPr id="17" name="Picture 16" descr="Icon&#10;&#10;Description automatically generated">
            <a:extLst>
              <a:ext uri="{FF2B5EF4-FFF2-40B4-BE49-F238E27FC236}">
                <a16:creationId xmlns:a16="http://schemas.microsoft.com/office/drawing/2014/main" id="{66DA0798-358F-C714-9C6C-19FBBE4B6A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848" y="1210440"/>
            <a:ext cx="709865" cy="674749"/>
          </a:xfrm>
          <a:prstGeom prst="rect">
            <a:avLst/>
          </a:prstGeom>
        </p:spPr>
      </p:pic>
      <p:sp>
        <p:nvSpPr>
          <p:cNvPr id="18" name="Rectangle 17">
            <a:extLst>
              <a:ext uri="{FF2B5EF4-FFF2-40B4-BE49-F238E27FC236}">
                <a16:creationId xmlns:a16="http://schemas.microsoft.com/office/drawing/2014/main" id="{986A59A6-A0C1-8625-BB40-A2ED002DCD2E}"/>
              </a:ext>
            </a:extLst>
          </p:cNvPr>
          <p:cNvSpPr/>
          <p:nvPr/>
        </p:nvSpPr>
        <p:spPr>
          <a:xfrm>
            <a:off x="151017" y="189878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Advisory</a:t>
            </a:r>
          </a:p>
        </p:txBody>
      </p:sp>
      <p:pic>
        <p:nvPicPr>
          <p:cNvPr id="20" name="Picture 19">
            <a:extLst>
              <a:ext uri="{FF2B5EF4-FFF2-40B4-BE49-F238E27FC236}">
                <a16:creationId xmlns:a16="http://schemas.microsoft.com/office/drawing/2014/main" id="{C42E23F1-DF1F-1B46-8051-104E6BBA57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3585" y="1264397"/>
            <a:ext cx="615116" cy="620175"/>
          </a:xfrm>
          <a:prstGeom prst="rect">
            <a:avLst/>
          </a:prstGeom>
        </p:spPr>
      </p:pic>
      <p:sp>
        <p:nvSpPr>
          <p:cNvPr id="21" name="Rectangle 20">
            <a:extLst>
              <a:ext uri="{FF2B5EF4-FFF2-40B4-BE49-F238E27FC236}">
                <a16:creationId xmlns:a16="http://schemas.microsoft.com/office/drawing/2014/main" id="{0E132CB8-54E2-B3D9-D02C-D2C369BC2F9D}"/>
              </a:ext>
            </a:extLst>
          </p:cNvPr>
          <p:cNvSpPr/>
          <p:nvPr/>
        </p:nvSpPr>
        <p:spPr>
          <a:xfrm>
            <a:off x="9489720" y="192926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ommodity</a:t>
            </a:r>
          </a:p>
          <a:p>
            <a:pPr algn="ctr"/>
            <a:r>
              <a:rPr lang="en-US" sz="1100">
                <a:solidFill>
                  <a:schemeClr val="tx1"/>
                </a:solidFill>
                <a:latin typeface="Ubuntu" panose="020B0504030602030204" pitchFamily="34" charset="0"/>
              </a:rPr>
              <a:t>market</a:t>
            </a:r>
          </a:p>
        </p:txBody>
      </p:sp>
      <p:pic>
        <p:nvPicPr>
          <p:cNvPr id="23" name="Picture 22" descr="Icon&#10;&#10;Description automatically generated">
            <a:extLst>
              <a:ext uri="{FF2B5EF4-FFF2-40B4-BE49-F238E27FC236}">
                <a16:creationId xmlns:a16="http://schemas.microsoft.com/office/drawing/2014/main" id="{E4ADCAE8-74E8-D6E0-2669-2F43902C22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09793" y="1383797"/>
            <a:ext cx="578442" cy="510793"/>
          </a:xfrm>
          <a:prstGeom prst="rect">
            <a:avLst/>
          </a:prstGeom>
        </p:spPr>
      </p:pic>
      <p:sp>
        <p:nvSpPr>
          <p:cNvPr id="24" name="Rectangle 23">
            <a:extLst>
              <a:ext uri="{FF2B5EF4-FFF2-40B4-BE49-F238E27FC236}">
                <a16:creationId xmlns:a16="http://schemas.microsoft.com/office/drawing/2014/main" id="{2F773674-9FB6-F843-45DA-5D190438A306}"/>
              </a:ext>
            </a:extLst>
          </p:cNvPr>
          <p:cNvSpPr/>
          <p:nvPr/>
        </p:nvSpPr>
        <p:spPr>
          <a:xfrm>
            <a:off x="10433167" y="190253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ube dashboard</a:t>
            </a:r>
          </a:p>
        </p:txBody>
      </p:sp>
      <p:pic>
        <p:nvPicPr>
          <p:cNvPr id="26" name="Picture 25" descr="Icon&#10;&#10;Description automatically generated">
            <a:extLst>
              <a:ext uri="{FF2B5EF4-FFF2-40B4-BE49-F238E27FC236}">
                <a16:creationId xmlns:a16="http://schemas.microsoft.com/office/drawing/2014/main" id="{3356C805-20B9-C497-BAE5-B8C80C9A73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8307" y="2313727"/>
            <a:ext cx="604265" cy="676923"/>
          </a:xfrm>
          <a:prstGeom prst="rect">
            <a:avLst/>
          </a:prstGeom>
        </p:spPr>
      </p:pic>
      <p:sp>
        <p:nvSpPr>
          <p:cNvPr id="27" name="Rectangle 26">
            <a:extLst>
              <a:ext uri="{FF2B5EF4-FFF2-40B4-BE49-F238E27FC236}">
                <a16:creationId xmlns:a16="http://schemas.microsoft.com/office/drawing/2014/main" id="{5616D457-2C76-01E7-B9E0-C9CC3C55ECA7}"/>
              </a:ext>
            </a:extLst>
          </p:cNvPr>
          <p:cNvSpPr/>
          <p:nvPr/>
        </p:nvSpPr>
        <p:spPr>
          <a:xfrm>
            <a:off x="151017" y="299934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ube</a:t>
            </a:r>
          </a:p>
        </p:txBody>
      </p:sp>
      <p:pic>
        <p:nvPicPr>
          <p:cNvPr id="29" name="Picture 28" descr="Icon&#10;&#10;Description automatically generated">
            <a:extLst>
              <a:ext uri="{FF2B5EF4-FFF2-40B4-BE49-F238E27FC236}">
                <a16:creationId xmlns:a16="http://schemas.microsoft.com/office/drawing/2014/main" id="{839BEF8E-3F76-5758-7DC6-89EB203ABE5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98023" y="2285067"/>
            <a:ext cx="664691" cy="664691"/>
          </a:xfrm>
          <a:prstGeom prst="rect">
            <a:avLst/>
          </a:prstGeom>
        </p:spPr>
      </p:pic>
      <p:sp>
        <p:nvSpPr>
          <p:cNvPr id="30" name="Rectangle 29">
            <a:extLst>
              <a:ext uri="{FF2B5EF4-FFF2-40B4-BE49-F238E27FC236}">
                <a16:creationId xmlns:a16="http://schemas.microsoft.com/office/drawing/2014/main" id="{2359316E-5BCA-294E-EE3E-A0738E057D80}"/>
              </a:ext>
            </a:extLst>
          </p:cNvPr>
          <p:cNvSpPr/>
          <p:nvPr/>
        </p:nvSpPr>
        <p:spPr>
          <a:xfrm>
            <a:off x="974378" y="297816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ustomer</a:t>
            </a:r>
          </a:p>
          <a:p>
            <a:pPr algn="ctr"/>
            <a:r>
              <a:rPr lang="en-US" sz="1100">
                <a:solidFill>
                  <a:schemeClr val="tx1"/>
                </a:solidFill>
                <a:latin typeface="Ubuntu" panose="020B0504030602030204" pitchFamily="34" charset="0"/>
              </a:rPr>
              <a:t>portal</a:t>
            </a:r>
          </a:p>
        </p:txBody>
      </p:sp>
      <p:pic>
        <p:nvPicPr>
          <p:cNvPr id="32" name="Picture 31" descr="Logo, icon&#10;&#10;Description automatically generated">
            <a:extLst>
              <a:ext uri="{FF2B5EF4-FFF2-40B4-BE49-F238E27FC236}">
                <a16:creationId xmlns:a16="http://schemas.microsoft.com/office/drawing/2014/main" id="{C4467BAD-9217-6F1F-627E-C28868B3840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51310" y="2389809"/>
            <a:ext cx="524165" cy="517486"/>
          </a:xfrm>
          <a:prstGeom prst="rect">
            <a:avLst/>
          </a:prstGeom>
        </p:spPr>
      </p:pic>
      <p:sp>
        <p:nvSpPr>
          <p:cNvPr id="39" name="Rectangle 38">
            <a:extLst>
              <a:ext uri="{FF2B5EF4-FFF2-40B4-BE49-F238E27FC236}">
                <a16:creationId xmlns:a16="http://schemas.microsoft.com/office/drawing/2014/main" id="{9E8705A8-A357-3315-35BC-F28E88B2B70D}"/>
              </a:ext>
            </a:extLst>
          </p:cNvPr>
          <p:cNvSpPr/>
          <p:nvPr/>
        </p:nvSpPr>
        <p:spPr>
          <a:xfrm>
            <a:off x="1832792" y="2966582"/>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Data feed</a:t>
            </a:r>
          </a:p>
        </p:txBody>
      </p:sp>
      <p:pic>
        <p:nvPicPr>
          <p:cNvPr id="34" name="Picture 33" descr="Icon&#10;&#10;Description automatically generated">
            <a:extLst>
              <a:ext uri="{FF2B5EF4-FFF2-40B4-BE49-F238E27FC236}">
                <a16:creationId xmlns:a16="http://schemas.microsoft.com/office/drawing/2014/main" id="{2AF1D6A2-371E-8C33-CA5B-A04C7692F41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55831" y="2326241"/>
            <a:ext cx="740062" cy="615420"/>
          </a:xfrm>
          <a:prstGeom prst="rect">
            <a:avLst/>
          </a:prstGeom>
        </p:spPr>
      </p:pic>
      <p:sp>
        <p:nvSpPr>
          <p:cNvPr id="40" name="Rectangle 39">
            <a:extLst>
              <a:ext uri="{FF2B5EF4-FFF2-40B4-BE49-F238E27FC236}">
                <a16:creationId xmlns:a16="http://schemas.microsoft.com/office/drawing/2014/main" id="{AB7A4563-5930-61CF-55DD-6A146BDABD4C}"/>
              </a:ext>
            </a:extLst>
          </p:cNvPr>
          <p:cNvSpPr/>
          <p:nvPr/>
        </p:nvSpPr>
        <p:spPr>
          <a:xfrm>
            <a:off x="2647822" y="296052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Data</a:t>
            </a:r>
          </a:p>
        </p:txBody>
      </p:sp>
      <p:pic>
        <p:nvPicPr>
          <p:cNvPr id="36" name="Picture 35" descr="Icon&#10;&#10;Description automatically generated">
            <a:extLst>
              <a:ext uri="{FF2B5EF4-FFF2-40B4-BE49-F238E27FC236}">
                <a16:creationId xmlns:a16="http://schemas.microsoft.com/office/drawing/2014/main" id="{23BAAC39-D12C-80B2-1932-B22B74C202C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013065" y="2346263"/>
            <a:ext cx="569235" cy="593719"/>
          </a:xfrm>
          <a:prstGeom prst="rect">
            <a:avLst/>
          </a:prstGeom>
        </p:spPr>
      </p:pic>
      <p:sp>
        <p:nvSpPr>
          <p:cNvPr id="41" name="Rectangle 40">
            <a:extLst>
              <a:ext uri="{FF2B5EF4-FFF2-40B4-BE49-F238E27FC236}">
                <a16:creationId xmlns:a16="http://schemas.microsoft.com/office/drawing/2014/main" id="{C62CA7E2-F14B-BB1C-8B81-3A21743566AD}"/>
              </a:ext>
            </a:extLst>
          </p:cNvPr>
          <p:cNvSpPr/>
          <p:nvPr/>
        </p:nvSpPr>
        <p:spPr>
          <a:xfrm>
            <a:off x="3530920" y="295820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Downstream</a:t>
            </a:r>
          </a:p>
        </p:txBody>
      </p:sp>
      <p:pic>
        <p:nvPicPr>
          <p:cNvPr id="43" name="Picture 42" descr="Icon&#10;&#10;Description automatically generated">
            <a:extLst>
              <a:ext uri="{FF2B5EF4-FFF2-40B4-BE49-F238E27FC236}">
                <a16:creationId xmlns:a16="http://schemas.microsoft.com/office/drawing/2014/main" id="{9C1B70EC-D6A0-A93D-6F4A-95171E175DE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765933" y="2287555"/>
            <a:ext cx="730450" cy="664691"/>
          </a:xfrm>
          <a:prstGeom prst="rect">
            <a:avLst/>
          </a:prstGeom>
        </p:spPr>
      </p:pic>
      <p:sp>
        <p:nvSpPr>
          <p:cNvPr id="44" name="Rectangle 43">
            <a:extLst>
              <a:ext uri="{FF2B5EF4-FFF2-40B4-BE49-F238E27FC236}">
                <a16:creationId xmlns:a16="http://schemas.microsoft.com/office/drawing/2014/main" id="{3AA56329-953D-C563-6D17-DF8962947810}"/>
              </a:ext>
            </a:extLst>
          </p:cNvPr>
          <p:cNvSpPr/>
          <p:nvPr/>
        </p:nvSpPr>
        <p:spPr>
          <a:xfrm>
            <a:off x="4364396" y="297515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Energy</a:t>
            </a:r>
          </a:p>
          <a:p>
            <a:pPr algn="ctr"/>
            <a:r>
              <a:rPr lang="en-US" sz="1100">
                <a:solidFill>
                  <a:schemeClr val="tx1"/>
                </a:solidFill>
                <a:latin typeface="Ubuntu" panose="020B0504030602030204" pitchFamily="34" charset="0"/>
              </a:rPr>
              <a:t>transition</a:t>
            </a:r>
          </a:p>
        </p:txBody>
      </p:sp>
      <p:pic>
        <p:nvPicPr>
          <p:cNvPr id="46" name="Picture 45" descr="Logo, icon&#10;&#10;Description automatically generated">
            <a:extLst>
              <a:ext uri="{FF2B5EF4-FFF2-40B4-BE49-F238E27FC236}">
                <a16:creationId xmlns:a16="http://schemas.microsoft.com/office/drawing/2014/main" id="{337D56EE-A7D3-C58A-D567-CAB4553E8F8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346468" y="2331447"/>
            <a:ext cx="664691" cy="664691"/>
          </a:xfrm>
          <a:prstGeom prst="rect">
            <a:avLst/>
          </a:prstGeom>
        </p:spPr>
      </p:pic>
      <p:sp>
        <p:nvSpPr>
          <p:cNvPr id="47" name="Rectangle 46">
            <a:extLst>
              <a:ext uri="{FF2B5EF4-FFF2-40B4-BE49-F238E27FC236}">
                <a16:creationId xmlns:a16="http://schemas.microsoft.com/office/drawing/2014/main" id="{2F3934A1-13F2-42A5-9826-99B6C84F0D76}"/>
              </a:ext>
            </a:extLst>
          </p:cNvPr>
          <p:cNvSpPr/>
          <p:nvPr/>
        </p:nvSpPr>
        <p:spPr>
          <a:xfrm>
            <a:off x="6912051" y="298485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Hydrogen</a:t>
            </a:r>
          </a:p>
        </p:txBody>
      </p:sp>
      <p:pic>
        <p:nvPicPr>
          <p:cNvPr id="49" name="Picture 48" descr="Icon&#10;&#10;Description automatically generated">
            <a:extLst>
              <a:ext uri="{FF2B5EF4-FFF2-40B4-BE49-F238E27FC236}">
                <a16:creationId xmlns:a16="http://schemas.microsoft.com/office/drawing/2014/main" id="{58EEA195-6924-2752-4F00-0EA95030D0B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388852" y="3504680"/>
            <a:ext cx="421404" cy="565217"/>
          </a:xfrm>
          <a:prstGeom prst="rect">
            <a:avLst/>
          </a:prstGeom>
        </p:spPr>
      </p:pic>
      <p:sp>
        <p:nvSpPr>
          <p:cNvPr id="2" name="Rectangle 1">
            <a:extLst>
              <a:ext uri="{FF2B5EF4-FFF2-40B4-BE49-F238E27FC236}">
                <a16:creationId xmlns:a16="http://schemas.microsoft.com/office/drawing/2014/main" id="{505F71C1-C8E4-FA82-9BC5-98803945AA89}"/>
              </a:ext>
            </a:extLst>
          </p:cNvPr>
          <p:cNvSpPr/>
          <p:nvPr/>
        </p:nvSpPr>
        <p:spPr>
          <a:xfrm>
            <a:off x="1832792" y="413666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amp; gas_1</a:t>
            </a:r>
          </a:p>
        </p:txBody>
      </p:sp>
      <p:pic>
        <p:nvPicPr>
          <p:cNvPr id="5" name="Picture 4">
            <a:extLst>
              <a:ext uri="{FF2B5EF4-FFF2-40B4-BE49-F238E27FC236}">
                <a16:creationId xmlns:a16="http://schemas.microsoft.com/office/drawing/2014/main" id="{6F45620D-A4C4-1D04-02B4-2669C34526D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915943" y="3414583"/>
            <a:ext cx="681079" cy="704450"/>
          </a:xfrm>
          <a:prstGeom prst="rect">
            <a:avLst/>
          </a:prstGeom>
        </p:spPr>
      </p:pic>
      <p:sp>
        <p:nvSpPr>
          <p:cNvPr id="6" name="Rectangle 5">
            <a:extLst>
              <a:ext uri="{FF2B5EF4-FFF2-40B4-BE49-F238E27FC236}">
                <a16:creationId xmlns:a16="http://schemas.microsoft.com/office/drawing/2014/main" id="{79852F09-C597-7957-1CED-0745322EE370}"/>
              </a:ext>
            </a:extLst>
          </p:cNvPr>
          <p:cNvSpPr/>
          <p:nvPr/>
        </p:nvSpPr>
        <p:spPr>
          <a:xfrm>
            <a:off x="9489720" y="414475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Renewables</a:t>
            </a:r>
          </a:p>
        </p:txBody>
      </p:sp>
      <p:pic>
        <p:nvPicPr>
          <p:cNvPr id="8" name="Picture 7" descr="Icon&#10;&#10;Description automatically generated with low confidence">
            <a:extLst>
              <a:ext uri="{FF2B5EF4-FFF2-40B4-BE49-F238E27FC236}">
                <a16:creationId xmlns:a16="http://schemas.microsoft.com/office/drawing/2014/main" id="{21BA0447-2B77-1A20-CEDD-449BC4F1EF5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96194" y="4615078"/>
            <a:ext cx="684280" cy="572073"/>
          </a:xfrm>
          <a:prstGeom prst="rect">
            <a:avLst/>
          </a:prstGeom>
        </p:spPr>
      </p:pic>
      <p:sp>
        <p:nvSpPr>
          <p:cNvPr id="9" name="Rectangle 8">
            <a:extLst>
              <a:ext uri="{FF2B5EF4-FFF2-40B4-BE49-F238E27FC236}">
                <a16:creationId xmlns:a16="http://schemas.microsoft.com/office/drawing/2014/main" id="{ADEEC0F0-05B6-4014-2372-28371B0C7013}"/>
              </a:ext>
            </a:extLst>
          </p:cNvPr>
          <p:cNvSpPr/>
          <p:nvPr/>
        </p:nvSpPr>
        <p:spPr>
          <a:xfrm>
            <a:off x="151017" y="527906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Rigs &amp; vessels</a:t>
            </a:r>
          </a:p>
        </p:txBody>
      </p:sp>
      <p:pic>
        <p:nvPicPr>
          <p:cNvPr id="12" name="Picture 11" descr="Logo, icon&#10;&#10;Description automatically generated">
            <a:extLst>
              <a:ext uri="{FF2B5EF4-FFF2-40B4-BE49-F238E27FC236}">
                <a16:creationId xmlns:a16="http://schemas.microsoft.com/office/drawing/2014/main" id="{14E18B82-3590-C947-1F0D-618A4664B37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260754" y="4596063"/>
            <a:ext cx="664691" cy="664691"/>
          </a:xfrm>
          <a:prstGeom prst="rect">
            <a:avLst/>
          </a:prstGeom>
        </p:spPr>
      </p:pic>
      <p:sp>
        <p:nvSpPr>
          <p:cNvPr id="16" name="Rectangle 15">
            <a:extLst>
              <a:ext uri="{FF2B5EF4-FFF2-40B4-BE49-F238E27FC236}">
                <a16:creationId xmlns:a16="http://schemas.microsoft.com/office/drawing/2014/main" id="{C9FAC6B1-8613-2B89-07B1-465ABC97DA9D}"/>
              </a:ext>
            </a:extLst>
          </p:cNvPr>
          <p:cNvSpPr/>
          <p:nvPr/>
        </p:nvSpPr>
        <p:spPr>
          <a:xfrm>
            <a:off x="1832792" y="526562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ervice markets</a:t>
            </a:r>
          </a:p>
        </p:txBody>
      </p:sp>
      <p:pic>
        <p:nvPicPr>
          <p:cNvPr id="22" name="Picture 21" descr="Logo, icon&#10;&#10;Description automatically generated">
            <a:extLst>
              <a:ext uri="{FF2B5EF4-FFF2-40B4-BE49-F238E27FC236}">
                <a16:creationId xmlns:a16="http://schemas.microsoft.com/office/drawing/2014/main" id="{ABE3FEE6-FA41-8E1D-40B3-79C04B53591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498456" y="4568887"/>
            <a:ext cx="637375" cy="637375"/>
          </a:xfrm>
          <a:prstGeom prst="rect">
            <a:avLst/>
          </a:prstGeom>
        </p:spPr>
      </p:pic>
      <p:sp>
        <p:nvSpPr>
          <p:cNvPr id="25" name="Rectangle 24">
            <a:extLst>
              <a:ext uri="{FF2B5EF4-FFF2-40B4-BE49-F238E27FC236}">
                <a16:creationId xmlns:a16="http://schemas.microsoft.com/office/drawing/2014/main" id="{584CEE21-40F1-B38B-B0B7-5BA9CCBD285E}"/>
              </a:ext>
            </a:extLst>
          </p:cNvPr>
          <p:cNvSpPr/>
          <p:nvPr/>
        </p:nvSpPr>
        <p:spPr>
          <a:xfrm>
            <a:off x="6050381" y="528384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upply</a:t>
            </a:r>
          </a:p>
          <a:p>
            <a:pPr algn="ctr"/>
            <a:r>
              <a:rPr lang="en-US" sz="1100">
                <a:solidFill>
                  <a:schemeClr val="tx1"/>
                </a:solidFill>
                <a:latin typeface="Ubuntu" panose="020B0504030602030204" pitchFamily="34" charset="0"/>
              </a:rPr>
              <a:t>chain</a:t>
            </a:r>
          </a:p>
        </p:txBody>
      </p:sp>
      <p:pic>
        <p:nvPicPr>
          <p:cNvPr id="31" name="Picture 30" descr="Icon&#10;&#10;Description automatically generated">
            <a:extLst>
              <a:ext uri="{FF2B5EF4-FFF2-40B4-BE49-F238E27FC236}">
                <a16:creationId xmlns:a16="http://schemas.microsoft.com/office/drawing/2014/main" id="{5FD4475A-9D89-2589-BE57-D67EBEE99CBF}"/>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757698" y="5756484"/>
            <a:ext cx="524247" cy="523410"/>
          </a:xfrm>
          <a:prstGeom prst="rect">
            <a:avLst/>
          </a:prstGeom>
        </p:spPr>
      </p:pic>
      <p:sp>
        <p:nvSpPr>
          <p:cNvPr id="33" name="Rectangle 32">
            <a:extLst>
              <a:ext uri="{FF2B5EF4-FFF2-40B4-BE49-F238E27FC236}">
                <a16:creationId xmlns:a16="http://schemas.microsoft.com/office/drawing/2014/main" id="{CBBD5FC8-57F6-D639-9CA0-90A3038D28A1}"/>
              </a:ext>
            </a:extLst>
          </p:cNvPr>
          <p:cNvSpPr/>
          <p:nvPr/>
        </p:nvSpPr>
        <p:spPr>
          <a:xfrm>
            <a:off x="5253059" y="630777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ind offshore</a:t>
            </a:r>
          </a:p>
        </p:txBody>
      </p:sp>
      <p:pic>
        <p:nvPicPr>
          <p:cNvPr id="37" name="Picture 36" descr="Icon&#10;&#10;Description automatically generated">
            <a:extLst>
              <a:ext uri="{FF2B5EF4-FFF2-40B4-BE49-F238E27FC236}">
                <a16:creationId xmlns:a16="http://schemas.microsoft.com/office/drawing/2014/main" id="{0EA3A16C-9D9D-024B-35F9-D66709EB1506}"/>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395815" y="5746015"/>
            <a:ext cx="529264" cy="529264"/>
          </a:xfrm>
          <a:prstGeom prst="rect">
            <a:avLst/>
          </a:prstGeom>
        </p:spPr>
      </p:pic>
      <p:sp>
        <p:nvSpPr>
          <p:cNvPr id="38" name="Rectangle 37">
            <a:extLst>
              <a:ext uri="{FF2B5EF4-FFF2-40B4-BE49-F238E27FC236}">
                <a16:creationId xmlns:a16="http://schemas.microsoft.com/office/drawing/2014/main" id="{86789CD4-8F34-AC8E-14DF-31541FDC40B5}"/>
              </a:ext>
            </a:extLst>
          </p:cNvPr>
          <p:cNvSpPr/>
          <p:nvPr/>
        </p:nvSpPr>
        <p:spPr>
          <a:xfrm>
            <a:off x="6912051" y="630733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ork</a:t>
            </a:r>
          </a:p>
        </p:txBody>
      </p:sp>
      <p:pic>
        <p:nvPicPr>
          <p:cNvPr id="45" name="Picture 44" descr="Icon&#10;&#10;Description automatically generated">
            <a:extLst>
              <a:ext uri="{FF2B5EF4-FFF2-40B4-BE49-F238E27FC236}">
                <a16:creationId xmlns:a16="http://schemas.microsoft.com/office/drawing/2014/main" id="{62665C4E-63E4-8FB6-27A8-5C369146FAAA}"/>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0966732" y="3451255"/>
            <a:ext cx="466395" cy="648504"/>
          </a:xfrm>
          <a:prstGeom prst="rect">
            <a:avLst/>
          </a:prstGeom>
        </p:spPr>
      </p:pic>
      <p:sp>
        <p:nvSpPr>
          <p:cNvPr id="48" name="Rectangle 47">
            <a:extLst>
              <a:ext uri="{FF2B5EF4-FFF2-40B4-BE49-F238E27FC236}">
                <a16:creationId xmlns:a16="http://schemas.microsoft.com/office/drawing/2014/main" id="{662ED029-954F-C2EB-E363-828B1BE4CC42}"/>
              </a:ext>
            </a:extLst>
          </p:cNvPr>
          <p:cNvSpPr/>
          <p:nvPr/>
        </p:nvSpPr>
        <p:spPr>
          <a:xfrm>
            <a:off x="10433167" y="414393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Reports</a:t>
            </a:r>
          </a:p>
        </p:txBody>
      </p:sp>
      <p:pic>
        <p:nvPicPr>
          <p:cNvPr id="54" name="Picture 53" descr="Icon&#10;&#10;Description automatically generated">
            <a:extLst>
              <a:ext uri="{FF2B5EF4-FFF2-40B4-BE49-F238E27FC236}">
                <a16:creationId xmlns:a16="http://schemas.microsoft.com/office/drawing/2014/main" id="{940DDF99-C048-933C-9A77-29EF00981DC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3943116" y="1342070"/>
            <a:ext cx="681522" cy="552759"/>
          </a:xfrm>
          <a:prstGeom prst="rect">
            <a:avLst/>
          </a:prstGeom>
        </p:spPr>
      </p:pic>
      <p:sp>
        <p:nvSpPr>
          <p:cNvPr id="61" name="Rectangle 60">
            <a:extLst>
              <a:ext uri="{FF2B5EF4-FFF2-40B4-BE49-F238E27FC236}">
                <a16:creationId xmlns:a16="http://schemas.microsoft.com/office/drawing/2014/main" id="{71864119-90FC-EF14-13E2-4582C8CC2016}"/>
              </a:ext>
            </a:extLst>
          </p:cNvPr>
          <p:cNvSpPr/>
          <p:nvPr/>
        </p:nvSpPr>
        <p:spPr>
          <a:xfrm>
            <a:off x="3530920" y="189963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Batteries_3</a:t>
            </a:r>
          </a:p>
        </p:txBody>
      </p:sp>
      <p:pic>
        <p:nvPicPr>
          <p:cNvPr id="58" name="Picture 57" descr="Icon&#10;&#10;Description automatically generated">
            <a:extLst>
              <a:ext uri="{FF2B5EF4-FFF2-40B4-BE49-F238E27FC236}">
                <a16:creationId xmlns:a16="http://schemas.microsoft.com/office/drawing/2014/main" id="{56AF7070-3AAC-CEEE-6B0A-AE3BAE229EB3}"/>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425390" y="1257793"/>
            <a:ext cx="348329" cy="668838"/>
          </a:xfrm>
          <a:prstGeom prst="rect">
            <a:avLst/>
          </a:prstGeom>
        </p:spPr>
      </p:pic>
      <p:sp>
        <p:nvSpPr>
          <p:cNvPr id="62" name="Rectangle 61">
            <a:extLst>
              <a:ext uri="{FF2B5EF4-FFF2-40B4-BE49-F238E27FC236}">
                <a16:creationId xmlns:a16="http://schemas.microsoft.com/office/drawing/2014/main" id="{8629BBC4-75D7-0DA3-F6BD-09F14F67CFAC}"/>
              </a:ext>
            </a:extLst>
          </p:cNvPr>
          <p:cNvSpPr/>
          <p:nvPr/>
        </p:nvSpPr>
        <p:spPr>
          <a:xfrm>
            <a:off x="1832792" y="1901972"/>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Batteries_1</a:t>
            </a:r>
          </a:p>
        </p:txBody>
      </p:sp>
      <p:pic>
        <p:nvPicPr>
          <p:cNvPr id="56" name="Picture 55" descr="Shape&#10;&#10;Description automatically generated with low confidence">
            <a:extLst>
              <a:ext uri="{FF2B5EF4-FFF2-40B4-BE49-F238E27FC236}">
                <a16:creationId xmlns:a16="http://schemas.microsoft.com/office/drawing/2014/main" id="{B31FDA9C-C097-6FE6-2ED4-EBAB17201C39}"/>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3240420" y="1238838"/>
            <a:ext cx="348329" cy="668838"/>
          </a:xfrm>
          <a:prstGeom prst="rect">
            <a:avLst/>
          </a:prstGeom>
        </p:spPr>
      </p:pic>
      <p:sp>
        <p:nvSpPr>
          <p:cNvPr id="63" name="Rectangle 62">
            <a:extLst>
              <a:ext uri="{FF2B5EF4-FFF2-40B4-BE49-F238E27FC236}">
                <a16:creationId xmlns:a16="http://schemas.microsoft.com/office/drawing/2014/main" id="{F3685ED9-7688-A90D-94CC-CFF2667E2032}"/>
              </a:ext>
            </a:extLst>
          </p:cNvPr>
          <p:cNvSpPr/>
          <p:nvPr/>
        </p:nvSpPr>
        <p:spPr>
          <a:xfrm>
            <a:off x="2647822" y="190206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Batteries_2</a:t>
            </a:r>
          </a:p>
        </p:txBody>
      </p:sp>
      <p:pic>
        <p:nvPicPr>
          <p:cNvPr id="65" name="Picture 64" descr="Icon&#10;&#10;Description automatically generated">
            <a:extLst>
              <a:ext uri="{FF2B5EF4-FFF2-40B4-BE49-F238E27FC236}">
                <a16:creationId xmlns:a16="http://schemas.microsoft.com/office/drawing/2014/main" id="{611DDAAA-22D7-95A6-2464-4F00B6E6B52B}"/>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5589532" y="1180102"/>
            <a:ext cx="682193" cy="682193"/>
          </a:xfrm>
          <a:prstGeom prst="rect">
            <a:avLst/>
          </a:prstGeom>
        </p:spPr>
      </p:pic>
      <p:sp>
        <p:nvSpPr>
          <p:cNvPr id="68" name="Rectangle 67">
            <a:extLst>
              <a:ext uri="{FF2B5EF4-FFF2-40B4-BE49-F238E27FC236}">
                <a16:creationId xmlns:a16="http://schemas.microsoft.com/office/drawing/2014/main" id="{EB800516-571B-80BC-BB1A-88BA5B598DBA}"/>
              </a:ext>
            </a:extLst>
          </p:cNvPr>
          <p:cNvSpPr/>
          <p:nvPr/>
        </p:nvSpPr>
        <p:spPr>
          <a:xfrm>
            <a:off x="5163866" y="191495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harts</a:t>
            </a:r>
          </a:p>
        </p:txBody>
      </p:sp>
      <p:pic>
        <p:nvPicPr>
          <p:cNvPr id="74" name="Picture 73" descr="Icon&#10;&#10;Description automatically generated">
            <a:extLst>
              <a:ext uri="{FF2B5EF4-FFF2-40B4-BE49-F238E27FC236}">
                <a16:creationId xmlns:a16="http://schemas.microsoft.com/office/drawing/2014/main" id="{21997DBA-AC80-7813-1134-262164F8A619}"/>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239792" y="2289136"/>
            <a:ext cx="510475" cy="657376"/>
          </a:xfrm>
          <a:prstGeom prst="rect">
            <a:avLst/>
          </a:prstGeom>
        </p:spPr>
      </p:pic>
      <p:sp>
        <p:nvSpPr>
          <p:cNvPr id="75" name="Rectangle 74">
            <a:extLst>
              <a:ext uri="{FF2B5EF4-FFF2-40B4-BE49-F238E27FC236}">
                <a16:creationId xmlns:a16="http://schemas.microsoft.com/office/drawing/2014/main" id="{66FAD7FA-39B2-4FBC-411F-72AAA0D3A12C}"/>
              </a:ext>
            </a:extLst>
          </p:cNvPr>
          <p:cNvSpPr/>
          <p:nvPr/>
        </p:nvSpPr>
        <p:spPr>
          <a:xfrm>
            <a:off x="7771987" y="2978096"/>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In the news</a:t>
            </a:r>
          </a:p>
        </p:txBody>
      </p:sp>
      <p:pic>
        <p:nvPicPr>
          <p:cNvPr id="72" name="Picture 71" descr="Logo, icon&#10;&#10;Description automatically generated">
            <a:extLst>
              <a:ext uri="{FF2B5EF4-FFF2-40B4-BE49-F238E27FC236}">
                <a16:creationId xmlns:a16="http://schemas.microsoft.com/office/drawing/2014/main" id="{0CCE2134-56AF-3DE1-9467-8A88B7D904BE}"/>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247296" y="1304664"/>
            <a:ext cx="863035" cy="554546"/>
          </a:xfrm>
          <a:prstGeom prst="rect">
            <a:avLst/>
          </a:prstGeom>
        </p:spPr>
      </p:pic>
      <p:sp>
        <p:nvSpPr>
          <p:cNvPr id="76" name="Rectangle 75">
            <a:extLst>
              <a:ext uri="{FF2B5EF4-FFF2-40B4-BE49-F238E27FC236}">
                <a16:creationId xmlns:a16="http://schemas.microsoft.com/office/drawing/2014/main" id="{CD15E1BC-E98B-2273-F890-9F105BD41E29}"/>
              </a:ext>
            </a:extLst>
          </p:cNvPr>
          <p:cNvSpPr/>
          <p:nvPr/>
        </p:nvSpPr>
        <p:spPr>
          <a:xfrm>
            <a:off x="6912051" y="190286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O2_1</a:t>
            </a:r>
          </a:p>
        </p:txBody>
      </p:sp>
      <p:pic>
        <p:nvPicPr>
          <p:cNvPr id="70" name="Picture 69" descr="Logo, icon&#10;&#10;Description automatically generated">
            <a:extLst>
              <a:ext uri="{FF2B5EF4-FFF2-40B4-BE49-F238E27FC236}">
                <a16:creationId xmlns:a16="http://schemas.microsoft.com/office/drawing/2014/main" id="{3962010B-AF2F-64D8-3A69-27463D7F6FB0}"/>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236617" y="1295055"/>
            <a:ext cx="604265" cy="604265"/>
          </a:xfrm>
          <a:prstGeom prst="rect">
            <a:avLst/>
          </a:prstGeom>
        </p:spPr>
      </p:pic>
      <p:sp>
        <p:nvSpPr>
          <p:cNvPr id="77" name="Rectangle 76">
            <a:extLst>
              <a:ext uri="{FF2B5EF4-FFF2-40B4-BE49-F238E27FC236}">
                <a16:creationId xmlns:a16="http://schemas.microsoft.com/office/drawing/2014/main" id="{98E6E83F-4C6B-42FB-1E9A-249C94E6FDCF}"/>
              </a:ext>
            </a:extLst>
          </p:cNvPr>
          <p:cNvSpPr/>
          <p:nvPr/>
        </p:nvSpPr>
        <p:spPr>
          <a:xfrm>
            <a:off x="7771987" y="189455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O2_2</a:t>
            </a:r>
          </a:p>
        </p:txBody>
      </p:sp>
      <p:pic>
        <p:nvPicPr>
          <p:cNvPr id="79" name="Picture 78">
            <a:extLst>
              <a:ext uri="{FF2B5EF4-FFF2-40B4-BE49-F238E27FC236}">
                <a16:creationId xmlns:a16="http://schemas.microsoft.com/office/drawing/2014/main" id="{1E151C3C-9787-A0E0-7D63-BA3D4471E8B7}"/>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038220" y="2317812"/>
            <a:ext cx="461508" cy="667169"/>
          </a:xfrm>
          <a:prstGeom prst="rect">
            <a:avLst/>
          </a:prstGeom>
        </p:spPr>
      </p:pic>
      <p:sp>
        <p:nvSpPr>
          <p:cNvPr id="80" name="Rectangle 79">
            <a:extLst>
              <a:ext uri="{FF2B5EF4-FFF2-40B4-BE49-F238E27FC236}">
                <a16:creationId xmlns:a16="http://schemas.microsoft.com/office/drawing/2014/main" id="{6E730679-9E8F-8591-775D-867A88E8AA2C}"/>
              </a:ext>
            </a:extLst>
          </p:cNvPr>
          <p:cNvSpPr/>
          <p:nvPr/>
        </p:nvSpPr>
        <p:spPr>
          <a:xfrm>
            <a:off x="9489720" y="297245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Liquid gas</a:t>
            </a:r>
          </a:p>
        </p:txBody>
      </p:sp>
      <p:pic>
        <p:nvPicPr>
          <p:cNvPr id="82" name="Picture 81">
            <a:extLst>
              <a:ext uri="{FF2B5EF4-FFF2-40B4-BE49-F238E27FC236}">
                <a16:creationId xmlns:a16="http://schemas.microsoft.com/office/drawing/2014/main" id="{905ED731-FC6D-D019-ABAA-CF6A65226178}"/>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0889520" y="2308624"/>
            <a:ext cx="620819" cy="622658"/>
          </a:xfrm>
          <a:prstGeom prst="rect">
            <a:avLst/>
          </a:prstGeom>
        </p:spPr>
      </p:pic>
      <p:sp>
        <p:nvSpPr>
          <p:cNvPr id="83" name="Rectangle 82">
            <a:extLst>
              <a:ext uri="{FF2B5EF4-FFF2-40B4-BE49-F238E27FC236}">
                <a16:creationId xmlns:a16="http://schemas.microsoft.com/office/drawing/2014/main" id="{68B27A54-3130-E9FB-EE28-028A6977BE41}"/>
              </a:ext>
            </a:extLst>
          </p:cNvPr>
          <p:cNvSpPr/>
          <p:nvPr/>
        </p:nvSpPr>
        <p:spPr>
          <a:xfrm>
            <a:off x="10433167" y="3011762"/>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Maintenance operations</a:t>
            </a:r>
          </a:p>
        </p:txBody>
      </p:sp>
      <p:pic>
        <p:nvPicPr>
          <p:cNvPr id="85" name="Picture 84" descr="Icon&#10;&#10;Description automatically generated">
            <a:extLst>
              <a:ext uri="{FF2B5EF4-FFF2-40B4-BE49-F238E27FC236}">
                <a16:creationId xmlns:a16="http://schemas.microsoft.com/office/drawing/2014/main" id="{C692AB82-6FB2-919F-A79E-23627F87E2E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066" y="3478451"/>
            <a:ext cx="693017" cy="632316"/>
          </a:xfrm>
          <a:prstGeom prst="rect">
            <a:avLst/>
          </a:prstGeom>
        </p:spPr>
      </p:pic>
      <p:sp>
        <p:nvSpPr>
          <p:cNvPr id="86" name="Rectangle 85">
            <a:extLst>
              <a:ext uri="{FF2B5EF4-FFF2-40B4-BE49-F238E27FC236}">
                <a16:creationId xmlns:a16="http://schemas.microsoft.com/office/drawing/2014/main" id="{47760E5A-9F73-D3CA-0326-05796CA6FAD3}"/>
              </a:ext>
            </a:extLst>
          </p:cNvPr>
          <p:cNvSpPr/>
          <p:nvPr/>
        </p:nvSpPr>
        <p:spPr>
          <a:xfrm>
            <a:off x="151017" y="412846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Management</a:t>
            </a:r>
          </a:p>
        </p:txBody>
      </p:sp>
      <p:pic>
        <p:nvPicPr>
          <p:cNvPr id="88" name="Picture 87" descr="Icon&#10;&#10;Description automatically generated">
            <a:extLst>
              <a:ext uri="{FF2B5EF4-FFF2-40B4-BE49-F238E27FC236}">
                <a16:creationId xmlns:a16="http://schemas.microsoft.com/office/drawing/2014/main" id="{80B7BB8B-7E1E-1038-E7D5-E834752581CF}"/>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407999" y="3492506"/>
            <a:ext cx="567475" cy="585870"/>
          </a:xfrm>
          <a:prstGeom prst="rect">
            <a:avLst/>
          </a:prstGeom>
        </p:spPr>
      </p:pic>
      <p:sp>
        <p:nvSpPr>
          <p:cNvPr id="89" name="Rectangle 88">
            <a:extLst>
              <a:ext uri="{FF2B5EF4-FFF2-40B4-BE49-F238E27FC236}">
                <a16:creationId xmlns:a16="http://schemas.microsoft.com/office/drawing/2014/main" id="{72A4560C-4750-C542-EC23-35F218CA037A}"/>
              </a:ext>
            </a:extLst>
          </p:cNvPr>
          <p:cNvSpPr/>
          <p:nvPr/>
        </p:nvSpPr>
        <p:spPr>
          <a:xfrm>
            <a:off x="974378" y="413769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Metals</a:t>
            </a:r>
          </a:p>
        </p:txBody>
      </p:sp>
      <p:pic>
        <p:nvPicPr>
          <p:cNvPr id="97" name="Picture 96" descr="Icon&#10;&#10;Description automatically generated">
            <a:extLst>
              <a:ext uri="{FF2B5EF4-FFF2-40B4-BE49-F238E27FC236}">
                <a16:creationId xmlns:a16="http://schemas.microsoft.com/office/drawing/2014/main" id="{778FC71E-8B66-51A2-252E-A89385B32E98}"/>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3178673" y="3466144"/>
            <a:ext cx="471823" cy="611622"/>
          </a:xfrm>
          <a:prstGeom prst="rect">
            <a:avLst/>
          </a:prstGeom>
        </p:spPr>
      </p:pic>
      <p:sp>
        <p:nvSpPr>
          <p:cNvPr id="98" name="Rectangle 97">
            <a:extLst>
              <a:ext uri="{FF2B5EF4-FFF2-40B4-BE49-F238E27FC236}">
                <a16:creationId xmlns:a16="http://schemas.microsoft.com/office/drawing/2014/main" id="{4388C6BC-6C8B-1AF7-DFF1-5DBD215E0CD2}"/>
              </a:ext>
            </a:extLst>
          </p:cNvPr>
          <p:cNvSpPr/>
          <p:nvPr/>
        </p:nvSpPr>
        <p:spPr>
          <a:xfrm>
            <a:off x="2647822" y="413489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amp; gas_2</a:t>
            </a:r>
          </a:p>
        </p:txBody>
      </p:sp>
      <p:pic>
        <p:nvPicPr>
          <p:cNvPr id="100" name="Picture 99" descr="Icon&#10;&#10;Description automatically generated">
            <a:extLst>
              <a:ext uri="{FF2B5EF4-FFF2-40B4-BE49-F238E27FC236}">
                <a16:creationId xmlns:a16="http://schemas.microsoft.com/office/drawing/2014/main" id="{57A6558B-5193-DE3B-BAF1-FD0723A4E837}"/>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5579691" y="3473978"/>
            <a:ext cx="745626" cy="627257"/>
          </a:xfrm>
          <a:prstGeom prst="rect">
            <a:avLst/>
          </a:prstGeom>
        </p:spPr>
      </p:pic>
      <p:sp>
        <p:nvSpPr>
          <p:cNvPr id="101" name="Rectangle 100">
            <a:extLst>
              <a:ext uri="{FF2B5EF4-FFF2-40B4-BE49-F238E27FC236}">
                <a16:creationId xmlns:a16="http://schemas.microsoft.com/office/drawing/2014/main" id="{E946C9F0-C1FE-C62F-C3C2-C33BCACF360A}"/>
              </a:ext>
            </a:extLst>
          </p:cNvPr>
          <p:cNvSpPr/>
          <p:nvPr/>
        </p:nvSpPr>
        <p:spPr>
          <a:xfrm>
            <a:off x="5163866" y="413917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tower</a:t>
            </a:r>
          </a:p>
        </p:txBody>
      </p:sp>
      <p:pic>
        <p:nvPicPr>
          <p:cNvPr id="95" name="Picture 94" descr="Icon&#10;&#10;Description automatically generated">
            <a:extLst>
              <a:ext uri="{FF2B5EF4-FFF2-40B4-BE49-F238E27FC236}">
                <a16:creationId xmlns:a16="http://schemas.microsoft.com/office/drawing/2014/main" id="{7F98242B-EC96-A90A-5FFC-A5F94BBA20C5}"/>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3934115" y="3523741"/>
            <a:ext cx="681817" cy="513834"/>
          </a:xfrm>
          <a:prstGeom prst="rect">
            <a:avLst/>
          </a:prstGeom>
        </p:spPr>
      </p:pic>
      <p:sp>
        <p:nvSpPr>
          <p:cNvPr id="102" name="Rectangle 101">
            <a:extLst>
              <a:ext uri="{FF2B5EF4-FFF2-40B4-BE49-F238E27FC236}">
                <a16:creationId xmlns:a16="http://schemas.microsoft.com/office/drawing/2014/main" id="{2C96A723-4097-8F41-941F-8842CC115671}"/>
              </a:ext>
            </a:extLst>
          </p:cNvPr>
          <p:cNvSpPr/>
          <p:nvPr/>
        </p:nvSpPr>
        <p:spPr>
          <a:xfrm>
            <a:off x="3530920" y="412691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amp; gas_3</a:t>
            </a:r>
          </a:p>
        </p:txBody>
      </p:sp>
      <p:pic>
        <p:nvPicPr>
          <p:cNvPr id="93" name="Picture 92">
            <a:extLst>
              <a:ext uri="{FF2B5EF4-FFF2-40B4-BE49-F238E27FC236}">
                <a16:creationId xmlns:a16="http://schemas.microsoft.com/office/drawing/2014/main" id="{EFCA48D2-831F-B785-054C-7F085112A9DC}"/>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4765268" y="3486283"/>
            <a:ext cx="659698" cy="554347"/>
          </a:xfrm>
          <a:prstGeom prst="rect">
            <a:avLst/>
          </a:prstGeom>
        </p:spPr>
      </p:pic>
      <p:sp>
        <p:nvSpPr>
          <p:cNvPr id="103" name="Rectangle 102">
            <a:extLst>
              <a:ext uri="{FF2B5EF4-FFF2-40B4-BE49-F238E27FC236}">
                <a16:creationId xmlns:a16="http://schemas.microsoft.com/office/drawing/2014/main" id="{428E0534-D8B9-3A5F-11BB-3774EE60913E}"/>
              </a:ext>
            </a:extLst>
          </p:cNvPr>
          <p:cNvSpPr/>
          <p:nvPr/>
        </p:nvSpPr>
        <p:spPr>
          <a:xfrm>
            <a:off x="4364396" y="412857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amp; gas_4</a:t>
            </a:r>
          </a:p>
        </p:txBody>
      </p:sp>
      <p:pic>
        <p:nvPicPr>
          <p:cNvPr id="105" name="Picture 104" descr="Icon&#10;&#10;Description automatically generated">
            <a:extLst>
              <a:ext uri="{FF2B5EF4-FFF2-40B4-BE49-F238E27FC236}">
                <a16:creationId xmlns:a16="http://schemas.microsoft.com/office/drawing/2014/main" id="{52929A31-1663-0AEB-F448-292FC3004B00}"/>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6515011" y="3470444"/>
            <a:ext cx="604265" cy="604265"/>
          </a:xfrm>
          <a:prstGeom prst="rect">
            <a:avLst/>
          </a:prstGeom>
        </p:spPr>
      </p:pic>
      <p:sp>
        <p:nvSpPr>
          <p:cNvPr id="106" name="Rectangle 105">
            <a:extLst>
              <a:ext uri="{FF2B5EF4-FFF2-40B4-BE49-F238E27FC236}">
                <a16:creationId xmlns:a16="http://schemas.microsoft.com/office/drawing/2014/main" id="{BD5AD6BF-4079-A762-3E0F-24A1D606FA2C}"/>
              </a:ext>
            </a:extLst>
          </p:cNvPr>
          <p:cNvSpPr/>
          <p:nvPr/>
        </p:nvSpPr>
        <p:spPr>
          <a:xfrm>
            <a:off x="6050381" y="4138822"/>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People</a:t>
            </a:r>
          </a:p>
        </p:txBody>
      </p:sp>
      <p:pic>
        <p:nvPicPr>
          <p:cNvPr id="110" name="Picture 109" descr="Icon&#10;&#10;Description automatically generated">
            <a:extLst>
              <a:ext uri="{FF2B5EF4-FFF2-40B4-BE49-F238E27FC236}">
                <a16:creationId xmlns:a16="http://schemas.microsoft.com/office/drawing/2014/main" id="{FE508338-5F49-3BDA-6AB3-A36E5117FBBA}"/>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426025" y="3580136"/>
            <a:ext cx="505579" cy="554546"/>
          </a:xfrm>
          <a:prstGeom prst="rect">
            <a:avLst/>
          </a:prstGeom>
        </p:spPr>
      </p:pic>
      <p:sp>
        <p:nvSpPr>
          <p:cNvPr id="111" name="Rectangle 110">
            <a:extLst>
              <a:ext uri="{FF2B5EF4-FFF2-40B4-BE49-F238E27FC236}">
                <a16:creationId xmlns:a16="http://schemas.microsoft.com/office/drawing/2014/main" id="{D3D4747F-3AFA-AA22-751F-52CF3C8EC1C7}"/>
              </a:ext>
            </a:extLst>
          </p:cNvPr>
          <p:cNvSpPr/>
          <p:nvPr/>
        </p:nvSpPr>
        <p:spPr>
          <a:xfrm>
            <a:off x="6912051" y="414508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Power_1</a:t>
            </a:r>
          </a:p>
        </p:txBody>
      </p:sp>
      <p:pic>
        <p:nvPicPr>
          <p:cNvPr id="108" name="Picture 107" descr="A picture containing arrow&#10;&#10;Description automatically generated">
            <a:extLst>
              <a:ext uri="{FF2B5EF4-FFF2-40B4-BE49-F238E27FC236}">
                <a16:creationId xmlns:a16="http://schemas.microsoft.com/office/drawing/2014/main" id="{15E0F64F-7213-9AFD-2B89-2508199877FE}"/>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8245563" y="3369408"/>
            <a:ext cx="586375" cy="760205"/>
          </a:xfrm>
          <a:prstGeom prst="rect">
            <a:avLst/>
          </a:prstGeom>
        </p:spPr>
      </p:pic>
      <p:sp>
        <p:nvSpPr>
          <p:cNvPr id="112" name="Rectangle 111">
            <a:extLst>
              <a:ext uri="{FF2B5EF4-FFF2-40B4-BE49-F238E27FC236}">
                <a16:creationId xmlns:a16="http://schemas.microsoft.com/office/drawing/2014/main" id="{87F10B6F-74A1-6A15-E508-7FA20C00CED1}"/>
              </a:ext>
            </a:extLst>
          </p:cNvPr>
          <p:cNvSpPr/>
          <p:nvPr/>
        </p:nvSpPr>
        <p:spPr>
          <a:xfrm>
            <a:off x="7771987" y="414612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Power_2</a:t>
            </a:r>
          </a:p>
        </p:txBody>
      </p:sp>
      <p:pic>
        <p:nvPicPr>
          <p:cNvPr id="114" name="Picture 113">
            <a:extLst>
              <a:ext uri="{FF2B5EF4-FFF2-40B4-BE49-F238E27FC236}">
                <a16:creationId xmlns:a16="http://schemas.microsoft.com/office/drawing/2014/main" id="{9CD2096A-BFDB-B327-9446-C610715577CD}"/>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9078959" y="3467243"/>
            <a:ext cx="664691" cy="664691"/>
          </a:xfrm>
          <a:prstGeom prst="rect">
            <a:avLst/>
          </a:prstGeom>
        </p:spPr>
      </p:pic>
      <p:sp>
        <p:nvSpPr>
          <p:cNvPr id="115" name="Rectangle 114">
            <a:extLst>
              <a:ext uri="{FF2B5EF4-FFF2-40B4-BE49-F238E27FC236}">
                <a16:creationId xmlns:a16="http://schemas.microsoft.com/office/drawing/2014/main" id="{581C332F-E7DE-0FB5-6E76-365DB482BC9F}"/>
              </a:ext>
            </a:extLst>
          </p:cNvPr>
          <p:cNvSpPr/>
          <p:nvPr/>
        </p:nvSpPr>
        <p:spPr>
          <a:xfrm>
            <a:off x="8644542" y="414601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Price/cost</a:t>
            </a:r>
          </a:p>
        </p:txBody>
      </p:sp>
      <p:pic>
        <p:nvPicPr>
          <p:cNvPr id="117" name="Picture 116" descr="A picture containing text, sign, clipart&#10;&#10;Description automatically generated">
            <a:extLst>
              <a:ext uri="{FF2B5EF4-FFF2-40B4-BE49-F238E27FC236}">
                <a16:creationId xmlns:a16="http://schemas.microsoft.com/office/drawing/2014/main" id="{27BE3B4E-E6C5-133B-AA03-9AD23E23E228}"/>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1344794" y="4631447"/>
            <a:ext cx="784577" cy="605405"/>
          </a:xfrm>
          <a:prstGeom prst="rect">
            <a:avLst/>
          </a:prstGeom>
        </p:spPr>
      </p:pic>
      <p:sp>
        <p:nvSpPr>
          <p:cNvPr id="118" name="Rectangle 117">
            <a:extLst>
              <a:ext uri="{FF2B5EF4-FFF2-40B4-BE49-F238E27FC236}">
                <a16:creationId xmlns:a16="http://schemas.microsoft.com/office/drawing/2014/main" id="{704012AD-B47B-11E8-A16A-E668346D1683}"/>
              </a:ext>
            </a:extLst>
          </p:cNvPr>
          <p:cNvSpPr/>
          <p:nvPr/>
        </p:nvSpPr>
        <p:spPr>
          <a:xfrm>
            <a:off x="974378" y="526562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eismic</a:t>
            </a:r>
          </a:p>
        </p:txBody>
      </p:sp>
      <p:pic>
        <p:nvPicPr>
          <p:cNvPr id="60" name="Picture 59" descr="Icon&#10;&#10;Description automatically generated">
            <a:extLst>
              <a:ext uri="{FF2B5EF4-FFF2-40B4-BE49-F238E27FC236}">
                <a16:creationId xmlns:a16="http://schemas.microsoft.com/office/drawing/2014/main" id="{B85A435C-E039-940B-B2B4-9D100D1B946D}"/>
              </a:ext>
            </a:extLst>
          </p:cNvPr>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4797893" y="1199991"/>
            <a:ext cx="616128" cy="682901"/>
          </a:xfrm>
          <a:prstGeom prst="rect">
            <a:avLst/>
          </a:prstGeom>
        </p:spPr>
      </p:pic>
      <p:sp>
        <p:nvSpPr>
          <p:cNvPr id="119" name="Rectangle 118">
            <a:extLst>
              <a:ext uri="{FF2B5EF4-FFF2-40B4-BE49-F238E27FC236}">
                <a16:creationId xmlns:a16="http://schemas.microsoft.com/office/drawing/2014/main" id="{7B5AB8D9-AE01-3840-BD03-6F3A4DCED10E}"/>
              </a:ext>
            </a:extLst>
          </p:cNvPr>
          <p:cNvSpPr/>
          <p:nvPr/>
        </p:nvSpPr>
        <p:spPr>
          <a:xfrm>
            <a:off x="4364396" y="190818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CU</a:t>
            </a:r>
          </a:p>
        </p:txBody>
      </p:sp>
      <p:pic>
        <p:nvPicPr>
          <p:cNvPr id="121" name="Picture 120" descr="Logo&#10;&#10;Description automatically generated">
            <a:extLst>
              <a:ext uri="{FF2B5EF4-FFF2-40B4-BE49-F238E27FC236}">
                <a16:creationId xmlns:a16="http://schemas.microsoft.com/office/drawing/2014/main" id="{4918C58C-719D-5133-7211-348F4D812383}"/>
              </a:ext>
            </a:extLst>
          </p:cNvPr>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3179363" y="4580139"/>
            <a:ext cx="470442" cy="628268"/>
          </a:xfrm>
          <a:prstGeom prst="rect">
            <a:avLst/>
          </a:prstGeom>
        </p:spPr>
      </p:pic>
      <p:sp>
        <p:nvSpPr>
          <p:cNvPr id="122" name="Rectangle 121">
            <a:extLst>
              <a:ext uri="{FF2B5EF4-FFF2-40B4-BE49-F238E27FC236}">
                <a16:creationId xmlns:a16="http://schemas.microsoft.com/office/drawing/2014/main" id="{2AF58701-3E57-EC14-5F98-50A3345278C8}"/>
              </a:ext>
            </a:extLst>
          </p:cNvPr>
          <p:cNvSpPr/>
          <p:nvPr/>
        </p:nvSpPr>
        <p:spPr>
          <a:xfrm>
            <a:off x="2647822" y="525761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hale</a:t>
            </a:r>
          </a:p>
        </p:txBody>
      </p:sp>
      <p:pic>
        <p:nvPicPr>
          <p:cNvPr id="124" name="Picture 123" descr="Icon&#10;&#10;Description automatically generated">
            <a:extLst>
              <a:ext uri="{FF2B5EF4-FFF2-40B4-BE49-F238E27FC236}">
                <a16:creationId xmlns:a16="http://schemas.microsoft.com/office/drawing/2014/main" id="{5CEB60CB-651A-D61A-A447-C028642EC734}"/>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4021928" y="4509389"/>
            <a:ext cx="636362" cy="688971"/>
          </a:xfrm>
          <a:prstGeom prst="rect">
            <a:avLst/>
          </a:prstGeom>
        </p:spPr>
      </p:pic>
      <p:sp>
        <p:nvSpPr>
          <p:cNvPr id="125" name="Rectangle 124">
            <a:extLst>
              <a:ext uri="{FF2B5EF4-FFF2-40B4-BE49-F238E27FC236}">
                <a16:creationId xmlns:a16="http://schemas.microsoft.com/office/drawing/2014/main" id="{52A712F6-7A43-62C6-214C-F6A1CECB00EC}"/>
              </a:ext>
            </a:extLst>
          </p:cNvPr>
          <p:cNvSpPr/>
          <p:nvPr/>
        </p:nvSpPr>
        <p:spPr>
          <a:xfrm>
            <a:off x="3530920" y="524142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olar</a:t>
            </a:r>
          </a:p>
        </p:txBody>
      </p:sp>
      <p:pic>
        <p:nvPicPr>
          <p:cNvPr id="127" name="Picture 126" descr="Icon&#10;&#10;Description automatically generated">
            <a:extLst>
              <a:ext uri="{FF2B5EF4-FFF2-40B4-BE49-F238E27FC236}">
                <a16:creationId xmlns:a16="http://schemas.microsoft.com/office/drawing/2014/main" id="{07B9C8D4-638A-4ABA-5C16-2EA37B1D1111}"/>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5619759" y="4705992"/>
            <a:ext cx="621739" cy="537123"/>
          </a:xfrm>
          <a:prstGeom prst="rect">
            <a:avLst/>
          </a:prstGeom>
        </p:spPr>
      </p:pic>
      <p:sp>
        <p:nvSpPr>
          <p:cNvPr id="128" name="Rectangle 127">
            <a:extLst>
              <a:ext uri="{FF2B5EF4-FFF2-40B4-BE49-F238E27FC236}">
                <a16:creationId xmlns:a16="http://schemas.microsoft.com/office/drawing/2014/main" id="{24B04EB6-1F82-83DF-EA63-1A7B2318611E}"/>
              </a:ext>
            </a:extLst>
          </p:cNvPr>
          <p:cNvSpPr/>
          <p:nvPr/>
        </p:nvSpPr>
        <p:spPr>
          <a:xfrm>
            <a:off x="5163866" y="525362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ubsea</a:t>
            </a:r>
          </a:p>
        </p:txBody>
      </p:sp>
      <p:pic>
        <p:nvPicPr>
          <p:cNvPr id="134" name="Picture 133" descr="Icon&#10;&#10;Description automatically generated with medium confidence">
            <a:extLst>
              <a:ext uri="{FF2B5EF4-FFF2-40B4-BE49-F238E27FC236}">
                <a16:creationId xmlns:a16="http://schemas.microsoft.com/office/drawing/2014/main" id="{2FE2A94A-F52D-E347-5EA1-82B025494AFA}"/>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8441955" y="4546668"/>
            <a:ext cx="264055" cy="688971"/>
          </a:xfrm>
          <a:prstGeom prst="rect">
            <a:avLst/>
          </a:prstGeom>
        </p:spPr>
      </p:pic>
      <p:sp>
        <p:nvSpPr>
          <p:cNvPr id="135" name="Rectangle 134">
            <a:extLst>
              <a:ext uri="{FF2B5EF4-FFF2-40B4-BE49-F238E27FC236}">
                <a16:creationId xmlns:a16="http://schemas.microsoft.com/office/drawing/2014/main" id="{BAF85DCB-06E9-94E6-E305-5A514A2BD5E7}"/>
              </a:ext>
            </a:extLst>
          </p:cNvPr>
          <p:cNvSpPr/>
          <p:nvPr/>
        </p:nvSpPr>
        <p:spPr>
          <a:xfrm>
            <a:off x="7771987" y="526152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Thermal_1</a:t>
            </a:r>
          </a:p>
        </p:txBody>
      </p:sp>
      <p:pic>
        <p:nvPicPr>
          <p:cNvPr id="132" name="Picture 131" descr="Icon&#10;&#10;Description automatically generated">
            <a:extLst>
              <a:ext uri="{FF2B5EF4-FFF2-40B4-BE49-F238E27FC236}">
                <a16:creationId xmlns:a16="http://schemas.microsoft.com/office/drawing/2014/main" id="{D77DC4D2-3ACD-C63F-0343-FB211816C9F9}"/>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9116530" y="4639286"/>
            <a:ext cx="589549" cy="588629"/>
          </a:xfrm>
          <a:prstGeom prst="rect">
            <a:avLst/>
          </a:prstGeom>
        </p:spPr>
      </p:pic>
      <p:sp>
        <p:nvSpPr>
          <p:cNvPr id="136" name="Rectangle 135">
            <a:extLst>
              <a:ext uri="{FF2B5EF4-FFF2-40B4-BE49-F238E27FC236}">
                <a16:creationId xmlns:a16="http://schemas.microsoft.com/office/drawing/2014/main" id="{8D3527F5-6FA6-D4FF-CA10-4E4F6F05C0E7}"/>
              </a:ext>
            </a:extLst>
          </p:cNvPr>
          <p:cNvSpPr/>
          <p:nvPr/>
        </p:nvSpPr>
        <p:spPr>
          <a:xfrm>
            <a:off x="8644542" y="526021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Thermal_2</a:t>
            </a:r>
          </a:p>
        </p:txBody>
      </p:sp>
      <p:pic>
        <p:nvPicPr>
          <p:cNvPr id="138" name="Picture 137">
            <a:extLst>
              <a:ext uri="{FF2B5EF4-FFF2-40B4-BE49-F238E27FC236}">
                <a16:creationId xmlns:a16="http://schemas.microsoft.com/office/drawing/2014/main" id="{DD64EB04-1909-6C32-5FCA-89456BC09ED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10874414" y="4615299"/>
            <a:ext cx="651032" cy="649919"/>
          </a:xfrm>
          <a:prstGeom prst="rect">
            <a:avLst/>
          </a:prstGeom>
        </p:spPr>
      </p:pic>
      <p:sp>
        <p:nvSpPr>
          <p:cNvPr id="141" name="Rectangle 140">
            <a:extLst>
              <a:ext uri="{FF2B5EF4-FFF2-40B4-BE49-F238E27FC236}">
                <a16:creationId xmlns:a16="http://schemas.microsoft.com/office/drawing/2014/main" id="{91F84336-B04A-1CCE-C299-6FD17DC62FA1}"/>
              </a:ext>
            </a:extLst>
          </p:cNvPr>
          <p:cNvSpPr/>
          <p:nvPr/>
        </p:nvSpPr>
        <p:spPr>
          <a:xfrm>
            <a:off x="10433167" y="528017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Upstream_2</a:t>
            </a:r>
          </a:p>
        </p:txBody>
      </p:sp>
      <p:pic>
        <p:nvPicPr>
          <p:cNvPr id="140" name="Picture 139" descr="A picture containing icon&#10;&#10;Description automatically generated">
            <a:extLst>
              <a:ext uri="{FF2B5EF4-FFF2-40B4-BE49-F238E27FC236}">
                <a16:creationId xmlns:a16="http://schemas.microsoft.com/office/drawing/2014/main" id="{04F99E94-35CD-69D5-015A-C1FC75325E81}"/>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10106800" y="4553348"/>
            <a:ext cx="299364" cy="711127"/>
          </a:xfrm>
          <a:prstGeom prst="rect">
            <a:avLst/>
          </a:prstGeom>
        </p:spPr>
      </p:pic>
      <p:sp>
        <p:nvSpPr>
          <p:cNvPr id="142" name="Rectangle 141">
            <a:extLst>
              <a:ext uri="{FF2B5EF4-FFF2-40B4-BE49-F238E27FC236}">
                <a16:creationId xmlns:a16="http://schemas.microsoft.com/office/drawing/2014/main" id="{3FBEDCFA-3CC4-2FA6-9A17-236E3B930E69}"/>
              </a:ext>
            </a:extLst>
          </p:cNvPr>
          <p:cNvSpPr/>
          <p:nvPr/>
        </p:nvSpPr>
        <p:spPr>
          <a:xfrm>
            <a:off x="9489720" y="526935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Upstream_1</a:t>
            </a:r>
          </a:p>
        </p:txBody>
      </p:sp>
      <p:pic>
        <p:nvPicPr>
          <p:cNvPr id="144" name="Picture 143">
            <a:extLst>
              <a:ext uri="{FF2B5EF4-FFF2-40B4-BE49-F238E27FC236}">
                <a16:creationId xmlns:a16="http://schemas.microsoft.com/office/drawing/2014/main" id="{67D0F0DE-404A-F228-24B9-5BDC330E8940}"/>
              </a:ext>
            </a:extLst>
          </p:cNvPr>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6633972" y="5695867"/>
            <a:ext cx="510869" cy="569397"/>
          </a:xfrm>
          <a:prstGeom prst="rect">
            <a:avLst/>
          </a:prstGeom>
        </p:spPr>
      </p:pic>
      <p:sp>
        <p:nvSpPr>
          <p:cNvPr id="145" name="Rectangle 144">
            <a:extLst>
              <a:ext uri="{FF2B5EF4-FFF2-40B4-BE49-F238E27FC236}">
                <a16:creationId xmlns:a16="http://schemas.microsoft.com/office/drawing/2014/main" id="{CE55B5FA-27F8-B87C-7202-79868A9C1F61}"/>
              </a:ext>
            </a:extLst>
          </p:cNvPr>
          <p:cNvSpPr/>
          <p:nvPr/>
        </p:nvSpPr>
        <p:spPr>
          <a:xfrm>
            <a:off x="6122644" y="630489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ind</a:t>
            </a:r>
          </a:p>
        </p:txBody>
      </p:sp>
      <p:pic>
        <p:nvPicPr>
          <p:cNvPr id="151" name="Picture 150" descr="Icon&#10;&#10;Description automatically generated">
            <a:extLst>
              <a:ext uri="{FF2B5EF4-FFF2-40B4-BE49-F238E27FC236}">
                <a16:creationId xmlns:a16="http://schemas.microsoft.com/office/drawing/2014/main" id="{AD21854B-9ACC-A136-81BE-BBC69E4332B7}"/>
              </a:ext>
            </a:extLst>
          </p:cNvPr>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6482068" y="1278473"/>
            <a:ext cx="617141" cy="617141"/>
          </a:xfrm>
          <a:prstGeom prst="rect">
            <a:avLst/>
          </a:prstGeom>
        </p:spPr>
      </p:pic>
      <p:sp>
        <p:nvSpPr>
          <p:cNvPr id="152" name="Rectangle 151">
            <a:extLst>
              <a:ext uri="{FF2B5EF4-FFF2-40B4-BE49-F238E27FC236}">
                <a16:creationId xmlns:a16="http://schemas.microsoft.com/office/drawing/2014/main" id="{D0B978CE-963A-4835-3411-C878C537456E}"/>
              </a:ext>
            </a:extLst>
          </p:cNvPr>
          <p:cNvSpPr/>
          <p:nvPr/>
        </p:nvSpPr>
        <p:spPr>
          <a:xfrm>
            <a:off x="6050381" y="191802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lock/time</a:t>
            </a:r>
          </a:p>
        </p:txBody>
      </p:sp>
      <p:pic>
        <p:nvPicPr>
          <p:cNvPr id="11" name="Picture 10" descr="A picture containing text, sign, tableware&#10;&#10;Description automatically generated">
            <a:extLst>
              <a:ext uri="{FF2B5EF4-FFF2-40B4-BE49-F238E27FC236}">
                <a16:creationId xmlns:a16="http://schemas.microsoft.com/office/drawing/2014/main" id="{135FD3DD-C894-0BF4-9CBD-97592C458F56}"/>
              </a:ext>
            </a:extLst>
          </p:cNvPr>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1384983" y="1224994"/>
            <a:ext cx="664691" cy="664691"/>
          </a:xfrm>
          <a:prstGeom prst="rect">
            <a:avLst/>
          </a:prstGeom>
        </p:spPr>
      </p:pic>
      <p:sp>
        <p:nvSpPr>
          <p:cNvPr id="14" name="Rectangle 13">
            <a:extLst>
              <a:ext uri="{FF2B5EF4-FFF2-40B4-BE49-F238E27FC236}">
                <a16:creationId xmlns:a16="http://schemas.microsoft.com/office/drawing/2014/main" id="{D29ACA61-E528-5284-3B33-D7315051F9FB}"/>
              </a:ext>
            </a:extLst>
          </p:cNvPr>
          <p:cNvSpPr/>
          <p:nvPr/>
        </p:nvSpPr>
        <p:spPr>
          <a:xfrm>
            <a:off x="974378" y="189878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Analyst portal</a:t>
            </a:r>
          </a:p>
        </p:txBody>
      </p:sp>
      <p:pic>
        <p:nvPicPr>
          <p:cNvPr id="154" name="Picture 153" descr="Logo&#10;&#10;Description automatically generated with low confidence">
            <a:extLst>
              <a:ext uri="{FF2B5EF4-FFF2-40B4-BE49-F238E27FC236}">
                <a16:creationId xmlns:a16="http://schemas.microsoft.com/office/drawing/2014/main" id="{F8F895F8-3636-383C-90A2-E3765E0F8BA5}"/>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5626611" y="2406021"/>
            <a:ext cx="608035" cy="543286"/>
          </a:xfrm>
          <a:prstGeom prst="rect">
            <a:avLst/>
          </a:prstGeom>
        </p:spPr>
      </p:pic>
      <p:sp>
        <p:nvSpPr>
          <p:cNvPr id="155" name="Rectangle 154">
            <a:extLst>
              <a:ext uri="{FF2B5EF4-FFF2-40B4-BE49-F238E27FC236}">
                <a16:creationId xmlns:a16="http://schemas.microsoft.com/office/drawing/2014/main" id="{AED469F7-72C5-2637-BC92-CC942F1237C9}"/>
              </a:ext>
            </a:extLst>
          </p:cNvPr>
          <p:cNvSpPr/>
          <p:nvPr/>
        </p:nvSpPr>
        <p:spPr>
          <a:xfrm>
            <a:off x="5163866" y="298026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Factory_1</a:t>
            </a:r>
          </a:p>
        </p:txBody>
      </p:sp>
      <p:pic>
        <p:nvPicPr>
          <p:cNvPr id="159" name="Picture 158" descr="Icon&#10;&#10;Description automatically generated">
            <a:extLst>
              <a:ext uri="{FF2B5EF4-FFF2-40B4-BE49-F238E27FC236}">
                <a16:creationId xmlns:a16="http://schemas.microsoft.com/office/drawing/2014/main" id="{E588204A-6332-A502-935B-6A70A6ED12C3}"/>
              </a:ext>
            </a:extLst>
          </p:cNvPr>
          <p:cNvPicPr>
            <a:picLocks noChangeAspect="1"/>
          </p:cNvPicPr>
          <p:nvPr/>
        </p:nvPicPr>
        <p:blipFill>
          <a:blip r:embed="rId53">
            <a:extLst>
              <a:ext uri="{28A0092B-C50C-407E-A947-70E740481C1C}">
                <a14:useLocalDpi xmlns:a14="http://schemas.microsoft.com/office/drawing/2010/main" val="0"/>
              </a:ext>
            </a:extLst>
          </a:blip>
          <a:stretch>
            <a:fillRect/>
          </a:stretch>
        </p:blipFill>
        <p:spPr>
          <a:xfrm>
            <a:off x="9087513" y="2344873"/>
            <a:ext cx="647583" cy="647583"/>
          </a:xfrm>
          <a:prstGeom prst="rect">
            <a:avLst/>
          </a:prstGeom>
        </p:spPr>
      </p:pic>
      <p:sp>
        <p:nvSpPr>
          <p:cNvPr id="160" name="Rectangle 159">
            <a:extLst>
              <a:ext uri="{FF2B5EF4-FFF2-40B4-BE49-F238E27FC236}">
                <a16:creationId xmlns:a16="http://schemas.microsoft.com/office/drawing/2014/main" id="{0475EB9A-4AB0-5602-F137-7F5929906EE2}"/>
              </a:ext>
            </a:extLst>
          </p:cNvPr>
          <p:cNvSpPr/>
          <p:nvPr/>
        </p:nvSpPr>
        <p:spPr>
          <a:xfrm>
            <a:off x="8644542" y="297620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Info</a:t>
            </a:r>
          </a:p>
        </p:txBody>
      </p:sp>
      <p:pic>
        <p:nvPicPr>
          <p:cNvPr id="177" name="Picture 176" descr="Shape, arrow&#10;&#10;Description automatically generated">
            <a:extLst>
              <a:ext uri="{FF2B5EF4-FFF2-40B4-BE49-F238E27FC236}">
                <a16:creationId xmlns:a16="http://schemas.microsoft.com/office/drawing/2014/main" id="{97377E7C-0879-5D86-61F2-50831C38F94E}"/>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4809436" y="4632152"/>
            <a:ext cx="643445" cy="612082"/>
          </a:xfrm>
          <a:prstGeom prst="rect">
            <a:avLst/>
          </a:prstGeom>
        </p:spPr>
      </p:pic>
      <p:sp>
        <p:nvSpPr>
          <p:cNvPr id="178" name="Rectangle 177">
            <a:extLst>
              <a:ext uri="{FF2B5EF4-FFF2-40B4-BE49-F238E27FC236}">
                <a16:creationId xmlns:a16="http://schemas.microsoft.com/office/drawing/2014/main" id="{49075B13-E249-5933-CC2B-D1EC663B5539}"/>
              </a:ext>
            </a:extLst>
          </p:cNvPr>
          <p:cNvSpPr/>
          <p:nvPr/>
        </p:nvSpPr>
        <p:spPr>
          <a:xfrm>
            <a:off x="4364396" y="524180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tar</a:t>
            </a:r>
          </a:p>
        </p:txBody>
      </p:sp>
      <p:pic>
        <p:nvPicPr>
          <p:cNvPr id="181" name="Picture 180">
            <a:extLst>
              <a:ext uri="{FF2B5EF4-FFF2-40B4-BE49-F238E27FC236}">
                <a16:creationId xmlns:a16="http://schemas.microsoft.com/office/drawing/2014/main" id="{4C2D4BB7-B805-AD67-7977-BE0DA1C05F02}"/>
              </a:ext>
            </a:extLst>
          </p:cNvPr>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6491098" y="2340705"/>
            <a:ext cx="652090" cy="589549"/>
          </a:xfrm>
          <a:prstGeom prst="rect">
            <a:avLst/>
          </a:prstGeom>
        </p:spPr>
      </p:pic>
      <p:sp>
        <p:nvSpPr>
          <p:cNvPr id="182" name="Rectangle 181">
            <a:extLst>
              <a:ext uri="{FF2B5EF4-FFF2-40B4-BE49-F238E27FC236}">
                <a16:creationId xmlns:a16="http://schemas.microsoft.com/office/drawing/2014/main" id="{D31C5FD6-8FCB-6101-A69D-DB053D3394E8}"/>
              </a:ext>
            </a:extLst>
          </p:cNvPr>
          <p:cNvSpPr/>
          <p:nvPr/>
        </p:nvSpPr>
        <p:spPr>
          <a:xfrm>
            <a:off x="6050381" y="290357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a:p>
            <a:pPr algn="ctr"/>
            <a:r>
              <a:rPr lang="en-US" sz="1100">
                <a:solidFill>
                  <a:schemeClr val="tx1"/>
                </a:solidFill>
                <a:latin typeface="Ubuntu" panose="020B0504030602030204" pitchFamily="34" charset="0"/>
              </a:rPr>
              <a:t>Factory_2</a:t>
            </a:r>
          </a:p>
        </p:txBody>
      </p:sp>
      <p:pic>
        <p:nvPicPr>
          <p:cNvPr id="186" name="Picture 185" descr="A picture containing text, candelabrum&#10;&#10;Description automatically generated">
            <a:extLst>
              <a:ext uri="{FF2B5EF4-FFF2-40B4-BE49-F238E27FC236}">
                <a16:creationId xmlns:a16="http://schemas.microsoft.com/office/drawing/2014/main" id="{79FF6531-4715-6271-44B9-C4C75C46A7BF}"/>
              </a:ext>
            </a:extLst>
          </p:cNvPr>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7336857" y="4505211"/>
            <a:ext cx="683913" cy="683913"/>
          </a:xfrm>
          <a:prstGeom prst="rect">
            <a:avLst/>
          </a:prstGeom>
        </p:spPr>
      </p:pic>
      <p:sp>
        <p:nvSpPr>
          <p:cNvPr id="188" name="Rectangle 187">
            <a:extLst>
              <a:ext uri="{FF2B5EF4-FFF2-40B4-BE49-F238E27FC236}">
                <a16:creationId xmlns:a16="http://schemas.microsoft.com/office/drawing/2014/main" id="{B0E426A6-6195-AB85-A84E-83BB86399621}"/>
              </a:ext>
            </a:extLst>
          </p:cNvPr>
          <p:cNvSpPr/>
          <p:nvPr/>
        </p:nvSpPr>
        <p:spPr>
          <a:xfrm>
            <a:off x="6912051" y="527873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Target</a:t>
            </a:r>
          </a:p>
          <a:p>
            <a:pPr algn="ctr"/>
            <a:r>
              <a:rPr lang="en-US" sz="1100">
                <a:solidFill>
                  <a:schemeClr val="tx1"/>
                </a:solidFill>
                <a:latin typeface="Ubuntu" panose="020B0504030602030204" pitchFamily="34" charset="0"/>
              </a:rPr>
              <a:t>audience</a:t>
            </a:r>
          </a:p>
        </p:txBody>
      </p:sp>
      <p:pic>
        <p:nvPicPr>
          <p:cNvPr id="190" name="Picture 189">
            <a:extLst>
              <a:ext uri="{FF2B5EF4-FFF2-40B4-BE49-F238E27FC236}">
                <a16:creationId xmlns:a16="http://schemas.microsoft.com/office/drawing/2014/main" id="{B86A1895-E691-17B8-FBA2-2A4CF7007832}"/>
              </a:ext>
            </a:extLst>
          </p:cNvPr>
          <p:cNvPicPr>
            <a:picLocks noChangeAspect="1"/>
          </p:cNvPicPr>
          <p:nvPr/>
        </p:nvPicPr>
        <p:blipFill>
          <a:blip r:embed="rId57">
            <a:extLst>
              <a:ext uri="{28A0092B-C50C-407E-A947-70E740481C1C}">
                <a14:useLocalDpi xmlns:a14="http://schemas.microsoft.com/office/drawing/2010/main" val="0"/>
              </a:ext>
            </a:extLst>
          </a:blip>
          <a:stretch>
            <a:fillRect/>
          </a:stretch>
        </p:blipFill>
        <p:spPr>
          <a:xfrm>
            <a:off x="4013617" y="5683547"/>
            <a:ext cx="622658" cy="621739"/>
          </a:xfrm>
          <a:prstGeom prst="rect">
            <a:avLst/>
          </a:prstGeom>
        </p:spPr>
      </p:pic>
      <p:sp>
        <p:nvSpPr>
          <p:cNvPr id="191" name="Rectangle 190">
            <a:extLst>
              <a:ext uri="{FF2B5EF4-FFF2-40B4-BE49-F238E27FC236}">
                <a16:creationId xmlns:a16="http://schemas.microsoft.com/office/drawing/2014/main" id="{9938F08D-113C-ACF3-AA29-6DD792053681}"/>
              </a:ext>
            </a:extLst>
          </p:cNvPr>
          <p:cNvSpPr/>
          <p:nvPr/>
        </p:nvSpPr>
        <p:spPr>
          <a:xfrm>
            <a:off x="3541461" y="630306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heel</a:t>
            </a:r>
          </a:p>
        </p:txBody>
      </p:sp>
      <p:pic>
        <p:nvPicPr>
          <p:cNvPr id="194" name="Picture 193" descr="Icon&#10;&#10;Description automatically generated">
            <a:extLst>
              <a:ext uri="{FF2B5EF4-FFF2-40B4-BE49-F238E27FC236}">
                <a16:creationId xmlns:a16="http://schemas.microsoft.com/office/drawing/2014/main" id="{D7FC8585-BF3E-B896-63DF-37F400B7F3D8}"/>
              </a:ext>
            </a:extLst>
          </p:cNvPr>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4839797" y="5726269"/>
            <a:ext cx="645332" cy="510793"/>
          </a:xfrm>
          <a:prstGeom prst="rect">
            <a:avLst/>
          </a:prstGeom>
        </p:spPr>
      </p:pic>
      <p:sp>
        <p:nvSpPr>
          <p:cNvPr id="195" name="Rectangle 194">
            <a:extLst>
              <a:ext uri="{FF2B5EF4-FFF2-40B4-BE49-F238E27FC236}">
                <a16:creationId xmlns:a16="http://schemas.microsoft.com/office/drawing/2014/main" id="{9B1DF64F-60DC-7D4F-0AAD-94F4E27A5BD2}"/>
              </a:ext>
            </a:extLst>
          </p:cNvPr>
          <p:cNvSpPr/>
          <p:nvPr/>
        </p:nvSpPr>
        <p:spPr>
          <a:xfrm>
            <a:off x="4395700" y="630427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hy us</a:t>
            </a:r>
          </a:p>
        </p:txBody>
      </p:sp>
      <p:sp>
        <p:nvSpPr>
          <p:cNvPr id="4" name="Rectangle 3">
            <a:extLst>
              <a:ext uri="{FF2B5EF4-FFF2-40B4-BE49-F238E27FC236}">
                <a16:creationId xmlns:a16="http://schemas.microsoft.com/office/drawing/2014/main" id="{3ACE79A9-73D9-F47D-10FD-B8CABC251926}"/>
              </a:ext>
            </a:extLst>
          </p:cNvPr>
          <p:cNvSpPr/>
          <p:nvPr/>
        </p:nvSpPr>
        <p:spPr>
          <a:xfrm>
            <a:off x="8952543" y="507471"/>
            <a:ext cx="2652631"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a:solidFill>
                  <a:schemeClr val="accent1"/>
                </a:solidFill>
                <a:latin typeface="Ubuntu" panose="020B0504030602030204" pitchFamily="34" charset="0"/>
              </a:rPr>
              <a:t>More icons on SharePoint - here:</a:t>
            </a:r>
          </a:p>
        </p:txBody>
      </p:sp>
      <p:sp>
        <p:nvSpPr>
          <p:cNvPr id="10" name="TextBox 9">
            <a:extLst>
              <a:ext uri="{FF2B5EF4-FFF2-40B4-BE49-F238E27FC236}">
                <a16:creationId xmlns:a16="http://schemas.microsoft.com/office/drawing/2014/main" id="{2075ACF7-ACDB-D5D6-0978-8B4B296DF0A9}"/>
              </a:ext>
            </a:extLst>
          </p:cNvPr>
          <p:cNvSpPr txBox="1"/>
          <p:nvPr/>
        </p:nvSpPr>
        <p:spPr>
          <a:xfrm>
            <a:off x="8952543" y="653672"/>
            <a:ext cx="991073" cy="338554"/>
          </a:xfrm>
          <a:prstGeom prst="rect">
            <a:avLst/>
          </a:prstGeom>
          <a:noFill/>
        </p:spPr>
        <p:txBody>
          <a:bodyPr wrap="square">
            <a:spAutoFit/>
          </a:bodyPr>
          <a:lstStyle/>
          <a:p>
            <a:r>
              <a:rPr lang="en-US" sz="1600">
                <a:latin typeface="Ubuntu" panose="020B0504030602030204" pitchFamily="34" charset="0"/>
                <a:hlinkClick r:id="rId59"/>
              </a:rPr>
              <a:t>RE icons</a:t>
            </a:r>
            <a:endParaRPr lang="en-US" sz="1600">
              <a:latin typeface="Ubuntu" panose="020B0504030602030204" pitchFamily="34" charset="0"/>
            </a:endParaRPr>
          </a:p>
        </p:txBody>
      </p:sp>
      <p:sp>
        <p:nvSpPr>
          <p:cNvPr id="7" name="Rectangle 6">
            <a:extLst>
              <a:ext uri="{FF2B5EF4-FFF2-40B4-BE49-F238E27FC236}">
                <a16:creationId xmlns:a16="http://schemas.microsoft.com/office/drawing/2014/main" id="{B9507286-5134-FC0C-5CEF-E35EB7346D60}"/>
              </a:ext>
            </a:extLst>
          </p:cNvPr>
          <p:cNvSpPr/>
          <p:nvPr/>
        </p:nvSpPr>
        <p:spPr>
          <a:xfrm>
            <a:off x="8952543" y="507471"/>
            <a:ext cx="2652631"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a:solidFill>
                  <a:schemeClr val="accent1"/>
                </a:solidFill>
                <a:latin typeface="Ubuntu" panose="020B0504030602030204" pitchFamily="34" charset="0"/>
              </a:rPr>
              <a:t>More icons on SharePoint - here:</a:t>
            </a:r>
          </a:p>
        </p:txBody>
      </p:sp>
      <p:sp>
        <p:nvSpPr>
          <p:cNvPr id="19" name="TextBox 18">
            <a:extLst>
              <a:ext uri="{FF2B5EF4-FFF2-40B4-BE49-F238E27FC236}">
                <a16:creationId xmlns:a16="http://schemas.microsoft.com/office/drawing/2014/main" id="{8417D99C-A27E-9046-B6E0-79C33F65E18F}"/>
              </a:ext>
            </a:extLst>
          </p:cNvPr>
          <p:cNvSpPr txBox="1"/>
          <p:nvPr/>
        </p:nvSpPr>
        <p:spPr>
          <a:xfrm>
            <a:off x="8952543" y="653672"/>
            <a:ext cx="991073" cy="338554"/>
          </a:xfrm>
          <a:prstGeom prst="rect">
            <a:avLst/>
          </a:prstGeom>
          <a:noFill/>
        </p:spPr>
        <p:txBody>
          <a:bodyPr wrap="square">
            <a:spAutoFit/>
          </a:bodyPr>
          <a:lstStyle/>
          <a:p>
            <a:r>
              <a:rPr lang="en-US" sz="1600">
                <a:latin typeface="Ubuntu" panose="020B0504030602030204" pitchFamily="34" charset="0"/>
                <a:hlinkClick r:id="rId59"/>
              </a:rPr>
              <a:t>RE icons</a:t>
            </a:r>
            <a:endParaRPr lang="en-US" sz="1600">
              <a:latin typeface="Ubuntu" panose="020B0504030602030204" pitchFamily="34" charset="0"/>
            </a:endParaRPr>
          </a:p>
        </p:txBody>
      </p:sp>
      <p:sp>
        <p:nvSpPr>
          <p:cNvPr id="28" name="Rectangle 27">
            <a:extLst>
              <a:ext uri="{FF2B5EF4-FFF2-40B4-BE49-F238E27FC236}">
                <a16:creationId xmlns:a16="http://schemas.microsoft.com/office/drawing/2014/main" id="{438C09A9-6101-3E93-AAB6-FDEBBEA58CD4}"/>
              </a:ext>
            </a:extLst>
          </p:cNvPr>
          <p:cNvSpPr/>
          <p:nvPr/>
        </p:nvSpPr>
        <p:spPr>
          <a:xfrm>
            <a:off x="8952543" y="507471"/>
            <a:ext cx="2652631"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a:solidFill>
                  <a:schemeClr val="accent1"/>
                </a:solidFill>
                <a:latin typeface="Ubuntu" panose="020B0504030602030204" pitchFamily="34" charset="0"/>
              </a:rPr>
              <a:t>More icons on SharePoint - here:</a:t>
            </a:r>
          </a:p>
        </p:txBody>
      </p:sp>
      <p:sp>
        <p:nvSpPr>
          <p:cNvPr id="35" name="TextBox 34">
            <a:extLst>
              <a:ext uri="{FF2B5EF4-FFF2-40B4-BE49-F238E27FC236}">
                <a16:creationId xmlns:a16="http://schemas.microsoft.com/office/drawing/2014/main" id="{9B645FDE-FEBC-1987-CD1F-1405DF90AC82}"/>
              </a:ext>
            </a:extLst>
          </p:cNvPr>
          <p:cNvSpPr txBox="1"/>
          <p:nvPr/>
        </p:nvSpPr>
        <p:spPr>
          <a:xfrm>
            <a:off x="8952543" y="653672"/>
            <a:ext cx="991073" cy="338554"/>
          </a:xfrm>
          <a:prstGeom prst="rect">
            <a:avLst/>
          </a:prstGeom>
          <a:noFill/>
        </p:spPr>
        <p:txBody>
          <a:bodyPr wrap="square">
            <a:spAutoFit/>
          </a:bodyPr>
          <a:lstStyle/>
          <a:p>
            <a:r>
              <a:rPr lang="en-US" sz="1600">
                <a:latin typeface="Ubuntu" panose="020B0504030602030204" pitchFamily="34" charset="0"/>
                <a:hlinkClick r:id="rId59"/>
              </a:rPr>
              <a:t>RE icons</a:t>
            </a:r>
            <a:endParaRPr lang="en-US" sz="1600">
              <a:latin typeface="Ubuntu" panose="020B0504030602030204" pitchFamily="34" charset="0"/>
            </a:endParaRPr>
          </a:p>
        </p:txBody>
      </p:sp>
      <p:sp>
        <p:nvSpPr>
          <p:cNvPr id="42" name="Rectangle 41">
            <a:extLst>
              <a:ext uri="{FF2B5EF4-FFF2-40B4-BE49-F238E27FC236}">
                <a16:creationId xmlns:a16="http://schemas.microsoft.com/office/drawing/2014/main" id="{8CE1AD0A-9A19-402E-E1EC-8CDAB64FC99C}"/>
              </a:ext>
            </a:extLst>
          </p:cNvPr>
          <p:cNvSpPr/>
          <p:nvPr/>
        </p:nvSpPr>
        <p:spPr>
          <a:xfrm>
            <a:off x="8952543" y="507471"/>
            <a:ext cx="2652631"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a:solidFill>
                  <a:schemeClr val="accent1"/>
                </a:solidFill>
                <a:latin typeface="Ubuntu" panose="020B0504030602030204" pitchFamily="34" charset="0"/>
              </a:rPr>
              <a:t>More icons on SharePoint - here:</a:t>
            </a:r>
          </a:p>
        </p:txBody>
      </p:sp>
      <p:sp>
        <p:nvSpPr>
          <p:cNvPr id="50" name="TextBox 49">
            <a:extLst>
              <a:ext uri="{FF2B5EF4-FFF2-40B4-BE49-F238E27FC236}">
                <a16:creationId xmlns:a16="http://schemas.microsoft.com/office/drawing/2014/main" id="{05BAB2B9-6F18-A60C-4BD0-2B00FF6E8C76}"/>
              </a:ext>
            </a:extLst>
          </p:cNvPr>
          <p:cNvSpPr txBox="1"/>
          <p:nvPr/>
        </p:nvSpPr>
        <p:spPr>
          <a:xfrm>
            <a:off x="8952543" y="653672"/>
            <a:ext cx="991073" cy="338554"/>
          </a:xfrm>
          <a:prstGeom prst="rect">
            <a:avLst/>
          </a:prstGeom>
          <a:noFill/>
        </p:spPr>
        <p:txBody>
          <a:bodyPr wrap="square">
            <a:spAutoFit/>
          </a:bodyPr>
          <a:lstStyle/>
          <a:p>
            <a:r>
              <a:rPr lang="en-US" sz="1600">
                <a:latin typeface="Ubuntu" panose="020B0504030602030204" pitchFamily="34" charset="0"/>
                <a:hlinkClick r:id="rId59"/>
              </a:rPr>
              <a:t>RE icons</a:t>
            </a:r>
            <a:endParaRPr lang="en-US" sz="1600">
              <a:latin typeface="Ubuntu" panose="020B0504030602030204" pitchFamily="34" charset="0"/>
            </a:endParaRPr>
          </a:p>
        </p:txBody>
      </p:sp>
      <p:sp>
        <p:nvSpPr>
          <p:cNvPr id="51" name="Rectangle 50">
            <a:extLst>
              <a:ext uri="{FF2B5EF4-FFF2-40B4-BE49-F238E27FC236}">
                <a16:creationId xmlns:a16="http://schemas.microsoft.com/office/drawing/2014/main" id="{46D2B753-D91C-F779-19A9-EB4220507EE2}"/>
              </a:ext>
            </a:extLst>
          </p:cNvPr>
          <p:cNvSpPr/>
          <p:nvPr/>
        </p:nvSpPr>
        <p:spPr>
          <a:xfrm>
            <a:off x="8952543" y="507471"/>
            <a:ext cx="2652631"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a:solidFill>
                  <a:schemeClr val="accent1"/>
                </a:solidFill>
                <a:latin typeface="Ubuntu" panose="020B0504030602030204" pitchFamily="34" charset="0"/>
              </a:rPr>
              <a:t>More icons on SharePoint - here:</a:t>
            </a:r>
          </a:p>
        </p:txBody>
      </p:sp>
      <p:sp>
        <p:nvSpPr>
          <p:cNvPr id="52" name="TextBox 51">
            <a:extLst>
              <a:ext uri="{FF2B5EF4-FFF2-40B4-BE49-F238E27FC236}">
                <a16:creationId xmlns:a16="http://schemas.microsoft.com/office/drawing/2014/main" id="{65F2A7BB-EF5C-9EF0-CCEC-4AE58902B8E1}"/>
              </a:ext>
            </a:extLst>
          </p:cNvPr>
          <p:cNvSpPr txBox="1"/>
          <p:nvPr/>
        </p:nvSpPr>
        <p:spPr>
          <a:xfrm>
            <a:off x="8952543" y="653672"/>
            <a:ext cx="991073" cy="338554"/>
          </a:xfrm>
          <a:prstGeom prst="rect">
            <a:avLst/>
          </a:prstGeom>
          <a:noFill/>
        </p:spPr>
        <p:txBody>
          <a:bodyPr wrap="square">
            <a:spAutoFit/>
          </a:bodyPr>
          <a:lstStyle/>
          <a:p>
            <a:r>
              <a:rPr lang="en-US" sz="1600">
                <a:latin typeface="Ubuntu" panose="020B0504030602030204" pitchFamily="34" charset="0"/>
                <a:hlinkClick r:id="rId59"/>
              </a:rPr>
              <a:t>RE icons</a:t>
            </a:r>
            <a:endParaRPr lang="en-US" sz="1600">
              <a:latin typeface="Ubuntu" panose="020B0504030602030204" pitchFamily="34" charset="0"/>
            </a:endParaRPr>
          </a:p>
        </p:txBody>
      </p:sp>
    </p:spTree>
    <p:extLst>
      <p:ext uri="{BB962C8B-B14F-4D97-AF65-F5344CB8AC3E}">
        <p14:creationId xmlns:p14="http://schemas.microsoft.com/office/powerpoint/2010/main" val="3784441783"/>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RE icon library_black">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C388F31-E626-F123-EC66-2D691FF404C0}"/>
              </a:ext>
            </a:extLst>
          </p:cNvPr>
          <p:cNvSpPr txBox="1">
            <a:spLocks/>
          </p:cNvSpPr>
          <p:nvPr/>
        </p:nvSpPr>
        <p:spPr>
          <a:xfrm>
            <a:off x="442914" y="441324"/>
            <a:ext cx="11306174" cy="611189"/>
          </a:xfrm>
          <a:prstGeom prst="rect">
            <a:avLst/>
          </a:prstGeom>
        </p:spPr>
        <p:txBody>
          <a:bodyPr vert="horz" lIns="91440" tIns="45720" rIns="91440" bIns="45720" rtlCol="0" anchor="ctr">
            <a:noAutofit/>
          </a:bodyPr>
          <a:lstStyle>
            <a:lvl1pPr algn="l" defTabSz="1125472" rtl="0" eaLnBrk="1" latinLnBrk="0" hangingPunct="1">
              <a:lnSpc>
                <a:spcPct val="90000"/>
              </a:lnSpc>
              <a:spcBef>
                <a:spcPct val="0"/>
              </a:spcBef>
              <a:buNone/>
              <a:defRPr lang="en-US" sz="2200" b="0" i="0" kern="1200" dirty="0">
                <a:solidFill>
                  <a:schemeClr val="tx1"/>
                </a:solidFill>
                <a:latin typeface="+mj-lt"/>
                <a:ea typeface="+mj-ea"/>
                <a:cs typeface="Calibri" panose="020F0502020204030204" pitchFamily="34" charset="0"/>
              </a:defRPr>
            </a:lvl1pPr>
          </a:lstStyle>
          <a:p>
            <a:r>
              <a:rPr lang="en-US" b="0" err="1">
                <a:latin typeface="Ubuntu" panose="020B0504030602030204" pitchFamily="34" charset="0"/>
              </a:rPr>
              <a:t>Rystad</a:t>
            </a:r>
            <a:r>
              <a:rPr lang="en-US" b="0">
                <a:latin typeface="Ubuntu" panose="020B0504030602030204" pitchFamily="34" charset="0"/>
              </a:rPr>
              <a:t> Energy icon library – black</a:t>
            </a:r>
          </a:p>
        </p:txBody>
      </p:sp>
      <p:pic>
        <p:nvPicPr>
          <p:cNvPr id="13" name="Picture 12" descr="Icon&#10;&#10;Description automatically generated">
            <a:extLst>
              <a:ext uri="{FF2B5EF4-FFF2-40B4-BE49-F238E27FC236}">
                <a16:creationId xmlns:a16="http://schemas.microsoft.com/office/drawing/2014/main" id="{7D3EB671-5A85-AD32-47A4-383F2E976A87}"/>
              </a:ext>
            </a:extLst>
          </p:cNvPr>
          <p:cNvPicPr>
            <a:picLocks noChangeAspect="1"/>
          </p:cNvPicPr>
          <p:nvPr/>
        </p:nvPicPr>
        <p:blipFill>
          <a:blip r:embed="rId2">
            <a:biLevel thresh="75000"/>
            <a:extLst>
              <a:ext uri="{28A0092B-C50C-407E-A947-70E740481C1C}">
                <a14:useLocalDpi xmlns:a14="http://schemas.microsoft.com/office/drawing/2010/main" val="0"/>
              </a:ext>
            </a:extLst>
          </a:blip>
          <a:stretch>
            <a:fillRect/>
          </a:stretch>
        </p:blipFill>
        <p:spPr>
          <a:xfrm>
            <a:off x="9116531" y="1280922"/>
            <a:ext cx="589549" cy="589549"/>
          </a:xfrm>
          <a:prstGeom prst="rect">
            <a:avLst/>
          </a:prstGeom>
        </p:spPr>
      </p:pic>
      <p:sp>
        <p:nvSpPr>
          <p:cNvPr id="15" name="Rectangle 14">
            <a:extLst>
              <a:ext uri="{FF2B5EF4-FFF2-40B4-BE49-F238E27FC236}">
                <a16:creationId xmlns:a16="http://schemas.microsoft.com/office/drawing/2014/main" id="{FAC31394-ED80-1DFA-CA2D-0823E89BAC34}"/>
              </a:ext>
            </a:extLst>
          </p:cNvPr>
          <p:cNvSpPr/>
          <p:nvPr/>
        </p:nvSpPr>
        <p:spPr>
          <a:xfrm>
            <a:off x="8644542" y="189046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ommentaries</a:t>
            </a:r>
          </a:p>
        </p:txBody>
      </p:sp>
      <p:pic>
        <p:nvPicPr>
          <p:cNvPr id="17" name="Picture 16" descr="Icon&#10;&#10;Description automatically generated">
            <a:extLst>
              <a:ext uri="{FF2B5EF4-FFF2-40B4-BE49-F238E27FC236}">
                <a16:creationId xmlns:a16="http://schemas.microsoft.com/office/drawing/2014/main" id="{66DA0798-358F-C714-9C6C-19FBBE4B6A8E}"/>
              </a:ext>
            </a:extLst>
          </p:cNvPr>
          <p:cNvPicPr>
            <a:picLocks noChangeAspect="1"/>
          </p:cNvPicPr>
          <p:nvPr/>
        </p:nvPicPr>
        <p:blipFill>
          <a:blip r:embed="rId3">
            <a:biLevel thresh="75000"/>
            <a:extLst>
              <a:ext uri="{28A0092B-C50C-407E-A947-70E740481C1C}">
                <a14:useLocalDpi xmlns:a14="http://schemas.microsoft.com/office/drawing/2010/main" val="0"/>
              </a:ext>
            </a:extLst>
          </a:blip>
          <a:stretch>
            <a:fillRect/>
          </a:stretch>
        </p:blipFill>
        <p:spPr>
          <a:xfrm>
            <a:off x="562848" y="1210440"/>
            <a:ext cx="709865" cy="674749"/>
          </a:xfrm>
          <a:prstGeom prst="rect">
            <a:avLst/>
          </a:prstGeom>
        </p:spPr>
      </p:pic>
      <p:sp>
        <p:nvSpPr>
          <p:cNvPr id="18" name="Rectangle 17">
            <a:extLst>
              <a:ext uri="{FF2B5EF4-FFF2-40B4-BE49-F238E27FC236}">
                <a16:creationId xmlns:a16="http://schemas.microsoft.com/office/drawing/2014/main" id="{986A59A6-A0C1-8625-BB40-A2ED002DCD2E}"/>
              </a:ext>
            </a:extLst>
          </p:cNvPr>
          <p:cNvSpPr/>
          <p:nvPr/>
        </p:nvSpPr>
        <p:spPr>
          <a:xfrm>
            <a:off x="151017" y="189878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Advisory</a:t>
            </a:r>
          </a:p>
        </p:txBody>
      </p:sp>
      <p:pic>
        <p:nvPicPr>
          <p:cNvPr id="20" name="Picture 19">
            <a:extLst>
              <a:ext uri="{FF2B5EF4-FFF2-40B4-BE49-F238E27FC236}">
                <a16:creationId xmlns:a16="http://schemas.microsoft.com/office/drawing/2014/main" id="{C42E23F1-DF1F-1B46-8051-104E6BBA5747}"/>
              </a:ext>
            </a:extLst>
          </p:cNvPr>
          <p:cNvPicPr>
            <a:picLocks noChangeAspect="1"/>
          </p:cNvPicPr>
          <p:nvPr/>
        </p:nvPicPr>
        <p:blipFill>
          <a:blip r:embed="rId4">
            <a:biLevel thresh="75000"/>
            <a:extLst>
              <a:ext uri="{28A0092B-C50C-407E-A947-70E740481C1C}">
                <a14:useLocalDpi xmlns:a14="http://schemas.microsoft.com/office/drawing/2010/main" val="0"/>
              </a:ext>
            </a:extLst>
          </a:blip>
          <a:stretch>
            <a:fillRect/>
          </a:stretch>
        </p:blipFill>
        <p:spPr>
          <a:xfrm>
            <a:off x="9903585" y="1264397"/>
            <a:ext cx="615116" cy="620175"/>
          </a:xfrm>
          <a:prstGeom prst="rect">
            <a:avLst/>
          </a:prstGeom>
        </p:spPr>
      </p:pic>
      <p:sp>
        <p:nvSpPr>
          <p:cNvPr id="21" name="Rectangle 20">
            <a:extLst>
              <a:ext uri="{FF2B5EF4-FFF2-40B4-BE49-F238E27FC236}">
                <a16:creationId xmlns:a16="http://schemas.microsoft.com/office/drawing/2014/main" id="{0E132CB8-54E2-B3D9-D02C-D2C369BC2F9D}"/>
              </a:ext>
            </a:extLst>
          </p:cNvPr>
          <p:cNvSpPr/>
          <p:nvPr/>
        </p:nvSpPr>
        <p:spPr>
          <a:xfrm>
            <a:off x="9489720" y="192926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ommodity</a:t>
            </a:r>
          </a:p>
          <a:p>
            <a:pPr algn="ctr"/>
            <a:r>
              <a:rPr lang="en-US" sz="1100">
                <a:solidFill>
                  <a:schemeClr val="tx1"/>
                </a:solidFill>
                <a:latin typeface="Ubuntu" panose="020B0504030602030204" pitchFamily="34" charset="0"/>
              </a:rPr>
              <a:t>market</a:t>
            </a:r>
          </a:p>
        </p:txBody>
      </p:sp>
      <p:pic>
        <p:nvPicPr>
          <p:cNvPr id="23" name="Picture 22" descr="Icon&#10;&#10;Description automatically generated">
            <a:extLst>
              <a:ext uri="{FF2B5EF4-FFF2-40B4-BE49-F238E27FC236}">
                <a16:creationId xmlns:a16="http://schemas.microsoft.com/office/drawing/2014/main" id="{E4ADCAE8-74E8-D6E0-2669-2F43902C2201}"/>
              </a:ext>
            </a:extLst>
          </p:cNvPr>
          <p:cNvPicPr>
            <a:picLocks noChangeAspect="1"/>
          </p:cNvPicPr>
          <p:nvPr/>
        </p:nvPicPr>
        <p:blipFill>
          <a:blip r:embed="rId5">
            <a:biLevel thresh="75000"/>
            <a:extLst>
              <a:ext uri="{28A0092B-C50C-407E-A947-70E740481C1C}">
                <a14:useLocalDpi xmlns:a14="http://schemas.microsoft.com/office/drawing/2010/main" val="0"/>
              </a:ext>
            </a:extLst>
          </a:blip>
          <a:stretch>
            <a:fillRect/>
          </a:stretch>
        </p:blipFill>
        <p:spPr>
          <a:xfrm>
            <a:off x="10909793" y="1383797"/>
            <a:ext cx="578442" cy="510793"/>
          </a:xfrm>
          <a:prstGeom prst="rect">
            <a:avLst/>
          </a:prstGeom>
        </p:spPr>
      </p:pic>
      <p:sp>
        <p:nvSpPr>
          <p:cNvPr id="24" name="Rectangle 23">
            <a:extLst>
              <a:ext uri="{FF2B5EF4-FFF2-40B4-BE49-F238E27FC236}">
                <a16:creationId xmlns:a16="http://schemas.microsoft.com/office/drawing/2014/main" id="{2F773674-9FB6-F843-45DA-5D190438A306}"/>
              </a:ext>
            </a:extLst>
          </p:cNvPr>
          <p:cNvSpPr/>
          <p:nvPr/>
        </p:nvSpPr>
        <p:spPr>
          <a:xfrm>
            <a:off x="10433167" y="190253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ube dashboard</a:t>
            </a:r>
          </a:p>
        </p:txBody>
      </p:sp>
      <p:pic>
        <p:nvPicPr>
          <p:cNvPr id="26" name="Picture 25" descr="Icon&#10;&#10;Description automatically generated">
            <a:extLst>
              <a:ext uri="{FF2B5EF4-FFF2-40B4-BE49-F238E27FC236}">
                <a16:creationId xmlns:a16="http://schemas.microsoft.com/office/drawing/2014/main" id="{3356C805-20B9-C497-BAE5-B8C80C9A73F2}"/>
              </a:ext>
            </a:extLst>
          </p:cNvPr>
          <p:cNvPicPr>
            <a:picLocks noChangeAspect="1"/>
          </p:cNvPicPr>
          <p:nvPr/>
        </p:nvPicPr>
        <p:blipFill>
          <a:blip r:embed="rId6">
            <a:biLevel thresh="75000"/>
            <a:extLst>
              <a:ext uri="{28A0092B-C50C-407E-A947-70E740481C1C}">
                <a14:useLocalDpi xmlns:a14="http://schemas.microsoft.com/office/drawing/2010/main" val="0"/>
              </a:ext>
            </a:extLst>
          </a:blip>
          <a:stretch>
            <a:fillRect/>
          </a:stretch>
        </p:blipFill>
        <p:spPr>
          <a:xfrm>
            <a:off x="598307" y="2313727"/>
            <a:ext cx="604265" cy="676923"/>
          </a:xfrm>
          <a:prstGeom prst="rect">
            <a:avLst/>
          </a:prstGeom>
        </p:spPr>
      </p:pic>
      <p:sp>
        <p:nvSpPr>
          <p:cNvPr id="27" name="Rectangle 26">
            <a:extLst>
              <a:ext uri="{FF2B5EF4-FFF2-40B4-BE49-F238E27FC236}">
                <a16:creationId xmlns:a16="http://schemas.microsoft.com/office/drawing/2014/main" id="{5616D457-2C76-01E7-B9E0-C9CC3C55ECA7}"/>
              </a:ext>
            </a:extLst>
          </p:cNvPr>
          <p:cNvSpPr/>
          <p:nvPr/>
        </p:nvSpPr>
        <p:spPr>
          <a:xfrm>
            <a:off x="151017" y="299934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ube</a:t>
            </a:r>
          </a:p>
        </p:txBody>
      </p:sp>
      <p:pic>
        <p:nvPicPr>
          <p:cNvPr id="29" name="Picture 28" descr="Icon&#10;&#10;Description automatically generated">
            <a:extLst>
              <a:ext uri="{FF2B5EF4-FFF2-40B4-BE49-F238E27FC236}">
                <a16:creationId xmlns:a16="http://schemas.microsoft.com/office/drawing/2014/main" id="{839BEF8E-3F76-5758-7DC6-89EB203ABE59}"/>
              </a:ext>
            </a:extLst>
          </p:cNvPr>
          <p:cNvPicPr>
            <a:picLocks noChangeAspect="1"/>
          </p:cNvPicPr>
          <p:nvPr/>
        </p:nvPicPr>
        <p:blipFill>
          <a:blip r:embed="rId7">
            <a:biLevel thresh="75000"/>
            <a:extLst>
              <a:ext uri="{28A0092B-C50C-407E-A947-70E740481C1C}">
                <a14:useLocalDpi xmlns:a14="http://schemas.microsoft.com/office/drawing/2010/main" val="0"/>
              </a:ext>
            </a:extLst>
          </a:blip>
          <a:stretch>
            <a:fillRect/>
          </a:stretch>
        </p:blipFill>
        <p:spPr>
          <a:xfrm>
            <a:off x="1398023" y="2285067"/>
            <a:ext cx="664691" cy="664691"/>
          </a:xfrm>
          <a:prstGeom prst="rect">
            <a:avLst/>
          </a:prstGeom>
        </p:spPr>
      </p:pic>
      <p:sp>
        <p:nvSpPr>
          <p:cNvPr id="30" name="Rectangle 29">
            <a:extLst>
              <a:ext uri="{FF2B5EF4-FFF2-40B4-BE49-F238E27FC236}">
                <a16:creationId xmlns:a16="http://schemas.microsoft.com/office/drawing/2014/main" id="{2359316E-5BCA-294E-EE3E-A0738E057D80}"/>
              </a:ext>
            </a:extLst>
          </p:cNvPr>
          <p:cNvSpPr/>
          <p:nvPr/>
        </p:nvSpPr>
        <p:spPr>
          <a:xfrm>
            <a:off x="974378" y="297816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ustomer</a:t>
            </a:r>
          </a:p>
          <a:p>
            <a:pPr algn="ctr"/>
            <a:r>
              <a:rPr lang="en-US" sz="1100">
                <a:solidFill>
                  <a:schemeClr val="tx1"/>
                </a:solidFill>
                <a:latin typeface="Ubuntu" panose="020B0504030602030204" pitchFamily="34" charset="0"/>
              </a:rPr>
              <a:t>portal</a:t>
            </a:r>
          </a:p>
        </p:txBody>
      </p:sp>
      <p:pic>
        <p:nvPicPr>
          <p:cNvPr id="32" name="Picture 31" descr="Logo, icon&#10;&#10;Description automatically generated">
            <a:extLst>
              <a:ext uri="{FF2B5EF4-FFF2-40B4-BE49-F238E27FC236}">
                <a16:creationId xmlns:a16="http://schemas.microsoft.com/office/drawing/2014/main" id="{C4467BAD-9217-6F1F-627E-C28868B3840F}"/>
              </a:ext>
            </a:extLst>
          </p:cNvPr>
          <p:cNvPicPr>
            <a:picLocks noChangeAspect="1"/>
          </p:cNvPicPr>
          <p:nvPr/>
        </p:nvPicPr>
        <p:blipFill>
          <a:blip r:embed="rId8">
            <a:biLevel thresh="75000"/>
            <a:extLst>
              <a:ext uri="{28A0092B-C50C-407E-A947-70E740481C1C}">
                <a14:useLocalDpi xmlns:a14="http://schemas.microsoft.com/office/drawing/2010/main" val="0"/>
              </a:ext>
            </a:extLst>
          </a:blip>
          <a:stretch>
            <a:fillRect/>
          </a:stretch>
        </p:blipFill>
        <p:spPr>
          <a:xfrm>
            <a:off x="2351310" y="2389809"/>
            <a:ext cx="524165" cy="517486"/>
          </a:xfrm>
          <a:prstGeom prst="rect">
            <a:avLst/>
          </a:prstGeom>
        </p:spPr>
      </p:pic>
      <p:sp>
        <p:nvSpPr>
          <p:cNvPr id="39" name="Rectangle 38">
            <a:extLst>
              <a:ext uri="{FF2B5EF4-FFF2-40B4-BE49-F238E27FC236}">
                <a16:creationId xmlns:a16="http://schemas.microsoft.com/office/drawing/2014/main" id="{9E8705A8-A357-3315-35BC-F28E88B2B70D}"/>
              </a:ext>
            </a:extLst>
          </p:cNvPr>
          <p:cNvSpPr/>
          <p:nvPr/>
        </p:nvSpPr>
        <p:spPr>
          <a:xfrm>
            <a:off x="1832792" y="2966582"/>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Data feed</a:t>
            </a:r>
          </a:p>
        </p:txBody>
      </p:sp>
      <p:pic>
        <p:nvPicPr>
          <p:cNvPr id="34" name="Picture 33" descr="Icon&#10;&#10;Description automatically generated">
            <a:extLst>
              <a:ext uri="{FF2B5EF4-FFF2-40B4-BE49-F238E27FC236}">
                <a16:creationId xmlns:a16="http://schemas.microsoft.com/office/drawing/2014/main" id="{2AF1D6A2-371E-8C33-CA5B-A04C7692F414}"/>
              </a:ext>
            </a:extLst>
          </p:cNvPr>
          <p:cNvPicPr>
            <a:picLocks noChangeAspect="1"/>
          </p:cNvPicPr>
          <p:nvPr/>
        </p:nvPicPr>
        <p:blipFill>
          <a:blip r:embed="rId9">
            <a:biLevel thresh="75000"/>
            <a:extLst>
              <a:ext uri="{28A0092B-C50C-407E-A947-70E740481C1C}">
                <a14:useLocalDpi xmlns:a14="http://schemas.microsoft.com/office/drawing/2010/main" val="0"/>
              </a:ext>
            </a:extLst>
          </a:blip>
          <a:stretch>
            <a:fillRect/>
          </a:stretch>
        </p:blipFill>
        <p:spPr>
          <a:xfrm>
            <a:off x="3055831" y="2326241"/>
            <a:ext cx="740062" cy="615420"/>
          </a:xfrm>
          <a:prstGeom prst="rect">
            <a:avLst/>
          </a:prstGeom>
        </p:spPr>
      </p:pic>
      <p:sp>
        <p:nvSpPr>
          <p:cNvPr id="40" name="Rectangle 39">
            <a:extLst>
              <a:ext uri="{FF2B5EF4-FFF2-40B4-BE49-F238E27FC236}">
                <a16:creationId xmlns:a16="http://schemas.microsoft.com/office/drawing/2014/main" id="{AB7A4563-5930-61CF-55DD-6A146BDABD4C}"/>
              </a:ext>
            </a:extLst>
          </p:cNvPr>
          <p:cNvSpPr/>
          <p:nvPr/>
        </p:nvSpPr>
        <p:spPr>
          <a:xfrm>
            <a:off x="2647822" y="296052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Data</a:t>
            </a:r>
          </a:p>
        </p:txBody>
      </p:sp>
      <p:pic>
        <p:nvPicPr>
          <p:cNvPr id="36" name="Picture 35" descr="Icon&#10;&#10;Description automatically generated">
            <a:extLst>
              <a:ext uri="{FF2B5EF4-FFF2-40B4-BE49-F238E27FC236}">
                <a16:creationId xmlns:a16="http://schemas.microsoft.com/office/drawing/2014/main" id="{23BAAC39-D12C-80B2-1932-B22B74C202C9}"/>
              </a:ext>
            </a:extLst>
          </p:cNvPr>
          <p:cNvPicPr>
            <a:picLocks noChangeAspect="1"/>
          </p:cNvPicPr>
          <p:nvPr/>
        </p:nvPicPr>
        <p:blipFill>
          <a:blip r:embed="rId10">
            <a:biLevel thresh="75000"/>
            <a:extLst>
              <a:ext uri="{28A0092B-C50C-407E-A947-70E740481C1C}">
                <a14:useLocalDpi xmlns:a14="http://schemas.microsoft.com/office/drawing/2010/main" val="0"/>
              </a:ext>
            </a:extLst>
          </a:blip>
          <a:stretch>
            <a:fillRect/>
          </a:stretch>
        </p:blipFill>
        <p:spPr>
          <a:xfrm>
            <a:off x="4013065" y="2346263"/>
            <a:ext cx="569235" cy="593719"/>
          </a:xfrm>
          <a:prstGeom prst="rect">
            <a:avLst/>
          </a:prstGeom>
        </p:spPr>
      </p:pic>
      <p:sp>
        <p:nvSpPr>
          <p:cNvPr id="41" name="Rectangle 40">
            <a:extLst>
              <a:ext uri="{FF2B5EF4-FFF2-40B4-BE49-F238E27FC236}">
                <a16:creationId xmlns:a16="http://schemas.microsoft.com/office/drawing/2014/main" id="{C62CA7E2-F14B-BB1C-8B81-3A21743566AD}"/>
              </a:ext>
            </a:extLst>
          </p:cNvPr>
          <p:cNvSpPr/>
          <p:nvPr/>
        </p:nvSpPr>
        <p:spPr>
          <a:xfrm>
            <a:off x="3530920" y="295820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Downstream</a:t>
            </a:r>
          </a:p>
        </p:txBody>
      </p:sp>
      <p:pic>
        <p:nvPicPr>
          <p:cNvPr id="43" name="Picture 42" descr="Icon&#10;&#10;Description automatically generated">
            <a:extLst>
              <a:ext uri="{FF2B5EF4-FFF2-40B4-BE49-F238E27FC236}">
                <a16:creationId xmlns:a16="http://schemas.microsoft.com/office/drawing/2014/main" id="{9C1B70EC-D6A0-A93D-6F4A-95171E175DEF}"/>
              </a:ext>
            </a:extLst>
          </p:cNvPr>
          <p:cNvPicPr>
            <a:picLocks noChangeAspect="1"/>
          </p:cNvPicPr>
          <p:nvPr/>
        </p:nvPicPr>
        <p:blipFill>
          <a:blip r:embed="rId11">
            <a:biLevel thresh="75000"/>
            <a:extLst>
              <a:ext uri="{28A0092B-C50C-407E-A947-70E740481C1C}">
                <a14:useLocalDpi xmlns:a14="http://schemas.microsoft.com/office/drawing/2010/main" val="0"/>
              </a:ext>
            </a:extLst>
          </a:blip>
          <a:stretch>
            <a:fillRect/>
          </a:stretch>
        </p:blipFill>
        <p:spPr>
          <a:xfrm>
            <a:off x="4765933" y="2287555"/>
            <a:ext cx="730450" cy="664691"/>
          </a:xfrm>
          <a:prstGeom prst="rect">
            <a:avLst/>
          </a:prstGeom>
        </p:spPr>
      </p:pic>
      <p:sp>
        <p:nvSpPr>
          <p:cNvPr id="44" name="Rectangle 43">
            <a:extLst>
              <a:ext uri="{FF2B5EF4-FFF2-40B4-BE49-F238E27FC236}">
                <a16:creationId xmlns:a16="http://schemas.microsoft.com/office/drawing/2014/main" id="{3AA56329-953D-C563-6D17-DF8962947810}"/>
              </a:ext>
            </a:extLst>
          </p:cNvPr>
          <p:cNvSpPr/>
          <p:nvPr/>
        </p:nvSpPr>
        <p:spPr>
          <a:xfrm>
            <a:off x="4364396" y="297515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Energy</a:t>
            </a:r>
          </a:p>
          <a:p>
            <a:pPr algn="ctr"/>
            <a:r>
              <a:rPr lang="en-US" sz="1100">
                <a:solidFill>
                  <a:schemeClr val="tx1"/>
                </a:solidFill>
                <a:latin typeface="Ubuntu" panose="020B0504030602030204" pitchFamily="34" charset="0"/>
              </a:rPr>
              <a:t>transition</a:t>
            </a:r>
          </a:p>
        </p:txBody>
      </p:sp>
      <p:pic>
        <p:nvPicPr>
          <p:cNvPr id="46" name="Picture 45" descr="Logo, icon&#10;&#10;Description automatically generated">
            <a:extLst>
              <a:ext uri="{FF2B5EF4-FFF2-40B4-BE49-F238E27FC236}">
                <a16:creationId xmlns:a16="http://schemas.microsoft.com/office/drawing/2014/main" id="{337D56EE-A7D3-C58A-D567-CAB4553E8F8C}"/>
              </a:ext>
            </a:extLst>
          </p:cNvPr>
          <p:cNvPicPr>
            <a:picLocks noChangeAspect="1"/>
          </p:cNvPicPr>
          <p:nvPr/>
        </p:nvPicPr>
        <p:blipFill>
          <a:blip r:embed="rId12">
            <a:biLevel thresh="75000"/>
            <a:extLst>
              <a:ext uri="{28A0092B-C50C-407E-A947-70E740481C1C}">
                <a14:useLocalDpi xmlns:a14="http://schemas.microsoft.com/office/drawing/2010/main" val="0"/>
              </a:ext>
            </a:extLst>
          </a:blip>
          <a:stretch>
            <a:fillRect/>
          </a:stretch>
        </p:blipFill>
        <p:spPr>
          <a:xfrm>
            <a:off x="7346468" y="2331447"/>
            <a:ext cx="664691" cy="664691"/>
          </a:xfrm>
          <a:prstGeom prst="rect">
            <a:avLst/>
          </a:prstGeom>
        </p:spPr>
      </p:pic>
      <p:sp>
        <p:nvSpPr>
          <p:cNvPr id="47" name="Rectangle 46">
            <a:extLst>
              <a:ext uri="{FF2B5EF4-FFF2-40B4-BE49-F238E27FC236}">
                <a16:creationId xmlns:a16="http://schemas.microsoft.com/office/drawing/2014/main" id="{2F3934A1-13F2-42A5-9826-99B6C84F0D76}"/>
              </a:ext>
            </a:extLst>
          </p:cNvPr>
          <p:cNvSpPr/>
          <p:nvPr/>
        </p:nvSpPr>
        <p:spPr>
          <a:xfrm>
            <a:off x="6912051" y="298485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Hydrogen</a:t>
            </a:r>
          </a:p>
        </p:txBody>
      </p:sp>
      <p:sp>
        <p:nvSpPr>
          <p:cNvPr id="52" name="Rectangle 51">
            <a:extLst>
              <a:ext uri="{FF2B5EF4-FFF2-40B4-BE49-F238E27FC236}">
                <a16:creationId xmlns:a16="http://schemas.microsoft.com/office/drawing/2014/main" id="{DE21F87E-A538-34E8-B4FA-BCC00F2243A2}"/>
              </a:ext>
            </a:extLst>
          </p:cNvPr>
          <p:cNvSpPr/>
          <p:nvPr/>
        </p:nvSpPr>
        <p:spPr>
          <a:xfrm>
            <a:off x="8952543" y="507471"/>
            <a:ext cx="2652631"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a:solidFill>
                  <a:schemeClr val="accent1"/>
                </a:solidFill>
                <a:latin typeface="Ubuntu" panose="020B0504030602030204" pitchFamily="34" charset="0"/>
              </a:rPr>
              <a:t>More icons on SharePoint - here:</a:t>
            </a:r>
          </a:p>
        </p:txBody>
      </p:sp>
      <p:pic>
        <p:nvPicPr>
          <p:cNvPr id="49" name="Picture 48" descr="Icon&#10;&#10;Description automatically generated">
            <a:extLst>
              <a:ext uri="{FF2B5EF4-FFF2-40B4-BE49-F238E27FC236}">
                <a16:creationId xmlns:a16="http://schemas.microsoft.com/office/drawing/2014/main" id="{58EEA195-6924-2752-4F00-0EA95030D0B9}"/>
              </a:ext>
            </a:extLst>
          </p:cNvPr>
          <p:cNvPicPr>
            <a:picLocks noChangeAspect="1"/>
          </p:cNvPicPr>
          <p:nvPr/>
        </p:nvPicPr>
        <p:blipFill>
          <a:blip r:embed="rId13">
            <a:biLevel thresh="75000"/>
            <a:extLst>
              <a:ext uri="{28A0092B-C50C-407E-A947-70E740481C1C}">
                <a14:useLocalDpi xmlns:a14="http://schemas.microsoft.com/office/drawing/2010/main" val="0"/>
              </a:ext>
            </a:extLst>
          </a:blip>
          <a:stretch>
            <a:fillRect/>
          </a:stretch>
        </p:blipFill>
        <p:spPr>
          <a:xfrm>
            <a:off x="2388852" y="3504680"/>
            <a:ext cx="421404" cy="565217"/>
          </a:xfrm>
          <a:prstGeom prst="rect">
            <a:avLst/>
          </a:prstGeom>
        </p:spPr>
      </p:pic>
      <p:sp>
        <p:nvSpPr>
          <p:cNvPr id="2" name="Rectangle 1">
            <a:extLst>
              <a:ext uri="{FF2B5EF4-FFF2-40B4-BE49-F238E27FC236}">
                <a16:creationId xmlns:a16="http://schemas.microsoft.com/office/drawing/2014/main" id="{505F71C1-C8E4-FA82-9BC5-98803945AA89}"/>
              </a:ext>
            </a:extLst>
          </p:cNvPr>
          <p:cNvSpPr/>
          <p:nvPr/>
        </p:nvSpPr>
        <p:spPr>
          <a:xfrm>
            <a:off x="1832792" y="413666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amp; gas_1</a:t>
            </a:r>
          </a:p>
        </p:txBody>
      </p:sp>
      <p:pic>
        <p:nvPicPr>
          <p:cNvPr id="5" name="Picture 4">
            <a:extLst>
              <a:ext uri="{FF2B5EF4-FFF2-40B4-BE49-F238E27FC236}">
                <a16:creationId xmlns:a16="http://schemas.microsoft.com/office/drawing/2014/main" id="{6F45620D-A4C4-1D04-02B4-2669C34526D6}"/>
              </a:ext>
            </a:extLst>
          </p:cNvPr>
          <p:cNvPicPr>
            <a:picLocks noChangeAspect="1"/>
          </p:cNvPicPr>
          <p:nvPr/>
        </p:nvPicPr>
        <p:blipFill>
          <a:blip r:embed="rId14">
            <a:biLevel thresh="75000"/>
            <a:extLst>
              <a:ext uri="{28A0092B-C50C-407E-A947-70E740481C1C}">
                <a14:useLocalDpi xmlns:a14="http://schemas.microsoft.com/office/drawing/2010/main" val="0"/>
              </a:ext>
            </a:extLst>
          </a:blip>
          <a:stretch>
            <a:fillRect/>
          </a:stretch>
        </p:blipFill>
        <p:spPr>
          <a:xfrm>
            <a:off x="9915943" y="3414583"/>
            <a:ext cx="681079" cy="704450"/>
          </a:xfrm>
          <a:prstGeom prst="rect">
            <a:avLst/>
          </a:prstGeom>
        </p:spPr>
      </p:pic>
      <p:sp>
        <p:nvSpPr>
          <p:cNvPr id="6" name="Rectangle 5">
            <a:extLst>
              <a:ext uri="{FF2B5EF4-FFF2-40B4-BE49-F238E27FC236}">
                <a16:creationId xmlns:a16="http://schemas.microsoft.com/office/drawing/2014/main" id="{79852F09-C597-7957-1CED-0745322EE370}"/>
              </a:ext>
            </a:extLst>
          </p:cNvPr>
          <p:cNvSpPr/>
          <p:nvPr/>
        </p:nvSpPr>
        <p:spPr>
          <a:xfrm>
            <a:off x="9489720" y="414475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Renewables</a:t>
            </a:r>
          </a:p>
        </p:txBody>
      </p:sp>
      <p:pic>
        <p:nvPicPr>
          <p:cNvPr id="8" name="Picture 7" descr="Icon&#10;&#10;Description automatically generated with low confidence">
            <a:extLst>
              <a:ext uri="{FF2B5EF4-FFF2-40B4-BE49-F238E27FC236}">
                <a16:creationId xmlns:a16="http://schemas.microsoft.com/office/drawing/2014/main" id="{21BA0447-2B77-1A20-CEDD-449BC4F1EF52}"/>
              </a:ext>
            </a:extLst>
          </p:cNvPr>
          <p:cNvPicPr>
            <a:picLocks noChangeAspect="1"/>
          </p:cNvPicPr>
          <p:nvPr/>
        </p:nvPicPr>
        <p:blipFill>
          <a:blip r:embed="rId15">
            <a:biLevel thresh="75000"/>
            <a:extLst>
              <a:ext uri="{28A0092B-C50C-407E-A947-70E740481C1C}">
                <a14:useLocalDpi xmlns:a14="http://schemas.microsoft.com/office/drawing/2010/main" val="0"/>
              </a:ext>
            </a:extLst>
          </a:blip>
          <a:stretch>
            <a:fillRect/>
          </a:stretch>
        </p:blipFill>
        <p:spPr>
          <a:xfrm>
            <a:off x="596194" y="4615078"/>
            <a:ext cx="684280" cy="572073"/>
          </a:xfrm>
          <a:prstGeom prst="rect">
            <a:avLst/>
          </a:prstGeom>
        </p:spPr>
      </p:pic>
      <p:sp>
        <p:nvSpPr>
          <p:cNvPr id="9" name="Rectangle 8">
            <a:extLst>
              <a:ext uri="{FF2B5EF4-FFF2-40B4-BE49-F238E27FC236}">
                <a16:creationId xmlns:a16="http://schemas.microsoft.com/office/drawing/2014/main" id="{ADEEC0F0-05B6-4014-2372-28371B0C7013}"/>
              </a:ext>
            </a:extLst>
          </p:cNvPr>
          <p:cNvSpPr/>
          <p:nvPr/>
        </p:nvSpPr>
        <p:spPr>
          <a:xfrm>
            <a:off x="151017" y="527906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Rigs &amp; vessels</a:t>
            </a:r>
          </a:p>
        </p:txBody>
      </p:sp>
      <p:pic>
        <p:nvPicPr>
          <p:cNvPr id="12" name="Picture 11" descr="Logo, icon&#10;&#10;Description automatically generated">
            <a:extLst>
              <a:ext uri="{FF2B5EF4-FFF2-40B4-BE49-F238E27FC236}">
                <a16:creationId xmlns:a16="http://schemas.microsoft.com/office/drawing/2014/main" id="{14E18B82-3590-C947-1F0D-618A4664B371}"/>
              </a:ext>
            </a:extLst>
          </p:cNvPr>
          <p:cNvPicPr>
            <a:picLocks noChangeAspect="1"/>
          </p:cNvPicPr>
          <p:nvPr/>
        </p:nvPicPr>
        <p:blipFill>
          <a:blip r:embed="rId16">
            <a:biLevel thresh="75000"/>
            <a:extLst>
              <a:ext uri="{28A0092B-C50C-407E-A947-70E740481C1C}">
                <a14:useLocalDpi xmlns:a14="http://schemas.microsoft.com/office/drawing/2010/main" val="0"/>
              </a:ext>
            </a:extLst>
          </a:blip>
          <a:stretch>
            <a:fillRect/>
          </a:stretch>
        </p:blipFill>
        <p:spPr>
          <a:xfrm>
            <a:off x="2260754" y="4596063"/>
            <a:ext cx="664691" cy="664691"/>
          </a:xfrm>
          <a:prstGeom prst="rect">
            <a:avLst/>
          </a:prstGeom>
        </p:spPr>
      </p:pic>
      <p:sp>
        <p:nvSpPr>
          <p:cNvPr id="16" name="Rectangle 15">
            <a:extLst>
              <a:ext uri="{FF2B5EF4-FFF2-40B4-BE49-F238E27FC236}">
                <a16:creationId xmlns:a16="http://schemas.microsoft.com/office/drawing/2014/main" id="{C9FAC6B1-8613-2B89-07B1-465ABC97DA9D}"/>
              </a:ext>
            </a:extLst>
          </p:cNvPr>
          <p:cNvSpPr/>
          <p:nvPr/>
        </p:nvSpPr>
        <p:spPr>
          <a:xfrm>
            <a:off x="1832792" y="526562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ervice markets</a:t>
            </a:r>
          </a:p>
        </p:txBody>
      </p:sp>
      <p:pic>
        <p:nvPicPr>
          <p:cNvPr id="22" name="Picture 21" descr="Logo, icon&#10;&#10;Description automatically generated">
            <a:extLst>
              <a:ext uri="{FF2B5EF4-FFF2-40B4-BE49-F238E27FC236}">
                <a16:creationId xmlns:a16="http://schemas.microsoft.com/office/drawing/2014/main" id="{ABE3FEE6-FA41-8E1D-40B3-79C04B53591B}"/>
              </a:ext>
            </a:extLst>
          </p:cNvPr>
          <p:cNvPicPr>
            <a:picLocks noChangeAspect="1"/>
          </p:cNvPicPr>
          <p:nvPr/>
        </p:nvPicPr>
        <p:blipFill>
          <a:blip r:embed="rId17">
            <a:biLevel thresh="75000"/>
            <a:extLst>
              <a:ext uri="{28A0092B-C50C-407E-A947-70E740481C1C}">
                <a14:useLocalDpi xmlns:a14="http://schemas.microsoft.com/office/drawing/2010/main" val="0"/>
              </a:ext>
            </a:extLst>
          </a:blip>
          <a:stretch>
            <a:fillRect/>
          </a:stretch>
        </p:blipFill>
        <p:spPr>
          <a:xfrm>
            <a:off x="6498456" y="4568887"/>
            <a:ext cx="637375" cy="637375"/>
          </a:xfrm>
          <a:prstGeom prst="rect">
            <a:avLst/>
          </a:prstGeom>
        </p:spPr>
      </p:pic>
      <p:sp>
        <p:nvSpPr>
          <p:cNvPr id="25" name="Rectangle 24">
            <a:extLst>
              <a:ext uri="{FF2B5EF4-FFF2-40B4-BE49-F238E27FC236}">
                <a16:creationId xmlns:a16="http://schemas.microsoft.com/office/drawing/2014/main" id="{584CEE21-40F1-B38B-B0B7-5BA9CCBD285E}"/>
              </a:ext>
            </a:extLst>
          </p:cNvPr>
          <p:cNvSpPr/>
          <p:nvPr/>
        </p:nvSpPr>
        <p:spPr>
          <a:xfrm>
            <a:off x="6050381" y="528384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upply</a:t>
            </a:r>
          </a:p>
          <a:p>
            <a:pPr algn="ctr"/>
            <a:r>
              <a:rPr lang="en-US" sz="1100">
                <a:solidFill>
                  <a:schemeClr val="tx1"/>
                </a:solidFill>
                <a:latin typeface="Ubuntu" panose="020B0504030602030204" pitchFamily="34" charset="0"/>
              </a:rPr>
              <a:t>chain</a:t>
            </a:r>
          </a:p>
        </p:txBody>
      </p:sp>
      <p:pic>
        <p:nvPicPr>
          <p:cNvPr id="31" name="Picture 30" descr="Icon&#10;&#10;Description automatically generated">
            <a:extLst>
              <a:ext uri="{FF2B5EF4-FFF2-40B4-BE49-F238E27FC236}">
                <a16:creationId xmlns:a16="http://schemas.microsoft.com/office/drawing/2014/main" id="{5FD4475A-9D89-2589-BE57-D67EBEE99CBF}"/>
              </a:ext>
            </a:extLst>
          </p:cNvPr>
          <p:cNvPicPr>
            <a:picLocks noChangeAspect="1"/>
          </p:cNvPicPr>
          <p:nvPr/>
        </p:nvPicPr>
        <p:blipFill>
          <a:blip r:embed="rId18">
            <a:biLevel thresh="75000"/>
            <a:extLst>
              <a:ext uri="{28A0092B-C50C-407E-A947-70E740481C1C}">
                <a14:useLocalDpi xmlns:a14="http://schemas.microsoft.com/office/drawing/2010/main" val="0"/>
              </a:ext>
            </a:extLst>
          </a:blip>
          <a:stretch>
            <a:fillRect/>
          </a:stretch>
        </p:blipFill>
        <p:spPr>
          <a:xfrm>
            <a:off x="5757698" y="5756484"/>
            <a:ext cx="524247" cy="523410"/>
          </a:xfrm>
          <a:prstGeom prst="rect">
            <a:avLst/>
          </a:prstGeom>
        </p:spPr>
      </p:pic>
      <p:sp>
        <p:nvSpPr>
          <p:cNvPr id="33" name="Rectangle 32">
            <a:extLst>
              <a:ext uri="{FF2B5EF4-FFF2-40B4-BE49-F238E27FC236}">
                <a16:creationId xmlns:a16="http://schemas.microsoft.com/office/drawing/2014/main" id="{CBBD5FC8-57F6-D639-9CA0-90A3038D28A1}"/>
              </a:ext>
            </a:extLst>
          </p:cNvPr>
          <p:cNvSpPr/>
          <p:nvPr/>
        </p:nvSpPr>
        <p:spPr>
          <a:xfrm>
            <a:off x="5253059" y="630777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ind offshore</a:t>
            </a:r>
          </a:p>
        </p:txBody>
      </p:sp>
      <p:pic>
        <p:nvPicPr>
          <p:cNvPr id="37" name="Picture 36" descr="Icon&#10;&#10;Description automatically generated">
            <a:extLst>
              <a:ext uri="{FF2B5EF4-FFF2-40B4-BE49-F238E27FC236}">
                <a16:creationId xmlns:a16="http://schemas.microsoft.com/office/drawing/2014/main" id="{0EA3A16C-9D9D-024B-35F9-D66709EB1506}"/>
              </a:ext>
            </a:extLst>
          </p:cNvPr>
          <p:cNvPicPr>
            <a:picLocks noChangeAspect="1"/>
          </p:cNvPicPr>
          <p:nvPr/>
        </p:nvPicPr>
        <p:blipFill>
          <a:blip r:embed="rId19">
            <a:biLevel thresh="75000"/>
            <a:extLst>
              <a:ext uri="{28A0092B-C50C-407E-A947-70E740481C1C}">
                <a14:useLocalDpi xmlns:a14="http://schemas.microsoft.com/office/drawing/2010/main" val="0"/>
              </a:ext>
            </a:extLst>
          </a:blip>
          <a:stretch>
            <a:fillRect/>
          </a:stretch>
        </p:blipFill>
        <p:spPr>
          <a:xfrm>
            <a:off x="7395815" y="5746015"/>
            <a:ext cx="529264" cy="529264"/>
          </a:xfrm>
          <a:prstGeom prst="rect">
            <a:avLst/>
          </a:prstGeom>
        </p:spPr>
      </p:pic>
      <p:sp>
        <p:nvSpPr>
          <p:cNvPr id="38" name="Rectangle 37">
            <a:extLst>
              <a:ext uri="{FF2B5EF4-FFF2-40B4-BE49-F238E27FC236}">
                <a16:creationId xmlns:a16="http://schemas.microsoft.com/office/drawing/2014/main" id="{86789CD4-8F34-AC8E-14DF-31541FDC40B5}"/>
              </a:ext>
            </a:extLst>
          </p:cNvPr>
          <p:cNvSpPr/>
          <p:nvPr/>
        </p:nvSpPr>
        <p:spPr>
          <a:xfrm>
            <a:off x="6912051" y="630733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ork</a:t>
            </a:r>
          </a:p>
        </p:txBody>
      </p:sp>
      <p:pic>
        <p:nvPicPr>
          <p:cNvPr id="45" name="Picture 44" descr="Icon&#10;&#10;Description automatically generated">
            <a:extLst>
              <a:ext uri="{FF2B5EF4-FFF2-40B4-BE49-F238E27FC236}">
                <a16:creationId xmlns:a16="http://schemas.microsoft.com/office/drawing/2014/main" id="{62665C4E-63E4-8FB6-27A8-5C369146FAAA}"/>
              </a:ext>
            </a:extLst>
          </p:cNvPr>
          <p:cNvPicPr>
            <a:picLocks noChangeAspect="1"/>
          </p:cNvPicPr>
          <p:nvPr/>
        </p:nvPicPr>
        <p:blipFill>
          <a:blip r:embed="rId20">
            <a:biLevel thresh="75000"/>
            <a:extLst>
              <a:ext uri="{28A0092B-C50C-407E-A947-70E740481C1C}">
                <a14:useLocalDpi xmlns:a14="http://schemas.microsoft.com/office/drawing/2010/main" val="0"/>
              </a:ext>
            </a:extLst>
          </a:blip>
          <a:stretch>
            <a:fillRect/>
          </a:stretch>
        </p:blipFill>
        <p:spPr>
          <a:xfrm>
            <a:off x="10966732" y="3451255"/>
            <a:ext cx="466395" cy="648504"/>
          </a:xfrm>
          <a:prstGeom prst="rect">
            <a:avLst/>
          </a:prstGeom>
        </p:spPr>
      </p:pic>
      <p:sp>
        <p:nvSpPr>
          <p:cNvPr id="48" name="Rectangle 47">
            <a:extLst>
              <a:ext uri="{FF2B5EF4-FFF2-40B4-BE49-F238E27FC236}">
                <a16:creationId xmlns:a16="http://schemas.microsoft.com/office/drawing/2014/main" id="{662ED029-954F-C2EB-E363-828B1BE4CC42}"/>
              </a:ext>
            </a:extLst>
          </p:cNvPr>
          <p:cNvSpPr/>
          <p:nvPr/>
        </p:nvSpPr>
        <p:spPr>
          <a:xfrm>
            <a:off x="10433167" y="414393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Reports</a:t>
            </a:r>
          </a:p>
        </p:txBody>
      </p:sp>
      <p:pic>
        <p:nvPicPr>
          <p:cNvPr id="54" name="Picture 53" descr="Icon&#10;&#10;Description automatically generated">
            <a:extLst>
              <a:ext uri="{FF2B5EF4-FFF2-40B4-BE49-F238E27FC236}">
                <a16:creationId xmlns:a16="http://schemas.microsoft.com/office/drawing/2014/main" id="{940DDF99-C048-933C-9A77-29EF00981DC1}"/>
              </a:ext>
            </a:extLst>
          </p:cNvPr>
          <p:cNvPicPr>
            <a:picLocks noChangeAspect="1"/>
          </p:cNvPicPr>
          <p:nvPr/>
        </p:nvPicPr>
        <p:blipFill>
          <a:blip r:embed="rId21">
            <a:biLevel thresh="75000"/>
            <a:extLst>
              <a:ext uri="{28A0092B-C50C-407E-A947-70E740481C1C}">
                <a14:useLocalDpi xmlns:a14="http://schemas.microsoft.com/office/drawing/2010/main" val="0"/>
              </a:ext>
            </a:extLst>
          </a:blip>
          <a:stretch>
            <a:fillRect/>
          </a:stretch>
        </p:blipFill>
        <p:spPr>
          <a:xfrm>
            <a:off x="3943116" y="1342070"/>
            <a:ext cx="681522" cy="552759"/>
          </a:xfrm>
          <a:prstGeom prst="rect">
            <a:avLst/>
          </a:prstGeom>
        </p:spPr>
      </p:pic>
      <p:sp>
        <p:nvSpPr>
          <p:cNvPr id="61" name="Rectangle 60">
            <a:extLst>
              <a:ext uri="{FF2B5EF4-FFF2-40B4-BE49-F238E27FC236}">
                <a16:creationId xmlns:a16="http://schemas.microsoft.com/office/drawing/2014/main" id="{71864119-90FC-EF14-13E2-4582C8CC2016}"/>
              </a:ext>
            </a:extLst>
          </p:cNvPr>
          <p:cNvSpPr/>
          <p:nvPr/>
        </p:nvSpPr>
        <p:spPr>
          <a:xfrm>
            <a:off x="3530920" y="189963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Batteries_3</a:t>
            </a:r>
          </a:p>
        </p:txBody>
      </p:sp>
      <p:pic>
        <p:nvPicPr>
          <p:cNvPr id="58" name="Picture 57" descr="Icon&#10;&#10;Description automatically generated">
            <a:extLst>
              <a:ext uri="{FF2B5EF4-FFF2-40B4-BE49-F238E27FC236}">
                <a16:creationId xmlns:a16="http://schemas.microsoft.com/office/drawing/2014/main" id="{56AF7070-3AAC-CEEE-6B0A-AE3BAE229EB3}"/>
              </a:ext>
            </a:extLst>
          </p:cNvPr>
          <p:cNvPicPr>
            <a:picLocks noChangeAspect="1"/>
          </p:cNvPicPr>
          <p:nvPr/>
        </p:nvPicPr>
        <p:blipFill>
          <a:blip r:embed="rId22">
            <a:biLevel thresh="75000"/>
            <a:extLst>
              <a:ext uri="{28A0092B-C50C-407E-A947-70E740481C1C}">
                <a14:useLocalDpi xmlns:a14="http://schemas.microsoft.com/office/drawing/2010/main" val="0"/>
              </a:ext>
            </a:extLst>
          </a:blip>
          <a:stretch>
            <a:fillRect/>
          </a:stretch>
        </p:blipFill>
        <p:spPr>
          <a:xfrm>
            <a:off x="2425390" y="1257793"/>
            <a:ext cx="348329" cy="668838"/>
          </a:xfrm>
          <a:prstGeom prst="rect">
            <a:avLst/>
          </a:prstGeom>
        </p:spPr>
      </p:pic>
      <p:sp>
        <p:nvSpPr>
          <p:cNvPr id="62" name="Rectangle 61">
            <a:extLst>
              <a:ext uri="{FF2B5EF4-FFF2-40B4-BE49-F238E27FC236}">
                <a16:creationId xmlns:a16="http://schemas.microsoft.com/office/drawing/2014/main" id="{8629BBC4-75D7-0DA3-F6BD-09F14F67CFAC}"/>
              </a:ext>
            </a:extLst>
          </p:cNvPr>
          <p:cNvSpPr/>
          <p:nvPr/>
        </p:nvSpPr>
        <p:spPr>
          <a:xfrm>
            <a:off x="1832792" y="1901972"/>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Batteries_1</a:t>
            </a:r>
          </a:p>
        </p:txBody>
      </p:sp>
      <p:pic>
        <p:nvPicPr>
          <p:cNvPr id="56" name="Picture 55" descr="Shape&#10;&#10;Description automatically generated with low confidence">
            <a:extLst>
              <a:ext uri="{FF2B5EF4-FFF2-40B4-BE49-F238E27FC236}">
                <a16:creationId xmlns:a16="http://schemas.microsoft.com/office/drawing/2014/main" id="{B31FDA9C-C097-6FE6-2ED4-EBAB17201C39}"/>
              </a:ext>
            </a:extLst>
          </p:cNvPr>
          <p:cNvPicPr>
            <a:picLocks noChangeAspect="1"/>
          </p:cNvPicPr>
          <p:nvPr/>
        </p:nvPicPr>
        <p:blipFill>
          <a:blip r:embed="rId23">
            <a:biLevel thresh="75000"/>
            <a:extLst>
              <a:ext uri="{28A0092B-C50C-407E-A947-70E740481C1C}">
                <a14:useLocalDpi xmlns:a14="http://schemas.microsoft.com/office/drawing/2010/main" val="0"/>
              </a:ext>
            </a:extLst>
          </a:blip>
          <a:stretch>
            <a:fillRect/>
          </a:stretch>
        </p:blipFill>
        <p:spPr>
          <a:xfrm>
            <a:off x="3240420" y="1238838"/>
            <a:ext cx="348329" cy="668838"/>
          </a:xfrm>
          <a:prstGeom prst="rect">
            <a:avLst/>
          </a:prstGeom>
        </p:spPr>
      </p:pic>
      <p:sp>
        <p:nvSpPr>
          <p:cNvPr id="63" name="Rectangle 62">
            <a:extLst>
              <a:ext uri="{FF2B5EF4-FFF2-40B4-BE49-F238E27FC236}">
                <a16:creationId xmlns:a16="http://schemas.microsoft.com/office/drawing/2014/main" id="{F3685ED9-7688-A90D-94CC-CFF2667E2032}"/>
              </a:ext>
            </a:extLst>
          </p:cNvPr>
          <p:cNvSpPr/>
          <p:nvPr/>
        </p:nvSpPr>
        <p:spPr>
          <a:xfrm>
            <a:off x="2647822" y="190206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Batteries_2</a:t>
            </a:r>
          </a:p>
        </p:txBody>
      </p:sp>
      <p:pic>
        <p:nvPicPr>
          <p:cNvPr id="65" name="Picture 64" descr="Icon&#10;&#10;Description automatically generated">
            <a:extLst>
              <a:ext uri="{FF2B5EF4-FFF2-40B4-BE49-F238E27FC236}">
                <a16:creationId xmlns:a16="http://schemas.microsoft.com/office/drawing/2014/main" id="{611DDAAA-22D7-95A6-2464-4F00B6E6B52B}"/>
              </a:ext>
            </a:extLst>
          </p:cNvPr>
          <p:cNvPicPr>
            <a:picLocks noChangeAspect="1"/>
          </p:cNvPicPr>
          <p:nvPr/>
        </p:nvPicPr>
        <p:blipFill>
          <a:blip r:embed="rId24">
            <a:biLevel thresh="75000"/>
            <a:extLst>
              <a:ext uri="{28A0092B-C50C-407E-A947-70E740481C1C}">
                <a14:useLocalDpi xmlns:a14="http://schemas.microsoft.com/office/drawing/2010/main" val="0"/>
              </a:ext>
            </a:extLst>
          </a:blip>
          <a:stretch>
            <a:fillRect/>
          </a:stretch>
        </p:blipFill>
        <p:spPr>
          <a:xfrm>
            <a:off x="5589532" y="1180102"/>
            <a:ext cx="682193" cy="682193"/>
          </a:xfrm>
          <a:prstGeom prst="rect">
            <a:avLst/>
          </a:prstGeom>
        </p:spPr>
      </p:pic>
      <p:sp>
        <p:nvSpPr>
          <p:cNvPr id="68" name="Rectangle 67">
            <a:extLst>
              <a:ext uri="{FF2B5EF4-FFF2-40B4-BE49-F238E27FC236}">
                <a16:creationId xmlns:a16="http://schemas.microsoft.com/office/drawing/2014/main" id="{EB800516-571B-80BC-BB1A-88BA5B598DBA}"/>
              </a:ext>
            </a:extLst>
          </p:cNvPr>
          <p:cNvSpPr/>
          <p:nvPr/>
        </p:nvSpPr>
        <p:spPr>
          <a:xfrm>
            <a:off x="5163866" y="191495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harts</a:t>
            </a:r>
          </a:p>
        </p:txBody>
      </p:sp>
      <p:pic>
        <p:nvPicPr>
          <p:cNvPr id="74" name="Picture 73" descr="Icon&#10;&#10;Description automatically generated">
            <a:extLst>
              <a:ext uri="{FF2B5EF4-FFF2-40B4-BE49-F238E27FC236}">
                <a16:creationId xmlns:a16="http://schemas.microsoft.com/office/drawing/2014/main" id="{21997DBA-AC80-7813-1134-262164F8A619}"/>
              </a:ext>
            </a:extLst>
          </p:cNvPr>
          <p:cNvPicPr>
            <a:picLocks noChangeAspect="1"/>
          </p:cNvPicPr>
          <p:nvPr/>
        </p:nvPicPr>
        <p:blipFill>
          <a:blip r:embed="rId25">
            <a:biLevel thresh="75000"/>
            <a:extLst>
              <a:ext uri="{28A0092B-C50C-407E-A947-70E740481C1C}">
                <a14:useLocalDpi xmlns:a14="http://schemas.microsoft.com/office/drawing/2010/main" val="0"/>
              </a:ext>
            </a:extLst>
          </a:blip>
          <a:stretch>
            <a:fillRect/>
          </a:stretch>
        </p:blipFill>
        <p:spPr>
          <a:xfrm>
            <a:off x="8239792" y="2289136"/>
            <a:ext cx="510475" cy="657376"/>
          </a:xfrm>
          <a:prstGeom prst="rect">
            <a:avLst/>
          </a:prstGeom>
        </p:spPr>
      </p:pic>
      <p:sp>
        <p:nvSpPr>
          <p:cNvPr id="75" name="Rectangle 74">
            <a:extLst>
              <a:ext uri="{FF2B5EF4-FFF2-40B4-BE49-F238E27FC236}">
                <a16:creationId xmlns:a16="http://schemas.microsoft.com/office/drawing/2014/main" id="{66FAD7FA-39B2-4FBC-411F-72AAA0D3A12C}"/>
              </a:ext>
            </a:extLst>
          </p:cNvPr>
          <p:cNvSpPr/>
          <p:nvPr/>
        </p:nvSpPr>
        <p:spPr>
          <a:xfrm>
            <a:off x="7771987" y="2978096"/>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In the news</a:t>
            </a:r>
          </a:p>
        </p:txBody>
      </p:sp>
      <p:pic>
        <p:nvPicPr>
          <p:cNvPr id="72" name="Picture 71" descr="Logo, icon&#10;&#10;Description automatically generated">
            <a:extLst>
              <a:ext uri="{FF2B5EF4-FFF2-40B4-BE49-F238E27FC236}">
                <a16:creationId xmlns:a16="http://schemas.microsoft.com/office/drawing/2014/main" id="{0CCE2134-56AF-3DE1-9467-8A88B7D904BE}"/>
              </a:ext>
            </a:extLst>
          </p:cNvPr>
          <p:cNvPicPr>
            <a:picLocks noChangeAspect="1"/>
          </p:cNvPicPr>
          <p:nvPr/>
        </p:nvPicPr>
        <p:blipFill>
          <a:blip r:embed="rId26">
            <a:biLevel thresh="75000"/>
            <a:extLst>
              <a:ext uri="{28A0092B-C50C-407E-A947-70E740481C1C}">
                <a14:useLocalDpi xmlns:a14="http://schemas.microsoft.com/office/drawing/2010/main" val="0"/>
              </a:ext>
            </a:extLst>
          </a:blip>
          <a:stretch>
            <a:fillRect/>
          </a:stretch>
        </p:blipFill>
        <p:spPr>
          <a:xfrm>
            <a:off x="7247296" y="1304664"/>
            <a:ext cx="863035" cy="554546"/>
          </a:xfrm>
          <a:prstGeom prst="rect">
            <a:avLst/>
          </a:prstGeom>
        </p:spPr>
      </p:pic>
      <p:sp>
        <p:nvSpPr>
          <p:cNvPr id="76" name="Rectangle 75">
            <a:extLst>
              <a:ext uri="{FF2B5EF4-FFF2-40B4-BE49-F238E27FC236}">
                <a16:creationId xmlns:a16="http://schemas.microsoft.com/office/drawing/2014/main" id="{CD15E1BC-E98B-2273-F890-9F105BD41E29}"/>
              </a:ext>
            </a:extLst>
          </p:cNvPr>
          <p:cNvSpPr/>
          <p:nvPr/>
        </p:nvSpPr>
        <p:spPr>
          <a:xfrm>
            <a:off x="6912051" y="190286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O2_1</a:t>
            </a:r>
          </a:p>
        </p:txBody>
      </p:sp>
      <p:pic>
        <p:nvPicPr>
          <p:cNvPr id="70" name="Picture 69" descr="Logo, icon&#10;&#10;Description automatically generated">
            <a:extLst>
              <a:ext uri="{FF2B5EF4-FFF2-40B4-BE49-F238E27FC236}">
                <a16:creationId xmlns:a16="http://schemas.microsoft.com/office/drawing/2014/main" id="{3962010B-AF2F-64D8-3A69-27463D7F6FB0}"/>
              </a:ext>
            </a:extLst>
          </p:cNvPr>
          <p:cNvPicPr>
            <a:picLocks noChangeAspect="1"/>
          </p:cNvPicPr>
          <p:nvPr/>
        </p:nvPicPr>
        <p:blipFill>
          <a:blip r:embed="rId27">
            <a:biLevel thresh="75000"/>
            <a:extLst>
              <a:ext uri="{28A0092B-C50C-407E-A947-70E740481C1C}">
                <a14:useLocalDpi xmlns:a14="http://schemas.microsoft.com/office/drawing/2010/main" val="0"/>
              </a:ext>
            </a:extLst>
          </a:blip>
          <a:stretch>
            <a:fillRect/>
          </a:stretch>
        </p:blipFill>
        <p:spPr>
          <a:xfrm>
            <a:off x="8236617" y="1295055"/>
            <a:ext cx="604265" cy="604265"/>
          </a:xfrm>
          <a:prstGeom prst="rect">
            <a:avLst/>
          </a:prstGeom>
        </p:spPr>
      </p:pic>
      <p:sp>
        <p:nvSpPr>
          <p:cNvPr id="77" name="Rectangle 76">
            <a:extLst>
              <a:ext uri="{FF2B5EF4-FFF2-40B4-BE49-F238E27FC236}">
                <a16:creationId xmlns:a16="http://schemas.microsoft.com/office/drawing/2014/main" id="{98E6E83F-4C6B-42FB-1E9A-249C94E6FDCF}"/>
              </a:ext>
            </a:extLst>
          </p:cNvPr>
          <p:cNvSpPr/>
          <p:nvPr/>
        </p:nvSpPr>
        <p:spPr>
          <a:xfrm>
            <a:off x="7771987" y="189455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O2_2</a:t>
            </a:r>
          </a:p>
        </p:txBody>
      </p:sp>
      <p:pic>
        <p:nvPicPr>
          <p:cNvPr id="79" name="Picture 78">
            <a:extLst>
              <a:ext uri="{FF2B5EF4-FFF2-40B4-BE49-F238E27FC236}">
                <a16:creationId xmlns:a16="http://schemas.microsoft.com/office/drawing/2014/main" id="{1E151C3C-9787-A0E0-7D63-BA3D4471E8B7}"/>
              </a:ext>
            </a:extLst>
          </p:cNvPr>
          <p:cNvPicPr>
            <a:picLocks noChangeAspect="1"/>
          </p:cNvPicPr>
          <p:nvPr/>
        </p:nvPicPr>
        <p:blipFill>
          <a:blip r:embed="rId28">
            <a:biLevel thresh="75000"/>
            <a:extLst>
              <a:ext uri="{28A0092B-C50C-407E-A947-70E740481C1C}">
                <a14:useLocalDpi xmlns:a14="http://schemas.microsoft.com/office/drawing/2010/main" val="0"/>
              </a:ext>
            </a:extLst>
          </a:blip>
          <a:stretch>
            <a:fillRect/>
          </a:stretch>
        </p:blipFill>
        <p:spPr>
          <a:xfrm>
            <a:off x="10038220" y="2317812"/>
            <a:ext cx="461508" cy="667169"/>
          </a:xfrm>
          <a:prstGeom prst="rect">
            <a:avLst/>
          </a:prstGeom>
        </p:spPr>
      </p:pic>
      <p:sp>
        <p:nvSpPr>
          <p:cNvPr id="80" name="Rectangle 79">
            <a:extLst>
              <a:ext uri="{FF2B5EF4-FFF2-40B4-BE49-F238E27FC236}">
                <a16:creationId xmlns:a16="http://schemas.microsoft.com/office/drawing/2014/main" id="{6E730679-9E8F-8591-775D-867A88E8AA2C}"/>
              </a:ext>
            </a:extLst>
          </p:cNvPr>
          <p:cNvSpPr/>
          <p:nvPr/>
        </p:nvSpPr>
        <p:spPr>
          <a:xfrm>
            <a:off x="9489720" y="297245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Liquid gas</a:t>
            </a:r>
          </a:p>
        </p:txBody>
      </p:sp>
      <p:pic>
        <p:nvPicPr>
          <p:cNvPr id="82" name="Picture 81">
            <a:extLst>
              <a:ext uri="{FF2B5EF4-FFF2-40B4-BE49-F238E27FC236}">
                <a16:creationId xmlns:a16="http://schemas.microsoft.com/office/drawing/2014/main" id="{905ED731-FC6D-D019-ABAA-CF6A65226178}"/>
              </a:ext>
            </a:extLst>
          </p:cNvPr>
          <p:cNvPicPr>
            <a:picLocks noChangeAspect="1"/>
          </p:cNvPicPr>
          <p:nvPr/>
        </p:nvPicPr>
        <p:blipFill>
          <a:blip r:embed="rId29">
            <a:biLevel thresh="75000"/>
            <a:extLst>
              <a:ext uri="{28A0092B-C50C-407E-A947-70E740481C1C}">
                <a14:useLocalDpi xmlns:a14="http://schemas.microsoft.com/office/drawing/2010/main" val="0"/>
              </a:ext>
            </a:extLst>
          </a:blip>
          <a:stretch>
            <a:fillRect/>
          </a:stretch>
        </p:blipFill>
        <p:spPr>
          <a:xfrm>
            <a:off x="10889520" y="2308624"/>
            <a:ext cx="620819" cy="622658"/>
          </a:xfrm>
          <a:prstGeom prst="rect">
            <a:avLst/>
          </a:prstGeom>
        </p:spPr>
      </p:pic>
      <p:sp>
        <p:nvSpPr>
          <p:cNvPr id="83" name="Rectangle 82">
            <a:extLst>
              <a:ext uri="{FF2B5EF4-FFF2-40B4-BE49-F238E27FC236}">
                <a16:creationId xmlns:a16="http://schemas.microsoft.com/office/drawing/2014/main" id="{68B27A54-3130-E9FB-EE28-028A6977BE41}"/>
              </a:ext>
            </a:extLst>
          </p:cNvPr>
          <p:cNvSpPr/>
          <p:nvPr/>
        </p:nvSpPr>
        <p:spPr>
          <a:xfrm>
            <a:off x="10433167" y="3011762"/>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Maintenance operations</a:t>
            </a:r>
          </a:p>
        </p:txBody>
      </p:sp>
      <p:pic>
        <p:nvPicPr>
          <p:cNvPr id="85" name="Picture 84" descr="Icon&#10;&#10;Description automatically generated">
            <a:extLst>
              <a:ext uri="{FF2B5EF4-FFF2-40B4-BE49-F238E27FC236}">
                <a16:creationId xmlns:a16="http://schemas.microsoft.com/office/drawing/2014/main" id="{C692AB82-6FB2-919F-A79E-23627F87E2EA}"/>
              </a:ext>
            </a:extLst>
          </p:cNvPr>
          <p:cNvPicPr>
            <a:picLocks noChangeAspect="1"/>
          </p:cNvPicPr>
          <p:nvPr/>
        </p:nvPicPr>
        <p:blipFill>
          <a:blip r:embed="rId30">
            <a:biLevel thresh="75000"/>
            <a:extLst>
              <a:ext uri="{28A0092B-C50C-407E-A947-70E740481C1C}">
                <a14:useLocalDpi xmlns:a14="http://schemas.microsoft.com/office/drawing/2010/main" val="0"/>
              </a:ext>
            </a:extLst>
          </a:blip>
          <a:stretch>
            <a:fillRect/>
          </a:stretch>
        </p:blipFill>
        <p:spPr>
          <a:xfrm>
            <a:off x="555066" y="3478451"/>
            <a:ext cx="693017" cy="632316"/>
          </a:xfrm>
          <a:prstGeom prst="rect">
            <a:avLst/>
          </a:prstGeom>
        </p:spPr>
      </p:pic>
      <p:sp>
        <p:nvSpPr>
          <p:cNvPr id="86" name="Rectangle 85">
            <a:extLst>
              <a:ext uri="{FF2B5EF4-FFF2-40B4-BE49-F238E27FC236}">
                <a16:creationId xmlns:a16="http://schemas.microsoft.com/office/drawing/2014/main" id="{47760E5A-9F73-D3CA-0326-05796CA6FAD3}"/>
              </a:ext>
            </a:extLst>
          </p:cNvPr>
          <p:cNvSpPr/>
          <p:nvPr/>
        </p:nvSpPr>
        <p:spPr>
          <a:xfrm>
            <a:off x="151017" y="412846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Management</a:t>
            </a:r>
          </a:p>
        </p:txBody>
      </p:sp>
      <p:pic>
        <p:nvPicPr>
          <p:cNvPr id="88" name="Picture 87" descr="Icon&#10;&#10;Description automatically generated">
            <a:extLst>
              <a:ext uri="{FF2B5EF4-FFF2-40B4-BE49-F238E27FC236}">
                <a16:creationId xmlns:a16="http://schemas.microsoft.com/office/drawing/2014/main" id="{80B7BB8B-7E1E-1038-E7D5-E834752581CF}"/>
              </a:ext>
            </a:extLst>
          </p:cNvPr>
          <p:cNvPicPr>
            <a:picLocks noChangeAspect="1"/>
          </p:cNvPicPr>
          <p:nvPr/>
        </p:nvPicPr>
        <p:blipFill>
          <a:blip r:embed="rId31">
            <a:biLevel thresh="75000"/>
            <a:extLst>
              <a:ext uri="{28A0092B-C50C-407E-A947-70E740481C1C}">
                <a14:useLocalDpi xmlns:a14="http://schemas.microsoft.com/office/drawing/2010/main" val="0"/>
              </a:ext>
            </a:extLst>
          </a:blip>
          <a:stretch>
            <a:fillRect/>
          </a:stretch>
        </p:blipFill>
        <p:spPr>
          <a:xfrm>
            <a:off x="1407999" y="3492506"/>
            <a:ext cx="567475" cy="585870"/>
          </a:xfrm>
          <a:prstGeom prst="rect">
            <a:avLst/>
          </a:prstGeom>
        </p:spPr>
      </p:pic>
      <p:sp>
        <p:nvSpPr>
          <p:cNvPr id="89" name="Rectangle 88">
            <a:extLst>
              <a:ext uri="{FF2B5EF4-FFF2-40B4-BE49-F238E27FC236}">
                <a16:creationId xmlns:a16="http://schemas.microsoft.com/office/drawing/2014/main" id="{72A4560C-4750-C542-EC23-35F218CA037A}"/>
              </a:ext>
            </a:extLst>
          </p:cNvPr>
          <p:cNvSpPr/>
          <p:nvPr/>
        </p:nvSpPr>
        <p:spPr>
          <a:xfrm>
            <a:off x="974378" y="413769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Metals</a:t>
            </a:r>
          </a:p>
        </p:txBody>
      </p:sp>
      <p:pic>
        <p:nvPicPr>
          <p:cNvPr id="97" name="Picture 96" descr="Icon&#10;&#10;Description automatically generated">
            <a:extLst>
              <a:ext uri="{FF2B5EF4-FFF2-40B4-BE49-F238E27FC236}">
                <a16:creationId xmlns:a16="http://schemas.microsoft.com/office/drawing/2014/main" id="{778FC71E-8B66-51A2-252E-A89385B32E98}"/>
              </a:ext>
            </a:extLst>
          </p:cNvPr>
          <p:cNvPicPr>
            <a:picLocks noChangeAspect="1"/>
          </p:cNvPicPr>
          <p:nvPr/>
        </p:nvPicPr>
        <p:blipFill>
          <a:blip r:embed="rId32">
            <a:biLevel thresh="75000"/>
            <a:extLst>
              <a:ext uri="{28A0092B-C50C-407E-A947-70E740481C1C}">
                <a14:useLocalDpi xmlns:a14="http://schemas.microsoft.com/office/drawing/2010/main" val="0"/>
              </a:ext>
            </a:extLst>
          </a:blip>
          <a:stretch>
            <a:fillRect/>
          </a:stretch>
        </p:blipFill>
        <p:spPr>
          <a:xfrm>
            <a:off x="3178673" y="3466144"/>
            <a:ext cx="471823" cy="611622"/>
          </a:xfrm>
          <a:prstGeom prst="rect">
            <a:avLst/>
          </a:prstGeom>
        </p:spPr>
      </p:pic>
      <p:sp>
        <p:nvSpPr>
          <p:cNvPr id="98" name="Rectangle 97">
            <a:extLst>
              <a:ext uri="{FF2B5EF4-FFF2-40B4-BE49-F238E27FC236}">
                <a16:creationId xmlns:a16="http://schemas.microsoft.com/office/drawing/2014/main" id="{4388C6BC-6C8B-1AF7-DFF1-5DBD215E0CD2}"/>
              </a:ext>
            </a:extLst>
          </p:cNvPr>
          <p:cNvSpPr/>
          <p:nvPr/>
        </p:nvSpPr>
        <p:spPr>
          <a:xfrm>
            <a:off x="2647822" y="413489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amp; gas_2</a:t>
            </a:r>
          </a:p>
        </p:txBody>
      </p:sp>
      <p:pic>
        <p:nvPicPr>
          <p:cNvPr id="100" name="Picture 99" descr="Icon&#10;&#10;Description automatically generated">
            <a:extLst>
              <a:ext uri="{FF2B5EF4-FFF2-40B4-BE49-F238E27FC236}">
                <a16:creationId xmlns:a16="http://schemas.microsoft.com/office/drawing/2014/main" id="{57A6558B-5193-DE3B-BAF1-FD0723A4E837}"/>
              </a:ext>
            </a:extLst>
          </p:cNvPr>
          <p:cNvPicPr>
            <a:picLocks noChangeAspect="1"/>
          </p:cNvPicPr>
          <p:nvPr/>
        </p:nvPicPr>
        <p:blipFill>
          <a:blip r:embed="rId33">
            <a:biLevel thresh="75000"/>
            <a:extLst>
              <a:ext uri="{28A0092B-C50C-407E-A947-70E740481C1C}">
                <a14:useLocalDpi xmlns:a14="http://schemas.microsoft.com/office/drawing/2010/main" val="0"/>
              </a:ext>
            </a:extLst>
          </a:blip>
          <a:stretch>
            <a:fillRect/>
          </a:stretch>
        </p:blipFill>
        <p:spPr>
          <a:xfrm>
            <a:off x="5579691" y="3473978"/>
            <a:ext cx="745626" cy="627257"/>
          </a:xfrm>
          <a:prstGeom prst="rect">
            <a:avLst/>
          </a:prstGeom>
        </p:spPr>
      </p:pic>
      <p:sp>
        <p:nvSpPr>
          <p:cNvPr id="101" name="Rectangle 100">
            <a:extLst>
              <a:ext uri="{FF2B5EF4-FFF2-40B4-BE49-F238E27FC236}">
                <a16:creationId xmlns:a16="http://schemas.microsoft.com/office/drawing/2014/main" id="{E946C9F0-C1FE-C62F-C3C2-C33BCACF360A}"/>
              </a:ext>
            </a:extLst>
          </p:cNvPr>
          <p:cNvSpPr/>
          <p:nvPr/>
        </p:nvSpPr>
        <p:spPr>
          <a:xfrm>
            <a:off x="5163866" y="413917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tower</a:t>
            </a:r>
          </a:p>
        </p:txBody>
      </p:sp>
      <p:pic>
        <p:nvPicPr>
          <p:cNvPr id="95" name="Picture 94" descr="Icon&#10;&#10;Description automatically generated">
            <a:extLst>
              <a:ext uri="{FF2B5EF4-FFF2-40B4-BE49-F238E27FC236}">
                <a16:creationId xmlns:a16="http://schemas.microsoft.com/office/drawing/2014/main" id="{7F98242B-EC96-A90A-5FFC-A5F94BBA20C5}"/>
              </a:ext>
            </a:extLst>
          </p:cNvPr>
          <p:cNvPicPr>
            <a:picLocks noChangeAspect="1"/>
          </p:cNvPicPr>
          <p:nvPr/>
        </p:nvPicPr>
        <p:blipFill>
          <a:blip r:embed="rId34">
            <a:biLevel thresh="75000"/>
            <a:extLst>
              <a:ext uri="{28A0092B-C50C-407E-A947-70E740481C1C}">
                <a14:useLocalDpi xmlns:a14="http://schemas.microsoft.com/office/drawing/2010/main" val="0"/>
              </a:ext>
            </a:extLst>
          </a:blip>
          <a:stretch>
            <a:fillRect/>
          </a:stretch>
        </p:blipFill>
        <p:spPr>
          <a:xfrm>
            <a:off x="3934115" y="3523741"/>
            <a:ext cx="681817" cy="513834"/>
          </a:xfrm>
          <a:prstGeom prst="rect">
            <a:avLst/>
          </a:prstGeom>
        </p:spPr>
      </p:pic>
      <p:sp>
        <p:nvSpPr>
          <p:cNvPr id="102" name="Rectangle 101">
            <a:extLst>
              <a:ext uri="{FF2B5EF4-FFF2-40B4-BE49-F238E27FC236}">
                <a16:creationId xmlns:a16="http://schemas.microsoft.com/office/drawing/2014/main" id="{2C96A723-4097-8F41-941F-8842CC115671}"/>
              </a:ext>
            </a:extLst>
          </p:cNvPr>
          <p:cNvSpPr/>
          <p:nvPr/>
        </p:nvSpPr>
        <p:spPr>
          <a:xfrm>
            <a:off x="3530920" y="412691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amp; gas_3</a:t>
            </a:r>
          </a:p>
        </p:txBody>
      </p:sp>
      <p:pic>
        <p:nvPicPr>
          <p:cNvPr id="93" name="Picture 92">
            <a:extLst>
              <a:ext uri="{FF2B5EF4-FFF2-40B4-BE49-F238E27FC236}">
                <a16:creationId xmlns:a16="http://schemas.microsoft.com/office/drawing/2014/main" id="{EFCA48D2-831F-B785-054C-7F085112A9DC}"/>
              </a:ext>
            </a:extLst>
          </p:cNvPr>
          <p:cNvPicPr>
            <a:picLocks noChangeAspect="1"/>
          </p:cNvPicPr>
          <p:nvPr/>
        </p:nvPicPr>
        <p:blipFill>
          <a:blip r:embed="rId35">
            <a:biLevel thresh="75000"/>
            <a:extLst>
              <a:ext uri="{28A0092B-C50C-407E-A947-70E740481C1C}">
                <a14:useLocalDpi xmlns:a14="http://schemas.microsoft.com/office/drawing/2010/main" val="0"/>
              </a:ext>
            </a:extLst>
          </a:blip>
          <a:stretch>
            <a:fillRect/>
          </a:stretch>
        </p:blipFill>
        <p:spPr>
          <a:xfrm>
            <a:off x="4765268" y="3486283"/>
            <a:ext cx="659698" cy="554347"/>
          </a:xfrm>
          <a:prstGeom prst="rect">
            <a:avLst/>
          </a:prstGeom>
        </p:spPr>
      </p:pic>
      <p:sp>
        <p:nvSpPr>
          <p:cNvPr id="103" name="Rectangle 102">
            <a:extLst>
              <a:ext uri="{FF2B5EF4-FFF2-40B4-BE49-F238E27FC236}">
                <a16:creationId xmlns:a16="http://schemas.microsoft.com/office/drawing/2014/main" id="{428E0534-D8B9-3A5F-11BB-3774EE60913E}"/>
              </a:ext>
            </a:extLst>
          </p:cNvPr>
          <p:cNvSpPr/>
          <p:nvPr/>
        </p:nvSpPr>
        <p:spPr>
          <a:xfrm>
            <a:off x="4364396" y="412857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amp; gas_4</a:t>
            </a:r>
          </a:p>
        </p:txBody>
      </p:sp>
      <p:pic>
        <p:nvPicPr>
          <p:cNvPr id="105" name="Picture 104" descr="Icon&#10;&#10;Description automatically generated">
            <a:extLst>
              <a:ext uri="{FF2B5EF4-FFF2-40B4-BE49-F238E27FC236}">
                <a16:creationId xmlns:a16="http://schemas.microsoft.com/office/drawing/2014/main" id="{52929A31-1663-0AEB-F448-292FC3004B00}"/>
              </a:ext>
            </a:extLst>
          </p:cNvPr>
          <p:cNvPicPr>
            <a:picLocks noChangeAspect="1"/>
          </p:cNvPicPr>
          <p:nvPr/>
        </p:nvPicPr>
        <p:blipFill>
          <a:blip r:embed="rId36">
            <a:biLevel thresh="75000"/>
            <a:extLst>
              <a:ext uri="{28A0092B-C50C-407E-A947-70E740481C1C}">
                <a14:useLocalDpi xmlns:a14="http://schemas.microsoft.com/office/drawing/2010/main" val="0"/>
              </a:ext>
            </a:extLst>
          </a:blip>
          <a:stretch>
            <a:fillRect/>
          </a:stretch>
        </p:blipFill>
        <p:spPr>
          <a:xfrm>
            <a:off x="6515011" y="3470444"/>
            <a:ext cx="604265" cy="604265"/>
          </a:xfrm>
          <a:prstGeom prst="rect">
            <a:avLst/>
          </a:prstGeom>
        </p:spPr>
      </p:pic>
      <p:sp>
        <p:nvSpPr>
          <p:cNvPr id="106" name="Rectangle 105">
            <a:extLst>
              <a:ext uri="{FF2B5EF4-FFF2-40B4-BE49-F238E27FC236}">
                <a16:creationId xmlns:a16="http://schemas.microsoft.com/office/drawing/2014/main" id="{BD5AD6BF-4079-A762-3E0F-24A1D606FA2C}"/>
              </a:ext>
            </a:extLst>
          </p:cNvPr>
          <p:cNvSpPr/>
          <p:nvPr/>
        </p:nvSpPr>
        <p:spPr>
          <a:xfrm>
            <a:off x="6050381" y="4138822"/>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People</a:t>
            </a:r>
          </a:p>
        </p:txBody>
      </p:sp>
      <p:pic>
        <p:nvPicPr>
          <p:cNvPr id="110" name="Picture 109" descr="Icon&#10;&#10;Description automatically generated">
            <a:extLst>
              <a:ext uri="{FF2B5EF4-FFF2-40B4-BE49-F238E27FC236}">
                <a16:creationId xmlns:a16="http://schemas.microsoft.com/office/drawing/2014/main" id="{FE508338-5F49-3BDA-6AB3-A36E5117FBBA}"/>
              </a:ext>
            </a:extLst>
          </p:cNvPr>
          <p:cNvPicPr>
            <a:picLocks noChangeAspect="1"/>
          </p:cNvPicPr>
          <p:nvPr/>
        </p:nvPicPr>
        <p:blipFill>
          <a:blip r:embed="rId37">
            <a:biLevel thresh="75000"/>
            <a:extLst>
              <a:ext uri="{28A0092B-C50C-407E-A947-70E740481C1C}">
                <a14:useLocalDpi xmlns:a14="http://schemas.microsoft.com/office/drawing/2010/main" val="0"/>
              </a:ext>
            </a:extLst>
          </a:blip>
          <a:stretch>
            <a:fillRect/>
          </a:stretch>
        </p:blipFill>
        <p:spPr>
          <a:xfrm>
            <a:off x="7426025" y="3580136"/>
            <a:ext cx="505579" cy="554546"/>
          </a:xfrm>
          <a:prstGeom prst="rect">
            <a:avLst/>
          </a:prstGeom>
        </p:spPr>
      </p:pic>
      <p:sp>
        <p:nvSpPr>
          <p:cNvPr id="111" name="Rectangle 110">
            <a:extLst>
              <a:ext uri="{FF2B5EF4-FFF2-40B4-BE49-F238E27FC236}">
                <a16:creationId xmlns:a16="http://schemas.microsoft.com/office/drawing/2014/main" id="{D3D4747F-3AFA-AA22-751F-52CF3C8EC1C7}"/>
              </a:ext>
            </a:extLst>
          </p:cNvPr>
          <p:cNvSpPr/>
          <p:nvPr/>
        </p:nvSpPr>
        <p:spPr>
          <a:xfrm>
            <a:off x="6912051" y="414508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Power_1</a:t>
            </a:r>
          </a:p>
        </p:txBody>
      </p:sp>
      <p:pic>
        <p:nvPicPr>
          <p:cNvPr id="108" name="Picture 107" descr="A picture containing arrow&#10;&#10;Description automatically generated">
            <a:extLst>
              <a:ext uri="{FF2B5EF4-FFF2-40B4-BE49-F238E27FC236}">
                <a16:creationId xmlns:a16="http://schemas.microsoft.com/office/drawing/2014/main" id="{15E0F64F-7213-9AFD-2B89-2508199877FE}"/>
              </a:ext>
            </a:extLst>
          </p:cNvPr>
          <p:cNvPicPr>
            <a:picLocks noChangeAspect="1"/>
          </p:cNvPicPr>
          <p:nvPr/>
        </p:nvPicPr>
        <p:blipFill>
          <a:blip r:embed="rId38">
            <a:biLevel thresh="75000"/>
            <a:extLst>
              <a:ext uri="{28A0092B-C50C-407E-A947-70E740481C1C}">
                <a14:useLocalDpi xmlns:a14="http://schemas.microsoft.com/office/drawing/2010/main" val="0"/>
              </a:ext>
            </a:extLst>
          </a:blip>
          <a:stretch>
            <a:fillRect/>
          </a:stretch>
        </p:blipFill>
        <p:spPr>
          <a:xfrm>
            <a:off x="8245563" y="3369408"/>
            <a:ext cx="586375" cy="760205"/>
          </a:xfrm>
          <a:prstGeom prst="rect">
            <a:avLst/>
          </a:prstGeom>
        </p:spPr>
      </p:pic>
      <p:sp>
        <p:nvSpPr>
          <p:cNvPr id="112" name="Rectangle 111">
            <a:extLst>
              <a:ext uri="{FF2B5EF4-FFF2-40B4-BE49-F238E27FC236}">
                <a16:creationId xmlns:a16="http://schemas.microsoft.com/office/drawing/2014/main" id="{87F10B6F-74A1-6A15-E508-7FA20C00CED1}"/>
              </a:ext>
            </a:extLst>
          </p:cNvPr>
          <p:cNvSpPr/>
          <p:nvPr/>
        </p:nvSpPr>
        <p:spPr>
          <a:xfrm>
            <a:off x="7771987" y="414612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Power_2</a:t>
            </a:r>
          </a:p>
        </p:txBody>
      </p:sp>
      <p:pic>
        <p:nvPicPr>
          <p:cNvPr id="114" name="Picture 113">
            <a:extLst>
              <a:ext uri="{FF2B5EF4-FFF2-40B4-BE49-F238E27FC236}">
                <a16:creationId xmlns:a16="http://schemas.microsoft.com/office/drawing/2014/main" id="{9CD2096A-BFDB-B327-9446-C610715577CD}"/>
              </a:ext>
            </a:extLst>
          </p:cNvPr>
          <p:cNvPicPr>
            <a:picLocks noChangeAspect="1"/>
          </p:cNvPicPr>
          <p:nvPr/>
        </p:nvPicPr>
        <p:blipFill>
          <a:blip r:embed="rId39">
            <a:biLevel thresh="75000"/>
            <a:extLst>
              <a:ext uri="{28A0092B-C50C-407E-A947-70E740481C1C}">
                <a14:useLocalDpi xmlns:a14="http://schemas.microsoft.com/office/drawing/2010/main" val="0"/>
              </a:ext>
            </a:extLst>
          </a:blip>
          <a:stretch>
            <a:fillRect/>
          </a:stretch>
        </p:blipFill>
        <p:spPr>
          <a:xfrm>
            <a:off x="9078959" y="3467243"/>
            <a:ext cx="664691" cy="664691"/>
          </a:xfrm>
          <a:prstGeom prst="rect">
            <a:avLst/>
          </a:prstGeom>
        </p:spPr>
      </p:pic>
      <p:sp>
        <p:nvSpPr>
          <p:cNvPr id="115" name="Rectangle 114">
            <a:extLst>
              <a:ext uri="{FF2B5EF4-FFF2-40B4-BE49-F238E27FC236}">
                <a16:creationId xmlns:a16="http://schemas.microsoft.com/office/drawing/2014/main" id="{581C332F-E7DE-0FB5-6E76-365DB482BC9F}"/>
              </a:ext>
            </a:extLst>
          </p:cNvPr>
          <p:cNvSpPr/>
          <p:nvPr/>
        </p:nvSpPr>
        <p:spPr>
          <a:xfrm>
            <a:off x="8644542" y="414601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Price/cost</a:t>
            </a:r>
          </a:p>
        </p:txBody>
      </p:sp>
      <p:pic>
        <p:nvPicPr>
          <p:cNvPr id="117" name="Picture 116" descr="A picture containing text, sign, clipart&#10;&#10;Description automatically generated">
            <a:extLst>
              <a:ext uri="{FF2B5EF4-FFF2-40B4-BE49-F238E27FC236}">
                <a16:creationId xmlns:a16="http://schemas.microsoft.com/office/drawing/2014/main" id="{27BE3B4E-E6C5-133B-AA03-9AD23E23E228}"/>
              </a:ext>
            </a:extLst>
          </p:cNvPr>
          <p:cNvPicPr>
            <a:picLocks noChangeAspect="1"/>
          </p:cNvPicPr>
          <p:nvPr/>
        </p:nvPicPr>
        <p:blipFill>
          <a:blip r:embed="rId40">
            <a:biLevel thresh="75000"/>
            <a:extLst>
              <a:ext uri="{28A0092B-C50C-407E-A947-70E740481C1C}">
                <a14:useLocalDpi xmlns:a14="http://schemas.microsoft.com/office/drawing/2010/main" val="0"/>
              </a:ext>
            </a:extLst>
          </a:blip>
          <a:stretch>
            <a:fillRect/>
          </a:stretch>
        </p:blipFill>
        <p:spPr>
          <a:xfrm>
            <a:off x="1344794" y="4631447"/>
            <a:ext cx="784577" cy="605405"/>
          </a:xfrm>
          <a:prstGeom prst="rect">
            <a:avLst/>
          </a:prstGeom>
        </p:spPr>
      </p:pic>
      <p:sp>
        <p:nvSpPr>
          <p:cNvPr id="118" name="Rectangle 117">
            <a:extLst>
              <a:ext uri="{FF2B5EF4-FFF2-40B4-BE49-F238E27FC236}">
                <a16:creationId xmlns:a16="http://schemas.microsoft.com/office/drawing/2014/main" id="{704012AD-B47B-11E8-A16A-E668346D1683}"/>
              </a:ext>
            </a:extLst>
          </p:cNvPr>
          <p:cNvSpPr/>
          <p:nvPr/>
        </p:nvSpPr>
        <p:spPr>
          <a:xfrm>
            <a:off x="974378" y="526562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eismic</a:t>
            </a:r>
          </a:p>
        </p:txBody>
      </p:sp>
      <p:pic>
        <p:nvPicPr>
          <p:cNvPr id="60" name="Picture 59" descr="Icon&#10;&#10;Description automatically generated">
            <a:extLst>
              <a:ext uri="{FF2B5EF4-FFF2-40B4-BE49-F238E27FC236}">
                <a16:creationId xmlns:a16="http://schemas.microsoft.com/office/drawing/2014/main" id="{B85A435C-E039-940B-B2B4-9D100D1B946D}"/>
              </a:ext>
            </a:extLst>
          </p:cNvPr>
          <p:cNvPicPr>
            <a:picLocks noChangeAspect="1"/>
          </p:cNvPicPr>
          <p:nvPr/>
        </p:nvPicPr>
        <p:blipFill>
          <a:blip r:embed="rId41">
            <a:biLevel thresh="75000"/>
            <a:extLst>
              <a:ext uri="{28A0092B-C50C-407E-A947-70E740481C1C}">
                <a14:useLocalDpi xmlns:a14="http://schemas.microsoft.com/office/drawing/2010/main" val="0"/>
              </a:ext>
            </a:extLst>
          </a:blip>
          <a:stretch>
            <a:fillRect/>
          </a:stretch>
        </p:blipFill>
        <p:spPr>
          <a:xfrm>
            <a:off x="4797893" y="1199991"/>
            <a:ext cx="616128" cy="682901"/>
          </a:xfrm>
          <a:prstGeom prst="rect">
            <a:avLst/>
          </a:prstGeom>
        </p:spPr>
      </p:pic>
      <p:sp>
        <p:nvSpPr>
          <p:cNvPr id="119" name="Rectangle 118">
            <a:extLst>
              <a:ext uri="{FF2B5EF4-FFF2-40B4-BE49-F238E27FC236}">
                <a16:creationId xmlns:a16="http://schemas.microsoft.com/office/drawing/2014/main" id="{7B5AB8D9-AE01-3840-BD03-6F3A4DCED10E}"/>
              </a:ext>
            </a:extLst>
          </p:cNvPr>
          <p:cNvSpPr/>
          <p:nvPr/>
        </p:nvSpPr>
        <p:spPr>
          <a:xfrm>
            <a:off x="4364396" y="190818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CU</a:t>
            </a:r>
          </a:p>
        </p:txBody>
      </p:sp>
      <p:pic>
        <p:nvPicPr>
          <p:cNvPr id="121" name="Picture 120" descr="Logo&#10;&#10;Description automatically generated">
            <a:extLst>
              <a:ext uri="{FF2B5EF4-FFF2-40B4-BE49-F238E27FC236}">
                <a16:creationId xmlns:a16="http://schemas.microsoft.com/office/drawing/2014/main" id="{4918C58C-719D-5133-7211-348F4D812383}"/>
              </a:ext>
            </a:extLst>
          </p:cNvPr>
          <p:cNvPicPr>
            <a:picLocks noChangeAspect="1"/>
          </p:cNvPicPr>
          <p:nvPr/>
        </p:nvPicPr>
        <p:blipFill>
          <a:blip r:embed="rId42">
            <a:biLevel thresh="75000"/>
            <a:extLst>
              <a:ext uri="{28A0092B-C50C-407E-A947-70E740481C1C}">
                <a14:useLocalDpi xmlns:a14="http://schemas.microsoft.com/office/drawing/2010/main" val="0"/>
              </a:ext>
            </a:extLst>
          </a:blip>
          <a:stretch>
            <a:fillRect/>
          </a:stretch>
        </p:blipFill>
        <p:spPr>
          <a:xfrm>
            <a:off x="3179363" y="4580139"/>
            <a:ext cx="470442" cy="628268"/>
          </a:xfrm>
          <a:prstGeom prst="rect">
            <a:avLst/>
          </a:prstGeom>
        </p:spPr>
      </p:pic>
      <p:sp>
        <p:nvSpPr>
          <p:cNvPr id="122" name="Rectangle 121">
            <a:extLst>
              <a:ext uri="{FF2B5EF4-FFF2-40B4-BE49-F238E27FC236}">
                <a16:creationId xmlns:a16="http://schemas.microsoft.com/office/drawing/2014/main" id="{2AF58701-3E57-EC14-5F98-50A3345278C8}"/>
              </a:ext>
            </a:extLst>
          </p:cNvPr>
          <p:cNvSpPr/>
          <p:nvPr/>
        </p:nvSpPr>
        <p:spPr>
          <a:xfrm>
            <a:off x="2647822" y="525761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hale</a:t>
            </a:r>
          </a:p>
        </p:txBody>
      </p:sp>
      <p:pic>
        <p:nvPicPr>
          <p:cNvPr id="124" name="Picture 123" descr="Icon&#10;&#10;Description automatically generated">
            <a:extLst>
              <a:ext uri="{FF2B5EF4-FFF2-40B4-BE49-F238E27FC236}">
                <a16:creationId xmlns:a16="http://schemas.microsoft.com/office/drawing/2014/main" id="{5CEB60CB-651A-D61A-A447-C028642EC734}"/>
              </a:ext>
            </a:extLst>
          </p:cNvPr>
          <p:cNvPicPr>
            <a:picLocks noChangeAspect="1"/>
          </p:cNvPicPr>
          <p:nvPr/>
        </p:nvPicPr>
        <p:blipFill>
          <a:blip r:embed="rId43">
            <a:biLevel thresh="75000"/>
            <a:extLst>
              <a:ext uri="{28A0092B-C50C-407E-A947-70E740481C1C}">
                <a14:useLocalDpi xmlns:a14="http://schemas.microsoft.com/office/drawing/2010/main" val="0"/>
              </a:ext>
            </a:extLst>
          </a:blip>
          <a:stretch>
            <a:fillRect/>
          </a:stretch>
        </p:blipFill>
        <p:spPr>
          <a:xfrm>
            <a:off x="4021928" y="4509389"/>
            <a:ext cx="636362" cy="688971"/>
          </a:xfrm>
          <a:prstGeom prst="rect">
            <a:avLst/>
          </a:prstGeom>
        </p:spPr>
      </p:pic>
      <p:sp>
        <p:nvSpPr>
          <p:cNvPr id="125" name="Rectangle 124">
            <a:extLst>
              <a:ext uri="{FF2B5EF4-FFF2-40B4-BE49-F238E27FC236}">
                <a16:creationId xmlns:a16="http://schemas.microsoft.com/office/drawing/2014/main" id="{52A712F6-7A43-62C6-214C-F6A1CECB00EC}"/>
              </a:ext>
            </a:extLst>
          </p:cNvPr>
          <p:cNvSpPr/>
          <p:nvPr/>
        </p:nvSpPr>
        <p:spPr>
          <a:xfrm>
            <a:off x="3530920" y="524142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olar</a:t>
            </a:r>
          </a:p>
        </p:txBody>
      </p:sp>
      <p:pic>
        <p:nvPicPr>
          <p:cNvPr id="127" name="Picture 126" descr="Icon&#10;&#10;Description automatically generated">
            <a:extLst>
              <a:ext uri="{FF2B5EF4-FFF2-40B4-BE49-F238E27FC236}">
                <a16:creationId xmlns:a16="http://schemas.microsoft.com/office/drawing/2014/main" id="{07B9C8D4-638A-4ABA-5C16-2EA37B1D1111}"/>
              </a:ext>
            </a:extLst>
          </p:cNvPr>
          <p:cNvPicPr>
            <a:picLocks noChangeAspect="1"/>
          </p:cNvPicPr>
          <p:nvPr/>
        </p:nvPicPr>
        <p:blipFill>
          <a:blip r:embed="rId44">
            <a:biLevel thresh="75000"/>
            <a:extLst>
              <a:ext uri="{28A0092B-C50C-407E-A947-70E740481C1C}">
                <a14:useLocalDpi xmlns:a14="http://schemas.microsoft.com/office/drawing/2010/main" val="0"/>
              </a:ext>
            </a:extLst>
          </a:blip>
          <a:stretch>
            <a:fillRect/>
          </a:stretch>
        </p:blipFill>
        <p:spPr>
          <a:xfrm>
            <a:off x="5619759" y="4705992"/>
            <a:ext cx="621739" cy="537123"/>
          </a:xfrm>
          <a:prstGeom prst="rect">
            <a:avLst/>
          </a:prstGeom>
        </p:spPr>
      </p:pic>
      <p:sp>
        <p:nvSpPr>
          <p:cNvPr id="128" name="Rectangle 127">
            <a:extLst>
              <a:ext uri="{FF2B5EF4-FFF2-40B4-BE49-F238E27FC236}">
                <a16:creationId xmlns:a16="http://schemas.microsoft.com/office/drawing/2014/main" id="{24B04EB6-1F82-83DF-EA63-1A7B2318611E}"/>
              </a:ext>
            </a:extLst>
          </p:cNvPr>
          <p:cNvSpPr/>
          <p:nvPr/>
        </p:nvSpPr>
        <p:spPr>
          <a:xfrm>
            <a:off x="5163866" y="525362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ubsea</a:t>
            </a:r>
          </a:p>
        </p:txBody>
      </p:sp>
      <p:pic>
        <p:nvPicPr>
          <p:cNvPr id="134" name="Picture 133" descr="Icon&#10;&#10;Description automatically generated with medium confidence">
            <a:extLst>
              <a:ext uri="{FF2B5EF4-FFF2-40B4-BE49-F238E27FC236}">
                <a16:creationId xmlns:a16="http://schemas.microsoft.com/office/drawing/2014/main" id="{2FE2A94A-F52D-E347-5EA1-82B025494AFA}"/>
              </a:ext>
            </a:extLst>
          </p:cNvPr>
          <p:cNvPicPr>
            <a:picLocks noChangeAspect="1"/>
          </p:cNvPicPr>
          <p:nvPr/>
        </p:nvPicPr>
        <p:blipFill>
          <a:blip r:embed="rId45">
            <a:biLevel thresh="75000"/>
            <a:extLst>
              <a:ext uri="{28A0092B-C50C-407E-A947-70E740481C1C}">
                <a14:useLocalDpi xmlns:a14="http://schemas.microsoft.com/office/drawing/2010/main" val="0"/>
              </a:ext>
            </a:extLst>
          </a:blip>
          <a:stretch>
            <a:fillRect/>
          </a:stretch>
        </p:blipFill>
        <p:spPr>
          <a:xfrm>
            <a:off x="8441955" y="4546668"/>
            <a:ext cx="264055" cy="688971"/>
          </a:xfrm>
          <a:prstGeom prst="rect">
            <a:avLst/>
          </a:prstGeom>
        </p:spPr>
      </p:pic>
      <p:sp>
        <p:nvSpPr>
          <p:cNvPr id="135" name="Rectangle 134">
            <a:extLst>
              <a:ext uri="{FF2B5EF4-FFF2-40B4-BE49-F238E27FC236}">
                <a16:creationId xmlns:a16="http://schemas.microsoft.com/office/drawing/2014/main" id="{BAF85DCB-06E9-94E6-E305-5A514A2BD5E7}"/>
              </a:ext>
            </a:extLst>
          </p:cNvPr>
          <p:cNvSpPr/>
          <p:nvPr/>
        </p:nvSpPr>
        <p:spPr>
          <a:xfrm>
            <a:off x="7771987" y="526152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Thermal_1</a:t>
            </a:r>
          </a:p>
        </p:txBody>
      </p:sp>
      <p:pic>
        <p:nvPicPr>
          <p:cNvPr id="132" name="Picture 131" descr="Icon&#10;&#10;Description automatically generated">
            <a:extLst>
              <a:ext uri="{FF2B5EF4-FFF2-40B4-BE49-F238E27FC236}">
                <a16:creationId xmlns:a16="http://schemas.microsoft.com/office/drawing/2014/main" id="{D77DC4D2-3ACD-C63F-0343-FB211816C9F9}"/>
              </a:ext>
            </a:extLst>
          </p:cNvPr>
          <p:cNvPicPr>
            <a:picLocks noChangeAspect="1"/>
          </p:cNvPicPr>
          <p:nvPr/>
        </p:nvPicPr>
        <p:blipFill>
          <a:blip r:embed="rId46">
            <a:biLevel thresh="75000"/>
            <a:extLst>
              <a:ext uri="{28A0092B-C50C-407E-A947-70E740481C1C}">
                <a14:useLocalDpi xmlns:a14="http://schemas.microsoft.com/office/drawing/2010/main" val="0"/>
              </a:ext>
            </a:extLst>
          </a:blip>
          <a:stretch>
            <a:fillRect/>
          </a:stretch>
        </p:blipFill>
        <p:spPr>
          <a:xfrm>
            <a:off x="9116530" y="4639286"/>
            <a:ext cx="589549" cy="588629"/>
          </a:xfrm>
          <a:prstGeom prst="rect">
            <a:avLst/>
          </a:prstGeom>
        </p:spPr>
      </p:pic>
      <p:sp>
        <p:nvSpPr>
          <p:cNvPr id="136" name="Rectangle 135">
            <a:extLst>
              <a:ext uri="{FF2B5EF4-FFF2-40B4-BE49-F238E27FC236}">
                <a16:creationId xmlns:a16="http://schemas.microsoft.com/office/drawing/2014/main" id="{8D3527F5-6FA6-D4FF-CA10-4E4F6F05C0E7}"/>
              </a:ext>
            </a:extLst>
          </p:cNvPr>
          <p:cNvSpPr/>
          <p:nvPr/>
        </p:nvSpPr>
        <p:spPr>
          <a:xfrm>
            <a:off x="8644542" y="526021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Thermal_2</a:t>
            </a:r>
          </a:p>
        </p:txBody>
      </p:sp>
      <p:pic>
        <p:nvPicPr>
          <p:cNvPr id="138" name="Picture 137">
            <a:extLst>
              <a:ext uri="{FF2B5EF4-FFF2-40B4-BE49-F238E27FC236}">
                <a16:creationId xmlns:a16="http://schemas.microsoft.com/office/drawing/2014/main" id="{DD64EB04-1909-6C32-5FCA-89456BC09ED1}"/>
              </a:ext>
            </a:extLst>
          </p:cNvPr>
          <p:cNvPicPr>
            <a:picLocks noChangeAspect="1"/>
          </p:cNvPicPr>
          <p:nvPr/>
        </p:nvPicPr>
        <p:blipFill>
          <a:blip r:embed="rId47">
            <a:biLevel thresh="75000"/>
            <a:extLst>
              <a:ext uri="{28A0092B-C50C-407E-A947-70E740481C1C}">
                <a14:useLocalDpi xmlns:a14="http://schemas.microsoft.com/office/drawing/2010/main" val="0"/>
              </a:ext>
            </a:extLst>
          </a:blip>
          <a:stretch>
            <a:fillRect/>
          </a:stretch>
        </p:blipFill>
        <p:spPr>
          <a:xfrm>
            <a:off x="10874414" y="4615299"/>
            <a:ext cx="651032" cy="649919"/>
          </a:xfrm>
          <a:prstGeom prst="rect">
            <a:avLst/>
          </a:prstGeom>
        </p:spPr>
      </p:pic>
      <p:sp>
        <p:nvSpPr>
          <p:cNvPr id="141" name="Rectangle 140">
            <a:extLst>
              <a:ext uri="{FF2B5EF4-FFF2-40B4-BE49-F238E27FC236}">
                <a16:creationId xmlns:a16="http://schemas.microsoft.com/office/drawing/2014/main" id="{91F84336-B04A-1CCE-C299-6FD17DC62FA1}"/>
              </a:ext>
            </a:extLst>
          </p:cNvPr>
          <p:cNvSpPr/>
          <p:nvPr/>
        </p:nvSpPr>
        <p:spPr>
          <a:xfrm>
            <a:off x="10433167" y="528017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Upstream_2</a:t>
            </a:r>
          </a:p>
        </p:txBody>
      </p:sp>
      <p:pic>
        <p:nvPicPr>
          <p:cNvPr id="140" name="Picture 139" descr="A picture containing icon&#10;&#10;Description automatically generated">
            <a:extLst>
              <a:ext uri="{FF2B5EF4-FFF2-40B4-BE49-F238E27FC236}">
                <a16:creationId xmlns:a16="http://schemas.microsoft.com/office/drawing/2014/main" id="{04F99E94-35CD-69D5-015A-C1FC75325E81}"/>
              </a:ext>
            </a:extLst>
          </p:cNvPr>
          <p:cNvPicPr>
            <a:picLocks noChangeAspect="1"/>
          </p:cNvPicPr>
          <p:nvPr/>
        </p:nvPicPr>
        <p:blipFill>
          <a:blip r:embed="rId48">
            <a:biLevel thresh="75000"/>
            <a:extLst>
              <a:ext uri="{28A0092B-C50C-407E-A947-70E740481C1C}">
                <a14:useLocalDpi xmlns:a14="http://schemas.microsoft.com/office/drawing/2010/main" val="0"/>
              </a:ext>
            </a:extLst>
          </a:blip>
          <a:stretch>
            <a:fillRect/>
          </a:stretch>
        </p:blipFill>
        <p:spPr>
          <a:xfrm>
            <a:off x="10106800" y="4553348"/>
            <a:ext cx="299364" cy="711127"/>
          </a:xfrm>
          <a:prstGeom prst="rect">
            <a:avLst/>
          </a:prstGeom>
        </p:spPr>
      </p:pic>
      <p:sp>
        <p:nvSpPr>
          <p:cNvPr id="142" name="Rectangle 141">
            <a:extLst>
              <a:ext uri="{FF2B5EF4-FFF2-40B4-BE49-F238E27FC236}">
                <a16:creationId xmlns:a16="http://schemas.microsoft.com/office/drawing/2014/main" id="{3FBEDCFA-3CC4-2FA6-9A17-236E3B930E69}"/>
              </a:ext>
            </a:extLst>
          </p:cNvPr>
          <p:cNvSpPr/>
          <p:nvPr/>
        </p:nvSpPr>
        <p:spPr>
          <a:xfrm>
            <a:off x="9489720" y="526935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Upstream_1</a:t>
            </a:r>
          </a:p>
        </p:txBody>
      </p:sp>
      <p:pic>
        <p:nvPicPr>
          <p:cNvPr id="144" name="Picture 143">
            <a:extLst>
              <a:ext uri="{FF2B5EF4-FFF2-40B4-BE49-F238E27FC236}">
                <a16:creationId xmlns:a16="http://schemas.microsoft.com/office/drawing/2014/main" id="{67D0F0DE-404A-F228-24B9-5BDC330E8940}"/>
              </a:ext>
            </a:extLst>
          </p:cNvPr>
          <p:cNvPicPr>
            <a:picLocks noChangeAspect="1"/>
          </p:cNvPicPr>
          <p:nvPr/>
        </p:nvPicPr>
        <p:blipFill>
          <a:blip r:embed="rId49">
            <a:biLevel thresh="75000"/>
            <a:extLst>
              <a:ext uri="{28A0092B-C50C-407E-A947-70E740481C1C}">
                <a14:useLocalDpi xmlns:a14="http://schemas.microsoft.com/office/drawing/2010/main" val="0"/>
              </a:ext>
            </a:extLst>
          </a:blip>
          <a:stretch>
            <a:fillRect/>
          </a:stretch>
        </p:blipFill>
        <p:spPr>
          <a:xfrm>
            <a:off x="6633972" y="5695867"/>
            <a:ext cx="510869" cy="569397"/>
          </a:xfrm>
          <a:prstGeom prst="rect">
            <a:avLst/>
          </a:prstGeom>
        </p:spPr>
      </p:pic>
      <p:sp>
        <p:nvSpPr>
          <p:cNvPr id="145" name="Rectangle 144">
            <a:extLst>
              <a:ext uri="{FF2B5EF4-FFF2-40B4-BE49-F238E27FC236}">
                <a16:creationId xmlns:a16="http://schemas.microsoft.com/office/drawing/2014/main" id="{CE55B5FA-27F8-B87C-7202-79868A9C1F61}"/>
              </a:ext>
            </a:extLst>
          </p:cNvPr>
          <p:cNvSpPr/>
          <p:nvPr/>
        </p:nvSpPr>
        <p:spPr>
          <a:xfrm>
            <a:off x="6122644" y="630489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ind</a:t>
            </a:r>
          </a:p>
        </p:txBody>
      </p:sp>
      <p:pic>
        <p:nvPicPr>
          <p:cNvPr id="151" name="Picture 150" descr="Icon&#10;&#10;Description automatically generated">
            <a:extLst>
              <a:ext uri="{FF2B5EF4-FFF2-40B4-BE49-F238E27FC236}">
                <a16:creationId xmlns:a16="http://schemas.microsoft.com/office/drawing/2014/main" id="{AD21854B-9ACC-A136-81BE-BBC69E4332B7}"/>
              </a:ext>
            </a:extLst>
          </p:cNvPr>
          <p:cNvPicPr>
            <a:picLocks noChangeAspect="1"/>
          </p:cNvPicPr>
          <p:nvPr/>
        </p:nvPicPr>
        <p:blipFill>
          <a:blip r:embed="rId50">
            <a:biLevel thresh="75000"/>
            <a:extLst>
              <a:ext uri="{28A0092B-C50C-407E-A947-70E740481C1C}">
                <a14:useLocalDpi xmlns:a14="http://schemas.microsoft.com/office/drawing/2010/main" val="0"/>
              </a:ext>
            </a:extLst>
          </a:blip>
          <a:stretch>
            <a:fillRect/>
          </a:stretch>
        </p:blipFill>
        <p:spPr>
          <a:xfrm>
            <a:off x="6482068" y="1278473"/>
            <a:ext cx="617141" cy="617141"/>
          </a:xfrm>
          <a:prstGeom prst="rect">
            <a:avLst/>
          </a:prstGeom>
        </p:spPr>
      </p:pic>
      <p:sp>
        <p:nvSpPr>
          <p:cNvPr id="152" name="Rectangle 151">
            <a:extLst>
              <a:ext uri="{FF2B5EF4-FFF2-40B4-BE49-F238E27FC236}">
                <a16:creationId xmlns:a16="http://schemas.microsoft.com/office/drawing/2014/main" id="{D0B978CE-963A-4835-3411-C878C537456E}"/>
              </a:ext>
            </a:extLst>
          </p:cNvPr>
          <p:cNvSpPr/>
          <p:nvPr/>
        </p:nvSpPr>
        <p:spPr>
          <a:xfrm>
            <a:off x="6050381" y="191802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lock/time</a:t>
            </a:r>
          </a:p>
        </p:txBody>
      </p:sp>
      <p:pic>
        <p:nvPicPr>
          <p:cNvPr id="11" name="Picture 10" descr="A picture containing text, sign, tableware&#10;&#10;Description automatically generated">
            <a:extLst>
              <a:ext uri="{FF2B5EF4-FFF2-40B4-BE49-F238E27FC236}">
                <a16:creationId xmlns:a16="http://schemas.microsoft.com/office/drawing/2014/main" id="{135FD3DD-C894-0BF4-9CBD-97592C458F56}"/>
              </a:ext>
            </a:extLst>
          </p:cNvPr>
          <p:cNvPicPr>
            <a:picLocks noChangeAspect="1"/>
          </p:cNvPicPr>
          <p:nvPr/>
        </p:nvPicPr>
        <p:blipFill>
          <a:blip r:embed="rId51">
            <a:biLevel thresh="75000"/>
            <a:extLst>
              <a:ext uri="{28A0092B-C50C-407E-A947-70E740481C1C}">
                <a14:useLocalDpi xmlns:a14="http://schemas.microsoft.com/office/drawing/2010/main" val="0"/>
              </a:ext>
            </a:extLst>
          </a:blip>
          <a:stretch>
            <a:fillRect/>
          </a:stretch>
        </p:blipFill>
        <p:spPr>
          <a:xfrm>
            <a:off x="1384983" y="1224994"/>
            <a:ext cx="664691" cy="664691"/>
          </a:xfrm>
          <a:prstGeom prst="rect">
            <a:avLst/>
          </a:prstGeom>
        </p:spPr>
      </p:pic>
      <p:sp>
        <p:nvSpPr>
          <p:cNvPr id="14" name="Rectangle 13">
            <a:extLst>
              <a:ext uri="{FF2B5EF4-FFF2-40B4-BE49-F238E27FC236}">
                <a16:creationId xmlns:a16="http://schemas.microsoft.com/office/drawing/2014/main" id="{D29ACA61-E528-5284-3B33-D7315051F9FB}"/>
              </a:ext>
            </a:extLst>
          </p:cNvPr>
          <p:cNvSpPr/>
          <p:nvPr/>
        </p:nvSpPr>
        <p:spPr>
          <a:xfrm>
            <a:off x="974378" y="189878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Analyst portal</a:t>
            </a:r>
          </a:p>
        </p:txBody>
      </p:sp>
      <p:pic>
        <p:nvPicPr>
          <p:cNvPr id="154" name="Picture 153" descr="Logo&#10;&#10;Description automatically generated with low confidence">
            <a:extLst>
              <a:ext uri="{FF2B5EF4-FFF2-40B4-BE49-F238E27FC236}">
                <a16:creationId xmlns:a16="http://schemas.microsoft.com/office/drawing/2014/main" id="{F8F895F8-3636-383C-90A2-E3765E0F8BA5}"/>
              </a:ext>
            </a:extLst>
          </p:cNvPr>
          <p:cNvPicPr>
            <a:picLocks noChangeAspect="1"/>
          </p:cNvPicPr>
          <p:nvPr/>
        </p:nvPicPr>
        <p:blipFill>
          <a:blip r:embed="rId52">
            <a:biLevel thresh="75000"/>
            <a:extLst>
              <a:ext uri="{28A0092B-C50C-407E-A947-70E740481C1C}">
                <a14:useLocalDpi xmlns:a14="http://schemas.microsoft.com/office/drawing/2010/main" val="0"/>
              </a:ext>
            </a:extLst>
          </a:blip>
          <a:stretch>
            <a:fillRect/>
          </a:stretch>
        </p:blipFill>
        <p:spPr>
          <a:xfrm>
            <a:off x="5626611" y="2406021"/>
            <a:ext cx="608035" cy="543286"/>
          </a:xfrm>
          <a:prstGeom prst="rect">
            <a:avLst/>
          </a:prstGeom>
        </p:spPr>
      </p:pic>
      <p:sp>
        <p:nvSpPr>
          <p:cNvPr id="155" name="Rectangle 154">
            <a:extLst>
              <a:ext uri="{FF2B5EF4-FFF2-40B4-BE49-F238E27FC236}">
                <a16:creationId xmlns:a16="http://schemas.microsoft.com/office/drawing/2014/main" id="{AED469F7-72C5-2637-BC92-CC942F1237C9}"/>
              </a:ext>
            </a:extLst>
          </p:cNvPr>
          <p:cNvSpPr/>
          <p:nvPr/>
        </p:nvSpPr>
        <p:spPr>
          <a:xfrm>
            <a:off x="5163866" y="298026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Factory_1</a:t>
            </a:r>
          </a:p>
        </p:txBody>
      </p:sp>
      <p:pic>
        <p:nvPicPr>
          <p:cNvPr id="159" name="Picture 158" descr="Icon&#10;&#10;Description automatically generated">
            <a:extLst>
              <a:ext uri="{FF2B5EF4-FFF2-40B4-BE49-F238E27FC236}">
                <a16:creationId xmlns:a16="http://schemas.microsoft.com/office/drawing/2014/main" id="{E588204A-6332-A502-935B-6A70A6ED12C3}"/>
              </a:ext>
            </a:extLst>
          </p:cNvPr>
          <p:cNvPicPr>
            <a:picLocks noChangeAspect="1"/>
          </p:cNvPicPr>
          <p:nvPr/>
        </p:nvPicPr>
        <p:blipFill>
          <a:blip r:embed="rId53">
            <a:biLevel thresh="75000"/>
            <a:extLst>
              <a:ext uri="{28A0092B-C50C-407E-A947-70E740481C1C}">
                <a14:useLocalDpi xmlns:a14="http://schemas.microsoft.com/office/drawing/2010/main" val="0"/>
              </a:ext>
            </a:extLst>
          </a:blip>
          <a:stretch>
            <a:fillRect/>
          </a:stretch>
        </p:blipFill>
        <p:spPr>
          <a:xfrm>
            <a:off x="9087513" y="2344873"/>
            <a:ext cx="647583" cy="647583"/>
          </a:xfrm>
          <a:prstGeom prst="rect">
            <a:avLst/>
          </a:prstGeom>
        </p:spPr>
      </p:pic>
      <p:sp>
        <p:nvSpPr>
          <p:cNvPr id="160" name="Rectangle 159">
            <a:extLst>
              <a:ext uri="{FF2B5EF4-FFF2-40B4-BE49-F238E27FC236}">
                <a16:creationId xmlns:a16="http://schemas.microsoft.com/office/drawing/2014/main" id="{0475EB9A-4AB0-5602-F137-7F5929906EE2}"/>
              </a:ext>
            </a:extLst>
          </p:cNvPr>
          <p:cNvSpPr/>
          <p:nvPr/>
        </p:nvSpPr>
        <p:spPr>
          <a:xfrm>
            <a:off x="8644542" y="297620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Info</a:t>
            </a:r>
          </a:p>
        </p:txBody>
      </p:sp>
      <p:pic>
        <p:nvPicPr>
          <p:cNvPr id="177" name="Picture 176" descr="Shape, arrow&#10;&#10;Description automatically generated">
            <a:extLst>
              <a:ext uri="{FF2B5EF4-FFF2-40B4-BE49-F238E27FC236}">
                <a16:creationId xmlns:a16="http://schemas.microsoft.com/office/drawing/2014/main" id="{97377E7C-0879-5D86-61F2-50831C38F94E}"/>
              </a:ext>
            </a:extLst>
          </p:cNvPr>
          <p:cNvPicPr>
            <a:picLocks noChangeAspect="1"/>
          </p:cNvPicPr>
          <p:nvPr/>
        </p:nvPicPr>
        <p:blipFill>
          <a:blip r:embed="rId54">
            <a:biLevel thresh="75000"/>
            <a:extLst>
              <a:ext uri="{28A0092B-C50C-407E-A947-70E740481C1C}">
                <a14:useLocalDpi xmlns:a14="http://schemas.microsoft.com/office/drawing/2010/main" val="0"/>
              </a:ext>
            </a:extLst>
          </a:blip>
          <a:stretch>
            <a:fillRect/>
          </a:stretch>
        </p:blipFill>
        <p:spPr>
          <a:xfrm>
            <a:off x="4809436" y="4632152"/>
            <a:ext cx="643445" cy="612082"/>
          </a:xfrm>
          <a:prstGeom prst="rect">
            <a:avLst/>
          </a:prstGeom>
        </p:spPr>
      </p:pic>
      <p:sp>
        <p:nvSpPr>
          <p:cNvPr id="178" name="Rectangle 177">
            <a:extLst>
              <a:ext uri="{FF2B5EF4-FFF2-40B4-BE49-F238E27FC236}">
                <a16:creationId xmlns:a16="http://schemas.microsoft.com/office/drawing/2014/main" id="{49075B13-E249-5933-CC2B-D1EC663B5539}"/>
              </a:ext>
            </a:extLst>
          </p:cNvPr>
          <p:cNvSpPr/>
          <p:nvPr/>
        </p:nvSpPr>
        <p:spPr>
          <a:xfrm>
            <a:off x="4364396" y="524180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tar</a:t>
            </a:r>
          </a:p>
        </p:txBody>
      </p:sp>
      <p:pic>
        <p:nvPicPr>
          <p:cNvPr id="181" name="Picture 180">
            <a:extLst>
              <a:ext uri="{FF2B5EF4-FFF2-40B4-BE49-F238E27FC236}">
                <a16:creationId xmlns:a16="http://schemas.microsoft.com/office/drawing/2014/main" id="{4C2D4BB7-B805-AD67-7977-BE0DA1C05F02}"/>
              </a:ext>
            </a:extLst>
          </p:cNvPr>
          <p:cNvPicPr>
            <a:picLocks noChangeAspect="1"/>
          </p:cNvPicPr>
          <p:nvPr/>
        </p:nvPicPr>
        <p:blipFill>
          <a:blip r:embed="rId55">
            <a:biLevel thresh="75000"/>
            <a:extLst>
              <a:ext uri="{28A0092B-C50C-407E-A947-70E740481C1C}">
                <a14:useLocalDpi xmlns:a14="http://schemas.microsoft.com/office/drawing/2010/main" val="0"/>
              </a:ext>
            </a:extLst>
          </a:blip>
          <a:stretch>
            <a:fillRect/>
          </a:stretch>
        </p:blipFill>
        <p:spPr>
          <a:xfrm>
            <a:off x="6491098" y="2340705"/>
            <a:ext cx="652090" cy="589549"/>
          </a:xfrm>
          <a:prstGeom prst="rect">
            <a:avLst/>
          </a:prstGeom>
        </p:spPr>
      </p:pic>
      <p:sp>
        <p:nvSpPr>
          <p:cNvPr id="182" name="Rectangle 181">
            <a:extLst>
              <a:ext uri="{FF2B5EF4-FFF2-40B4-BE49-F238E27FC236}">
                <a16:creationId xmlns:a16="http://schemas.microsoft.com/office/drawing/2014/main" id="{D31C5FD6-8FCB-6101-A69D-DB053D3394E8}"/>
              </a:ext>
            </a:extLst>
          </p:cNvPr>
          <p:cNvSpPr/>
          <p:nvPr/>
        </p:nvSpPr>
        <p:spPr>
          <a:xfrm>
            <a:off x="6050381" y="290357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a:p>
            <a:pPr algn="ctr"/>
            <a:r>
              <a:rPr lang="en-US" sz="1100">
                <a:solidFill>
                  <a:schemeClr val="tx1"/>
                </a:solidFill>
                <a:latin typeface="Ubuntu" panose="020B0504030602030204" pitchFamily="34" charset="0"/>
              </a:rPr>
              <a:t>Factory_2</a:t>
            </a:r>
          </a:p>
        </p:txBody>
      </p:sp>
      <p:pic>
        <p:nvPicPr>
          <p:cNvPr id="186" name="Picture 185" descr="A picture containing text, candelabrum&#10;&#10;Description automatically generated">
            <a:extLst>
              <a:ext uri="{FF2B5EF4-FFF2-40B4-BE49-F238E27FC236}">
                <a16:creationId xmlns:a16="http://schemas.microsoft.com/office/drawing/2014/main" id="{79FF6531-4715-6271-44B9-C4C75C46A7BF}"/>
              </a:ext>
            </a:extLst>
          </p:cNvPr>
          <p:cNvPicPr>
            <a:picLocks noChangeAspect="1"/>
          </p:cNvPicPr>
          <p:nvPr/>
        </p:nvPicPr>
        <p:blipFill>
          <a:blip r:embed="rId56">
            <a:biLevel thresh="75000"/>
            <a:extLst>
              <a:ext uri="{28A0092B-C50C-407E-A947-70E740481C1C}">
                <a14:useLocalDpi xmlns:a14="http://schemas.microsoft.com/office/drawing/2010/main" val="0"/>
              </a:ext>
            </a:extLst>
          </a:blip>
          <a:stretch>
            <a:fillRect/>
          </a:stretch>
        </p:blipFill>
        <p:spPr>
          <a:xfrm>
            <a:off x="7336857" y="4505211"/>
            <a:ext cx="683913" cy="683913"/>
          </a:xfrm>
          <a:prstGeom prst="rect">
            <a:avLst/>
          </a:prstGeom>
        </p:spPr>
      </p:pic>
      <p:sp>
        <p:nvSpPr>
          <p:cNvPr id="188" name="Rectangle 187">
            <a:extLst>
              <a:ext uri="{FF2B5EF4-FFF2-40B4-BE49-F238E27FC236}">
                <a16:creationId xmlns:a16="http://schemas.microsoft.com/office/drawing/2014/main" id="{B0E426A6-6195-AB85-A84E-83BB86399621}"/>
              </a:ext>
            </a:extLst>
          </p:cNvPr>
          <p:cNvSpPr/>
          <p:nvPr/>
        </p:nvSpPr>
        <p:spPr>
          <a:xfrm>
            <a:off x="6912051" y="527873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Target</a:t>
            </a:r>
          </a:p>
          <a:p>
            <a:pPr algn="ctr"/>
            <a:r>
              <a:rPr lang="en-US" sz="1100">
                <a:solidFill>
                  <a:schemeClr val="tx1"/>
                </a:solidFill>
                <a:latin typeface="Ubuntu" panose="020B0504030602030204" pitchFamily="34" charset="0"/>
              </a:rPr>
              <a:t>audience</a:t>
            </a:r>
          </a:p>
        </p:txBody>
      </p:sp>
      <p:pic>
        <p:nvPicPr>
          <p:cNvPr id="190" name="Picture 189">
            <a:extLst>
              <a:ext uri="{FF2B5EF4-FFF2-40B4-BE49-F238E27FC236}">
                <a16:creationId xmlns:a16="http://schemas.microsoft.com/office/drawing/2014/main" id="{B86A1895-E691-17B8-FBA2-2A4CF7007832}"/>
              </a:ext>
            </a:extLst>
          </p:cNvPr>
          <p:cNvPicPr>
            <a:picLocks noChangeAspect="1"/>
          </p:cNvPicPr>
          <p:nvPr/>
        </p:nvPicPr>
        <p:blipFill>
          <a:blip r:embed="rId57">
            <a:biLevel thresh="75000"/>
            <a:extLst>
              <a:ext uri="{28A0092B-C50C-407E-A947-70E740481C1C}">
                <a14:useLocalDpi xmlns:a14="http://schemas.microsoft.com/office/drawing/2010/main" val="0"/>
              </a:ext>
            </a:extLst>
          </a:blip>
          <a:stretch>
            <a:fillRect/>
          </a:stretch>
        </p:blipFill>
        <p:spPr>
          <a:xfrm>
            <a:off x="4013617" y="5683547"/>
            <a:ext cx="622658" cy="621739"/>
          </a:xfrm>
          <a:prstGeom prst="rect">
            <a:avLst/>
          </a:prstGeom>
        </p:spPr>
      </p:pic>
      <p:sp>
        <p:nvSpPr>
          <p:cNvPr id="191" name="Rectangle 190">
            <a:extLst>
              <a:ext uri="{FF2B5EF4-FFF2-40B4-BE49-F238E27FC236}">
                <a16:creationId xmlns:a16="http://schemas.microsoft.com/office/drawing/2014/main" id="{9938F08D-113C-ACF3-AA29-6DD792053681}"/>
              </a:ext>
            </a:extLst>
          </p:cNvPr>
          <p:cNvSpPr/>
          <p:nvPr/>
        </p:nvSpPr>
        <p:spPr>
          <a:xfrm>
            <a:off x="3541461" y="630306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heel</a:t>
            </a:r>
          </a:p>
        </p:txBody>
      </p:sp>
      <p:pic>
        <p:nvPicPr>
          <p:cNvPr id="194" name="Picture 193" descr="Icon&#10;&#10;Description automatically generated">
            <a:extLst>
              <a:ext uri="{FF2B5EF4-FFF2-40B4-BE49-F238E27FC236}">
                <a16:creationId xmlns:a16="http://schemas.microsoft.com/office/drawing/2014/main" id="{D7FC8585-BF3E-B896-63DF-37F400B7F3D8}"/>
              </a:ext>
            </a:extLst>
          </p:cNvPr>
          <p:cNvPicPr>
            <a:picLocks noChangeAspect="1"/>
          </p:cNvPicPr>
          <p:nvPr/>
        </p:nvPicPr>
        <p:blipFill>
          <a:blip r:embed="rId58">
            <a:biLevel thresh="75000"/>
            <a:extLst>
              <a:ext uri="{28A0092B-C50C-407E-A947-70E740481C1C}">
                <a14:useLocalDpi xmlns:a14="http://schemas.microsoft.com/office/drawing/2010/main" val="0"/>
              </a:ext>
            </a:extLst>
          </a:blip>
          <a:stretch>
            <a:fillRect/>
          </a:stretch>
        </p:blipFill>
        <p:spPr>
          <a:xfrm>
            <a:off x="4839797" y="5726269"/>
            <a:ext cx="645332" cy="510793"/>
          </a:xfrm>
          <a:prstGeom prst="rect">
            <a:avLst/>
          </a:prstGeom>
        </p:spPr>
      </p:pic>
      <p:sp>
        <p:nvSpPr>
          <p:cNvPr id="195" name="Rectangle 194">
            <a:extLst>
              <a:ext uri="{FF2B5EF4-FFF2-40B4-BE49-F238E27FC236}">
                <a16:creationId xmlns:a16="http://schemas.microsoft.com/office/drawing/2014/main" id="{9B1DF64F-60DC-7D4F-0AAD-94F4E27A5BD2}"/>
              </a:ext>
            </a:extLst>
          </p:cNvPr>
          <p:cNvSpPr/>
          <p:nvPr/>
        </p:nvSpPr>
        <p:spPr>
          <a:xfrm>
            <a:off x="4395700" y="630427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hy us</a:t>
            </a:r>
          </a:p>
        </p:txBody>
      </p:sp>
      <p:sp>
        <p:nvSpPr>
          <p:cNvPr id="7" name="TextBox 6">
            <a:extLst>
              <a:ext uri="{FF2B5EF4-FFF2-40B4-BE49-F238E27FC236}">
                <a16:creationId xmlns:a16="http://schemas.microsoft.com/office/drawing/2014/main" id="{F719378F-81CB-048F-5E95-FC038C3E6782}"/>
              </a:ext>
            </a:extLst>
          </p:cNvPr>
          <p:cNvSpPr txBox="1"/>
          <p:nvPr/>
        </p:nvSpPr>
        <p:spPr>
          <a:xfrm>
            <a:off x="8952543" y="653672"/>
            <a:ext cx="991073" cy="338554"/>
          </a:xfrm>
          <a:prstGeom prst="rect">
            <a:avLst/>
          </a:prstGeom>
          <a:noFill/>
        </p:spPr>
        <p:txBody>
          <a:bodyPr wrap="square">
            <a:spAutoFit/>
          </a:bodyPr>
          <a:lstStyle/>
          <a:p>
            <a:r>
              <a:rPr lang="en-US" sz="1600">
                <a:latin typeface="Ubuntu" panose="020B0504030602030204" pitchFamily="34" charset="0"/>
                <a:hlinkClick r:id="rId59"/>
              </a:rPr>
              <a:t>RE icons</a:t>
            </a:r>
            <a:endParaRPr lang="en-US" sz="1600">
              <a:latin typeface="Ubuntu" panose="020B0504030602030204" pitchFamily="34" charset="0"/>
            </a:endParaRPr>
          </a:p>
        </p:txBody>
      </p:sp>
    </p:spTree>
    <p:extLst>
      <p:ext uri="{BB962C8B-B14F-4D97-AF65-F5344CB8AC3E}">
        <p14:creationId xmlns:p14="http://schemas.microsoft.com/office/powerpoint/2010/main" val="1348453444"/>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RE icon library_blue-gre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C388F31-E626-F123-EC66-2D691FF404C0}"/>
              </a:ext>
            </a:extLst>
          </p:cNvPr>
          <p:cNvSpPr txBox="1">
            <a:spLocks/>
          </p:cNvSpPr>
          <p:nvPr/>
        </p:nvSpPr>
        <p:spPr>
          <a:xfrm>
            <a:off x="442914" y="441324"/>
            <a:ext cx="11306174" cy="611189"/>
          </a:xfrm>
          <a:prstGeom prst="rect">
            <a:avLst/>
          </a:prstGeom>
        </p:spPr>
        <p:txBody>
          <a:bodyPr vert="horz" lIns="91440" tIns="45720" rIns="91440" bIns="45720" rtlCol="0" anchor="ctr">
            <a:noAutofit/>
          </a:bodyPr>
          <a:lstStyle>
            <a:lvl1pPr algn="l" defTabSz="1125472" rtl="0" eaLnBrk="1" latinLnBrk="0" hangingPunct="1">
              <a:lnSpc>
                <a:spcPct val="90000"/>
              </a:lnSpc>
              <a:spcBef>
                <a:spcPct val="0"/>
              </a:spcBef>
              <a:buNone/>
              <a:defRPr lang="en-US" sz="2200" b="0" i="0" kern="1200" dirty="0">
                <a:solidFill>
                  <a:schemeClr val="tx1"/>
                </a:solidFill>
                <a:latin typeface="+mj-lt"/>
                <a:ea typeface="+mj-ea"/>
                <a:cs typeface="Calibri" panose="020F0502020204030204" pitchFamily="34" charset="0"/>
              </a:defRPr>
            </a:lvl1pPr>
          </a:lstStyle>
          <a:p>
            <a:r>
              <a:rPr lang="en-US" b="0" err="1">
                <a:latin typeface="Ubuntu" panose="020B0504030602030204" pitchFamily="34" charset="0"/>
              </a:rPr>
              <a:t>Rystad</a:t>
            </a:r>
            <a:r>
              <a:rPr lang="en-US" b="0">
                <a:latin typeface="Ubuntu" panose="020B0504030602030204" pitchFamily="34" charset="0"/>
              </a:rPr>
              <a:t> Energy icon library – blue-grey</a:t>
            </a:r>
          </a:p>
        </p:txBody>
      </p:sp>
      <p:pic>
        <p:nvPicPr>
          <p:cNvPr id="13" name="Picture 12" descr="Icon&#10;&#10;Description automatically generated">
            <a:extLst>
              <a:ext uri="{FF2B5EF4-FFF2-40B4-BE49-F238E27FC236}">
                <a16:creationId xmlns:a16="http://schemas.microsoft.com/office/drawing/2014/main" id="{7D3EB671-5A85-AD32-47A4-383F2E976A87}"/>
              </a:ext>
            </a:extLst>
          </p:cNvPr>
          <p:cNvPicPr>
            <a:picLocks noChangeAspect="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9116531" y="1280922"/>
            <a:ext cx="589549" cy="589549"/>
          </a:xfrm>
          <a:prstGeom prst="rect">
            <a:avLst/>
          </a:prstGeom>
        </p:spPr>
      </p:pic>
      <p:sp>
        <p:nvSpPr>
          <p:cNvPr id="15" name="Rectangle 14">
            <a:extLst>
              <a:ext uri="{FF2B5EF4-FFF2-40B4-BE49-F238E27FC236}">
                <a16:creationId xmlns:a16="http://schemas.microsoft.com/office/drawing/2014/main" id="{FAC31394-ED80-1DFA-CA2D-0823E89BAC34}"/>
              </a:ext>
            </a:extLst>
          </p:cNvPr>
          <p:cNvSpPr/>
          <p:nvPr/>
        </p:nvSpPr>
        <p:spPr>
          <a:xfrm>
            <a:off x="8644542" y="189046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ommentaries</a:t>
            </a:r>
          </a:p>
        </p:txBody>
      </p:sp>
      <p:grpSp>
        <p:nvGrpSpPr>
          <p:cNvPr id="4" name="Group 3">
            <a:extLst>
              <a:ext uri="{FF2B5EF4-FFF2-40B4-BE49-F238E27FC236}">
                <a16:creationId xmlns:a16="http://schemas.microsoft.com/office/drawing/2014/main" id="{4F97B7A1-BA0B-783E-6AFE-2008F9E9BCCF}"/>
              </a:ext>
            </a:extLst>
          </p:cNvPr>
          <p:cNvGrpSpPr/>
          <p:nvPr/>
        </p:nvGrpSpPr>
        <p:grpSpPr>
          <a:xfrm>
            <a:off x="151017" y="1210440"/>
            <a:ext cx="1533525" cy="926466"/>
            <a:chOff x="276884" y="1781940"/>
            <a:chExt cx="1533525" cy="926466"/>
          </a:xfrm>
        </p:grpSpPr>
        <p:pic>
          <p:nvPicPr>
            <p:cNvPr id="17" name="Picture 16" descr="Icon&#10;&#10;Description automatically generated">
              <a:extLst>
                <a:ext uri="{FF2B5EF4-FFF2-40B4-BE49-F238E27FC236}">
                  <a16:creationId xmlns:a16="http://schemas.microsoft.com/office/drawing/2014/main" id="{66DA0798-358F-C714-9C6C-19FBBE4B6A8E}"/>
                </a:ext>
              </a:extLst>
            </p:cNvPr>
            <p:cNvPicPr>
              <a:picLocks noChangeAspect="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88715" y="1781940"/>
              <a:ext cx="709865" cy="674749"/>
            </a:xfrm>
            <a:prstGeom prst="rect">
              <a:avLst/>
            </a:prstGeom>
          </p:spPr>
        </p:pic>
        <p:sp>
          <p:nvSpPr>
            <p:cNvPr id="18" name="Rectangle 17">
              <a:extLst>
                <a:ext uri="{FF2B5EF4-FFF2-40B4-BE49-F238E27FC236}">
                  <a16:creationId xmlns:a16="http://schemas.microsoft.com/office/drawing/2014/main" id="{986A59A6-A0C1-8625-BB40-A2ED002DCD2E}"/>
                </a:ext>
              </a:extLst>
            </p:cNvPr>
            <p:cNvSpPr/>
            <p:nvPr/>
          </p:nvSpPr>
          <p:spPr>
            <a:xfrm>
              <a:off x="276884" y="247028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Advisory</a:t>
              </a:r>
            </a:p>
          </p:txBody>
        </p:sp>
      </p:grpSp>
      <p:pic>
        <p:nvPicPr>
          <p:cNvPr id="20" name="Picture 19">
            <a:extLst>
              <a:ext uri="{FF2B5EF4-FFF2-40B4-BE49-F238E27FC236}">
                <a16:creationId xmlns:a16="http://schemas.microsoft.com/office/drawing/2014/main" id="{C42E23F1-DF1F-1B46-8051-104E6BBA5747}"/>
              </a:ext>
            </a:extLst>
          </p:cNvPr>
          <p:cNvPicPr>
            <a:picLocks noChangeAspect="1"/>
          </p:cNvPicPr>
          <p:nvPr/>
        </p:nvPicPr>
        <p:blipFill>
          <a:blip r:embed="rId4">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9903585" y="1264397"/>
            <a:ext cx="615116" cy="620175"/>
          </a:xfrm>
          <a:prstGeom prst="rect">
            <a:avLst/>
          </a:prstGeom>
        </p:spPr>
      </p:pic>
      <p:sp>
        <p:nvSpPr>
          <p:cNvPr id="21" name="Rectangle 20">
            <a:extLst>
              <a:ext uri="{FF2B5EF4-FFF2-40B4-BE49-F238E27FC236}">
                <a16:creationId xmlns:a16="http://schemas.microsoft.com/office/drawing/2014/main" id="{0E132CB8-54E2-B3D9-D02C-D2C369BC2F9D}"/>
              </a:ext>
            </a:extLst>
          </p:cNvPr>
          <p:cNvSpPr/>
          <p:nvPr/>
        </p:nvSpPr>
        <p:spPr>
          <a:xfrm>
            <a:off x="9489720" y="192926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ommodity</a:t>
            </a:r>
          </a:p>
          <a:p>
            <a:pPr algn="ctr"/>
            <a:r>
              <a:rPr lang="en-US" sz="1100">
                <a:solidFill>
                  <a:schemeClr val="tx1"/>
                </a:solidFill>
                <a:latin typeface="Ubuntu" panose="020B0504030602030204" pitchFamily="34" charset="0"/>
              </a:rPr>
              <a:t>market</a:t>
            </a:r>
          </a:p>
        </p:txBody>
      </p:sp>
      <p:pic>
        <p:nvPicPr>
          <p:cNvPr id="23" name="Picture 22" descr="Icon&#10;&#10;Description automatically generated">
            <a:extLst>
              <a:ext uri="{FF2B5EF4-FFF2-40B4-BE49-F238E27FC236}">
                <a16:creationId xmlns:a16="http://schemas.microsoft.com/office/drawing/2014/main" id="{E4ADCAE8-74E8-D6E0-2669-2F43902C2201}"/>
              </a:ext>
            </a:extLst>
          </p:cNvPr>
          <p:cNvPicPr>
            <a:picLocks noChangeAspect="1"/>
          </p:cNvPicPr>
          <p:nvPr/>
        </p:nvPicPr>
        <p:blipFill>
          <a:blip r:embed="rId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909793" y="1383797"/>
            <a:ext cx="578442" cy="510793"/>
          </a:xfrm>
          <a:prstGeom prst="rect">
            <a:avLst/>
          </a:prstGeom>
        </p:spPr>
      </p:pic>
      <p:sp>
        <p:nvSpPr>
          <p:cNvPr id="24" name="Rectangle 23">
            <a:extLst>
              <a:ext uri="{FF2B5EF4-FFF2-40B4-BE49-F238E27FC236}">
                <a16:creationId xmlns:a16="http://schemas.microsoft.com/office/drawing/2014/main" id="{2F773674-9FB6-F843-45DA-5D190438A306}"/>
              </a:ext>
            </a:extLst>
          </p:cNvPr>
          <p:cNvSpPr/>
          <p:nvPr/>
        </p:nvSpPr>
        <p:spPr>
          <a:xfrm>
            <a:off x="10433167" y="190253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ube dashboard</a:t>
            </a:r>
          </a:p>
        </p:txBody>
      </p:sp>
      <p:grpSp>
        <p:nvGrpSpPr>
          <p:cNvPr id="35" name="Group 34">
            <a:extLst>
              <a:ext uri="{FF2B5EF4-FFF2-40B4-BE49-F238E27FC236}">
                <a16:creationId xmlns:a16="http://schemas.microsoft.com/office/drawing/2014/main" id="{1FEEEA4D-5FD4-ED96-CA99-8CF385B8EDEA}"/>
              </a:ext>
            </a:extLst>
          </p:cNvPr>
          <p:cNvGrpSpPr/>
          <p:nvPr/>
        </p:nvGrpSpPr>
        <p:grpSpPr>
          <a:xfrm>
            <a:off x="151017" y="2313727"/>
            <a:ext cx="1533525" cy="923743"/>
            <a:chOff x="6557428" y="1784663"/>
            <a:chExt cx="1533525" cy="923743"/>
          </a:xfrm>
        </p:grpSpPr>
        <p:pic>
          <p:nvPicPr>
            <p:cNvPr id="26" name="Picture 25" descr="Icon&#10;&#10;Description automatically generated">
              <a:extLst>
                <a:ext uri="{FF2B5EF4-FFF2-40B4-BE49-F238E27FC236}">
                  <a16:creationId xmlns:a16="http://schemas.microsoft.com/office/drawing/2014/main" id="{3356C805-20B9-C497-BAE5-B8C80C9A73F2}"/>
                </a:ext>
              </a:extLst>
            </p:cNvPr>
            <p:cNvPicPr>
              <a:picLocks noChangeAspect="1"/>
            </p:cNvPicPr>
            <p:nvPr/>
          </p:nvPicPr>
          <p:blipFill>
            <a:blip r:embed="rId6">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7004718" y="1784663"/>
              <a:ext cx="604265" cy="676923"/>
            </a:xfrm>
            <a:prstGeom prst="rect">
              <a:avLst/>
            </a:prstGeom>
          </p:spPr>
        </p:pic>
        <p:sp>
          <p:nvSpPr>
            <p:cNvPr id="27" name="Rectangle 26">
              <a:extLst>
                <a:ext uri="{FF2B5EF4-FFF2-40B4-BE49-F238E27FC236}">
                  <a16:creationId xmlns:a16="http://schemas.microsoft.com/office/drawing/2014/main" id="{5616D457-2C76-01E7-B9E0-C9CC3C55ECA7}"/>
                </a:ext>
              </a:extLst>
            </p:cNvPr>
            <p:cNvSpPr/>
            <p:nvPr/>
          </p:nvSpPr>
          <p:spPr>
            <a:xfrm>
              <a:off x="6557428" y="247028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ube</a:t>
              </a:r>
            </a:p>
          </p:txBody>
        </p:sp>
      </p:grpSp>
      <p:pic>
        <p:nvPicPr>
          <p:cNvPr id="29" name="Picture 28" descr="Icon&#10;&#10;Description automatically generated">
            <a:extLst>
              <a:ext uri="{FF2B5EF4-FFF2-40B4-BE49-F238E27FC236}">
                <a16:creationId xmlns:a16="http://schemas.microsoft.com/office/drawing/2014/main" id="{839BEF8E-3F76-5758-7DC6-89EB203ABE59}"/>
              </a:ext>
            </a:extLst>
          </p:cNvPr>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398023" y="2285067"/>
            <a:ext cx="664691" cy="664691"/>
          </a:xfrm>
          <a:prstGeom prst="rect">
            <a:avLst/>
          </a:prstGeom>
        </p:spPr>
      </p:pic>
      <p:sp>
        <p:nvSpPr>
          <p:cNvPr id="30" name="Rectangle 29">
            <a:extLst>
              <a:ext uri="{FF2B5EF4-FFF2-40B4-BE49-F238E27FC236}">
                <a16:creationId xmlns:a16="http://schemas.microsoft.com/office/drawing/2014/main" id="{2359316E-5BCA-294E-EE3E-A0738E057D80}"/>
              </a:ext>
            </a:extLst>
          </p:cNvPr>
          <p:cNvSpPr/>
          <p:nvPr/>
        </p:nvSpPr>
        <p:spPr>
          <a:xfrm>
            <a:off x="974378" y="297816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ustomer</a:t>
            </a:r>
          </a:p>
          <a:p>
            <a:pPr algn="ctr"/>
            <a:r>
              <a:rPr lang="en-US" sz="1100">
                <a:solidFill>
                  <a:schemeClr val="tx1"/>
                </a:solidFill>
                <a:latin typeface="Ubuntu" panose="020B0504030602030204" pitchFamily="34" charset="0"/>
              </a:rPr>
              <a:t>portal</a:t>
            </a:r>
          </a:p>
        </p:txBody>
      </p:sp>
      <p:pic>
        <p:nvPicPr>
          <p:cNvPr id="32" name="Picture 31" descr="Logo, icon&#10;&#10;Description automatically generated">
            <a:extLst>
              <a:ext uri="{FF2B5EF4-FFF2-40B4-BE49-F238E27FC236}">
                <a16:creationId xmlns:a16="http://schemas.microsoft.com/office/drawing/2014/main" id="{C4467BAD-9217-6F1F-627E-C28868B3840F}"/>
              </a:ext>
            </a:extLst>
          </p:cNvPr>
          <p:cNvPicPr>
            <a:picLocks noChangeAspect="1"/>
          </p:cNvPicPr>
          <p:nvPr/>
        </p:nvPicPr>
        <p:blipFill>
          <a:blip r:embed="rId8">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351310" y="2389809"/>
            <a:ext cx="524165" cy="517486"/>
          </a:xfrm>
          <a:prstGeom prst="rect">
            <a:avLst/>
          </a:prstGeom>
        </p:spPr>
      </p:pic>
      <p:sp>
        <p:nvSpPr>
          <p:cNvPr id="39" name="Rectangle 38">
            <a:extLst>
              <a:ext uri="{FF2B5EF4-FFF2-40B4-BE49-F238E27FC236}">
                <a16:creationId xmlns:a16="http://schemas.microsoft.com/office/drawing/2014/main" id="{9E8705A8-A357-3315-35BC-F28E88B2B70D}"/>
              </a:ext>
            </a:extLst>
          </p:cNvPr>
          <p:cNvSpPr/>
          <p:nvPr/>
        </p:nvSpPr>
        <p:spPr>
          <a:xfrm>
            <a:off x="1832792" y="2966582"/>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Data feed</a:t>
            </a:r>
          </a:p>
        </p:txBody>
      </p:sp>
      <p:pic>
        <p:nvPicPr>
          <p:cNvPr id="34" name="Picture 33" descr="Icon&#10;&#10;Description automatically generated">
            <a:extLst>
              <a:ext uri="{FF2B5EF4-FFF2-40B4-BE49-F238E27FC236}">
                <a16:creationId xmlns:a16="http://schemas.microsoft.com/office/drawing/2014/main" id="{2AF1D6A2-371E-8C33-CA5B-A04C7692F414}"/>
              </a:ext>
            </a:extLst>
          </p:cNvPr>
          <p:cNvPicPr>
            <a:picLocks noChangeAspect="1"/>
          </p:cNvPicPr>
          <p:nvPr/>
        </p:nvPicPr>
        <p:blipFill>
          <a:blip r:embed="rId9">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055831" y="2326241"/>
            <a:ext cx="740062" cy="615420"/>
          </a:xfrm>
          <a:prstGeom prst="rect">
            <a:avLst/>
          </a:prstGeom>
        </p:spPr>
      </p:pic>
      <p:sp>
        <p:nvSpPr>
          <p:cNvPr id="40" name="Rectangle 39">
            <a:extLst>
              <a:ext uri="{FF2B5EF4-FFF2-40B4-BE49-F238E27FC236}">
                <a16:creationId xmlns:a16="http://schemas.microsoft.com/office/drawing/2014/main" id="{AB7A4563-5930-61CF-55DD-6A146BDABD4C}"/>
              </a:ext>
            </a:extLst>
          </p:cNvPr>
          <p:cNvSpPr/>
          <p:nvPr/>
        </p:nvSpPr>
        <p:spPr>
          <a:xfrm>
            <a:off x="2647822" y="296052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Data</a:t>
            </a:r>
          </a:p>
        </p:txBody>
      </p:sp>
      <p:pic>
        <p:nvPicPr>
          <p:cNvPr id="36" name="Picture 35" descr="Icon&#10;&#10;Description automatically generated">
            <a:extLst>
              <a:ext uri="{FF2B5EF4-FFF2-40B4-BE49-F238E27FC236}">
                <a16:creationId xmlns:a16="http://schemas.microsoft.com/office/drawing/2014/main" id="{23BAAC39-D12C-80B2-1932-B22B74C202C9}"/>
              </a:ext>
            </a:extLst>
          </p:cNvPr>
          <p:cNvPicPr>
            <a:picLocks noChangeAspect="1"/>
          </p:cNvPicPr>
          <p:nvPr/>
        </p:nvPicPr>
        <p:blipFill>
          <a:blip r:embed="rId10">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013065" y="2346263"/>
            <a:ext cx="569235" cy="593719"/>
          </a:xfrm>
          <a:prstGeom prst="rect">
            <a:avLst/>
          </a:prstGeom>
        </p:spPr>
      </p:pic>
      <p:sp>
        <p:nvSpPr>
          <p:cNvPr id="41" name="Rectangle 40">
            <a:extLst>
              <a:ext uri="{FF2B5EF4-FFF2-40B4-BE49-F238E27FC236}">
                <a16:creationId xmlns:a16="http://schemas.microsoft.com/office/drawing/2014/main" id="{C62CA7E2-F14B-BB1C-8B81-3A21743566AD}"/>
              </a:ext>
            </a:extLst>
          </p:cNvPr>
          <p:cNvSpPr/>
          <p:nvPr/>
        </p:nvSpPr>
        <p:spPr>
          <a:xfrm>
            <a:off x="3530920" y="295820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Downstream</a:t>
            </a:r>
          </a:p>
        </p:txBody>
      </p:sp>
      <p:pic>
        <p:nvPicPr>
          <p:cNvPr id="43" name="Picture 42" descr="Icon&#10;&#10;Description automatically generated">
            <a:extLst>
              <a:ext uri="{FF2B5EF4-FFF2-40B4-BE49-F238E27FC236}">
                <a16:creationId xmlns:a16="http://schemas.microsoft.com/office/drawing/2014/main" id="{9C1B70EC-D6A0-A93D-6F4A-95171E175DEF}"/>
              </a:ext>
            </a:extLst>
          </p:cNvPr>
          <p:cNvPicPr>
            <a:picLocks noChangeAspect="1"/>
          </p:cNvPicPr>
          <p:nvPr/>
        </p:nvPicPr>
        <p:blipFill>
          <a:blip r:embed="rId11">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765933" y="2287555"/>
            <a:ext cx="730450" cy="664691"/>
          </a:xfrm>
          <a:prstGeom prst="rect">
            <a:avLst/>
          </a:prstGeom>
        </p:spPr>
      </p:pic>
      <p:sp>
        <p:nvSpPr>
          <p:cNvPr id="44" name="Rectangle 43">
            <a:extLst>
              <a:ext uri="{FF2B5EF4-FFF2-40B4-BE49-F238E27FC236}">
                <a16:creationId xmlns:a16="http://schemas.microsoft.com/office/drawing/2014/main" id="{3AA56329-953D-C563-6D17-DF8962947810}"/>
              </a:ext>
            </a:extLst>
          </p:cNvPr>
          <p:cNvSpPr/>
          <p:nvPr/>
        </p:nvSpPr>
        <p:spPr>
          <a:xfrm>
            <a:off x="4364396" y="297515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Energy</a:t>
            </a:r>
          </a:p>
          <a:p>
            <a:pPr algn="ctr"/>
            <a:r>
              <a:rPr lang="en-US" sz="1100">
                <a:solidFill>
                  <a:schemeClr val="tx1"/>
                </a:solidFill>
                <a:latin typeface="Ubuntu" panose="020B0504030602030204" pitchFamily="34" charset="0"/>
              </a:rPr>
              <a:t>transition</a:t>
            </a:r>
          </a:p>
        </p:txBody>
      </p:sp>
      <p:pic>
        <p:nvPicPr>
          <p:cNvPr id="46" name="Picture 45" descr="Logo, icon&#10;&#10;Description automatically generated">
            <a:extLst>
              <a:ext uri="{FF2B5EF4-FFF2-40B4-BE49-F238E27FC236}">
                <a16:creationId xmlns:a16="http://schemas.microsoft.com/office/drawing/2014/main" id="{337D56EE-A7D3-C58A-D567-CAB4553E8F8C}"/>
              </a:ext>
            </a:extLst>
          </p:cNvPr>
          <p:cNvPicPr>
            <a:picLocks noChangeAspect="1"/>
          </p:cNvPicPr>
          <p:nvPr/>
        </p:nvPicPr>
        <p:blipFill>
          <a:blip r:embed="rId1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7346468" y="2331447"/>
            <a:ext cx="664691" cy="664691"/>
          </a:xfrm>
          <a:prstGeom prst="rect">
            <a:avLst/>
          </a:prstGeom>
        </p:spPr>
      </p:pic>
      <p:sp>
        <p:nvSpPr>
          <p:cNvPr id="47" name="Rectangle 46">
            <a:extLst>
              <a:ext uri="{FF2B5EF4-FFF2-40B4-BE49-F238E27FC236}">
                <a16:creationId xmlns:a16="http://schemas.microsoft.com/office/drawing/2014/main" id="{2F3934A1-13F2-42A5-9826-99B6C84F0D76}"/>
              </a:ext>
            </a:extLst>
          </p:cNvPr>
          <p:cNvSpPr/>
          <p:nvPr/>
        </p:nvSpPr>
        <p:spPr>
          <a:xfrm>
            <a:off x="6912051" y="298485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Hydrogen</a:t>
            </a:r>
          </a:p>
        </p:txBody>
      </p:sp>
      <p:sp>
        <p:nvSpPr>
          <p:cNvPr id="52" name="Rectangle 51">
            <a:extLst>
              <a:ext uri="{FF2B5EF4-FFF2-40B4-BE49-F238E27FC236}">
                <a16:creationId xmlns:a16="http://schemas.microsoft.com/office/drawing/2014/main" id="{DE21F87E-A538-34E8-B4FA-BCC00F2243A2}"/>
              </a:ext>
            </a:extLst>
          </p:cNvPr>
          <p:cNvSpPr/>
          <p:nvPr/>
        </p:nvSpPr>
        <p:spPr>
          <a:xfrm>
            <a:off x="8952543" y="507471"/>
            <a:ext cx="2652631"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a:solidFill>
                  <a:schemeClr val="accent1"/>
                </a:solidFill>
                <a:latin typeface="Ubuntu" panose="020B0504030602030204" pitchFamily="34" charset="0"/>
              </a:rPr>
              <a:t>More icons on SharePoint - here:</a:t>
            </a:r>
          </a:p>
        </p:txBody>
      </p:sp>
      <p:pic>
        <p:nvPicPr>
          <p:cNvPr id="49" name="Picture 48" descr="Icon&#10;&#10;Description automatically generated">
            <a:extLst>
              <a:ext uri="{FF2B5EF4-FFF2-40B4-BE49-F238E27FC236}">
                <a16:creationId xmlns:a16="http://schemas.microsoft.com/office/drawing/2014/main" id="{58EEA195-6924-2752-4F00-0EA95030D0B9}"/>
              </a:ext>
            </a:extLst>
          </p:cNvPr>
          <p:cNvPicPr>
            <a:picLocks noChangeAspect="1"/>
          </p:cNvPicPr>
          <p:nvPr/>
        </p:nvPicPr>
        <p:blipFill>
          <a:blip r:embed="rId1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388852" y="3504680"/>
            <a:ext cx="421404" cy="565217"/>
          </a:xfrm>
          <a:prstGeom prst="rect">
            <a:avLst/>
          </a:prstGeom>
        </p:spPr>
      </p:pic>
      <p:sp>
        <p:nvSpPr>
          <p:cNvPr id="2" name="Rectangle 1">
            <a:extLst>
              <a:ext uri="{FF2B5EF4-FFF2-40B4-BE49-F238E27FC236}">
                <a16:creationId xmlns:a16="http://schemas.microsoft.com/office/drawing/2014/main" id="{505F71C1-C8E4-FA82-9BC5-98803945AA89}"/>
              </a:ext>
            </a:extLst>
          </p:cNvPr>
          <p:cNvSpPr/>
          <p:nvPr/>
        </p:nvSpPr>
        <p:spPr>
          <a:xfrm>
            <a:off x="1832792" y="413666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amp; gas_1</a:t>
            </a:r>
          </a:p>
        </p:txBody>
      </p:sp>
      <p:pic>
        <p:nvPicPr>
          <p:cNvPr id="5" name="Picture 4">
            <a:extLst>
              <a:ext uri="{FF2B5EF4-FFF2-40B4-BE49-F238E27FC236}">
                <a16:creationId xmlns:a16="http://schemas.microsoft.com/office/drawing/2014/main" id="{6F45620D-A4C4-1D04-02B4-2669C34526D6}"/>
              </a:ext>
            </a:extLst>
          </p:cNvPr>
          <p:cNvPicPr>
            <a:picLocks noChangeAspect="1"/>
          </p:cNvPicPr>
          <p:nvPr/>
        </p:nvPicPr>
        <p:blipFill>
          <a:blip r:embed="rId14">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9915943" y="3414583"/>
            <a:ext cx="681079" cy="704450"/>
          </a:xfrm>
          <a:prstGeom prst="rect">
            <a:avLst/>
          </a:prstGeom>
        </p:spPr>
      </p:pic>
      <p:sp>
        <p:nvSpPr>
          <p:cNvPr id="6" name="Rectangle 5">
            <a:extLst>
              <a:ext uri="{FF2B5EF4-FFF2-40B4-BE49-F238E27FC236}">
                <a16:creationId xmlns:a16="http://schemas.microsoft.com/office/drawing/2014/main" id="{79852F09-C597-7957-1CED-0745322EE370}"/>
              </a:ext>
            </a:extLst>
          </p:cNvPr>
          <p:cNvSpPr/>
          <p:nvPr/>
        </p:nvSpPr>
        <p:spPr>
          <a:xfrm>
            <a:off x="9489720" y="414475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Renewables</a:t>
            </a:r>
          </a:p>
        </p:txBody>
      </p:sp>
      <p:grpSp>
        <p:nvGrpSpPr>
          <p:cNvPr id="94" name="Group 93">
            <a:extLst>
              <a:ext uri="{FF2B5EF4-FFF2-40B4-BE49-F238E27FC236}">
                <a16:creationId xmlns:a16="http://schemas.microsoft.com/office/drawing/2014/main" id="{6405147C-8608-667B-B890-EA3512FF6A7E}"/>
              </a:ext>
            </a:extLst>
          </p:cNvPr>
          <p:cNvGrpSpPr/>
          <p:nvPr/>
        </p:nvGrpSpPr>
        <p:grpSpPr>
          <a:xfrm>
            <a:off x="151017" y="4615078"/>
            <a:ext cx="1533525" cy="902112"/>
            <a:chOff x="10071649" y="3007796"/>
            <a:chExt cx="1533525" cy="902112"/>
          </a:xfrm>
        </p:grpSpPr>
        <p:pic>
          <p:nvPicPr>
            <p:cNvPr id="8" name="Picture 7" descr="Icon&#10;&#10;Description automatically generated with low confidence">
              <a:extLst>
                <a:ext uri="{FF2B5EF4-FFF2-40B4-BE49-F238E27FC236}">
                  <a16:creationId xmlns:a16="http://schemas.microsoft.com/office/drawing/2014/main" id="{21BA0447-2B77-1A20-CEDD-449BC4F1EF52}"/>
                </a:ext>
              </a:extLst>
            </p:cNvPr>
            <p:cNvPicPr>
              <a:picLocks noChangeAspect="1"/>
            </p:cNvPicPr>
            <p:nvPr/>
          </p:nvPicPr>
          <p:blipFill>
            <a:blip r:embed="rId1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516826" y="3007796"/>
              <a:ext cx="684280" cy="572073"/>
            </a:xfrm>
            <a:prstGeom prst="rect">
              <a:avLst/>
            </a:prstGeom>
          </p:spPr>
        </p:pic>
        <p:sp>
          <p:nvSpPr>
            <p:cNvPr id="9" name="Rectangle 8">
              <a:extLst>
                <a:ext uri="{FF2B5EF4-FFF2-40B4-BE49-F238E27FC236}">
                  <a16:creationId xmlns:a16="http://schemas.microsoft.com/office/drawing/2014/main" id="{ADEEC0F0-05B6-4014-2372-28371B0C7013}"/>
                </a:ext>
              </a:extLst>
            </p:cNvPr>
            <p:cNvSpPr/>
            <p:nvPr/>
          </p:nvSpPr>
          <p:spPr>
            <a:xfrm>
              <a:off x="10071649" y="367178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Rigs &amp; vessels</a:t>
              </a:r>
            </a:p>
          </p:txBody>
        </p:sp>
      </p:grpSp>
      <p:pic>
        <p:nvPicPr>
          <p:cNvPr id="12" name="Picture 11" descr="Logo, icon&#10;&#10;Description automatically generated">
            <a:extLst>
              <a:ext uri="{FF2B5EF4-FFF2-40B4-BE49-F238E27FC236}">
                <a16:creationId xmlns:a16="http://schemas.microsoft.com/office/drawing/2014/main" id="{14E18B82-3590-C947-1F0D-618A4664B371}"/>
              </a:ext>
            </a:extLst>
          </p:cNvPr>
          <p:cNvPicPr>
            <a:picLocks noChangeAspect="1"/>
          </p:cNvPicPr>
          <p:nvPr/>
        </p:nvPicPr>
        <p:blipFill>
          <a:blip r:embed="rId16">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260754" y="4596063"/>
            <a:ext cx="664691" cy="664691"/>
          </a:xfrm>
          <a:prstGeom prst="rect">
            <a:avLst/>
          </a:prstGeom>
        </p:spPr>
      </p:pic>
      <p:sp>
        <p:nvSpPr>
          <p:cNvPr id="16" name="Rectangle 15">
            <a:extLst>
              <a:ext uri="{FF2B5EF4-FFF2-40B4-BE49-F238E27FC236}">
                <a16:creationId xmlns:a16="http://schemas.microsoft.com/office/drawing/2014/main" id="{C9FAC6B1-8613-2B89-07B1-465ABC97DA9D}"/>
              </a:ext>
            </a:extLst>
          </p:cNvPr>
          <p:cNvSpPr/>
          <p:nvPr/>
        </p:nvSpPr>
        <p:spPr>
          <a:xfrm>
            <a:off x="1832792" y="526562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ervice markets</a:t>
            </a:r>
          </a:p>
        </p:txBody>
      </p:sp>
      <p:pic>
        <p:nvPicPr>
          <p:cNvPr id="22" name="Picture 21" descr="Logo, icon&#10;&#10;Description automatically generated">
            <a:extLst>
              <a:ext uri="{FF2B5EF4-FFF2-40B4-BE49-F238E27FC236}">
                <a16:creationId xmlns:a16="http://schemas.microsoft.com/office/drawing/2014/main" id="{ABE3FEE6-FA41-8E1D-40B3-79C04B53591B}"/>
              </a:ext>
            </a:extLst>
          </p:cNvPr>
          <p:cNvPicPr>
            <a:picLocks noChangeAspect="1"/>
          </p:cNvPicPr>
          <p:nvPr/>
        </p:nvPicPr>
        <p:blipFill>
          <a:blip r:embed="rId1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498456" y="4568887"/>
            <a:ext cx="637375" cy="637375"/>
          </a:xfrm>
          <a:prstGeom prst="rect">
            <a:avLst/>
          </a:prstGeom>
        </p:spPr>
      </p:pic>
      <p:sp>
        <p:nvSpPr>
          <p:cNvPr id="25" name="Rectangle 24">
            <a:extLst>
              <a:ext uri="{FF2B5EF4-FFF2-40B4-BE49-F238E27FC236}">
                <a16:creationId xmlns:a16="http://schemas.microsoft.com/office/drawing/2014/main" id="{584CEE21-40F1-B38B-B0B7-5BA9CCBD285E}"/>
              </a:ext>
            </a:extLst>
          </p:cNvPr>
          <p:cNvSpPr/>
          <p:nvPr/>
        </p:nvSpPr>
        <p:spPr>
          <a:xfrm>
            <a:off x="6050381" y="528384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upply</a:t>
            </a:r>
          </a:p>
          <a:p>
            <a:pPr algn="ctr"/>
            <a:r>
              <a:rPr lang="en-US" sz="1100">
                <a:solidFill>
                  <a:schemeClr val="tx1"/>
                </a:solidFill>
                <a:latin typeface="Ubuntu" panose="020B0504030602030204" pitchFamily="34" charset="0"/>
              </a:rPr>
              <a:t>chain</a:t>
            </a:r>
          </a:p>
        </p:txBody>
      </p:sp>
      <p:pic>
        <p:nvPicPr>
          <p:cNvPr id="31" name="Picture 30" descr="Icon&#10;&#10;Description automatically generated">
            <a:extLst>
              <a:ext uri="{FF2B5EF4-FFF2-40B4-BE49-F238E27FC236}">
                <a16:creationId xmlns:a16="http://schemas.microsoft.com/office/drawing/2014/main" id="{5FD4475A-9D89-2589-BE57-D67EBEE99CBF}"/>
              </a:ext>
            </a:extLst>
          </p:cNvPr>
          <p:cNvPicPr>
            <a:picLocks noChangeAspect="1"/>
          </p:cNvPicPr>
          <p:nvPr/>
        </p:nvPicPr>
        <p:blipFill>
          <a:blip r:embed="rId18">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757698" y="5756484"/>
            <a:ext cx="524247" cy="523410"/>
          </a:xfrm>
          <a:prstGeom prst="rect">
            <a:avLst/>
          </a:prstGeom>
        </p:spPr>
      </p:pic>
      <p:sp>
        <p:nvSpPr>
          <p:cNvPr id="33" name="Rectangle 32">
            <a:extLst>
              <a:ext uri="{FF2B5EF4-FFF2-40B4-BE49-F238E27FC236}">
                <a16:creationId xmlns:a16="http://schemas.microsoft.com/office/drawing/2014/main" id="{CBBD5FC8-57F6-D639-9CA0-90A3038D28A1}"/>
              </a:ext>
            </a:extLst>
          </p:cNvPr>
          <p:cNvSpPr/>
          <p:nvPr/>
        </p:nvSpPr>
        <p:spPr>
          <a:xfrm>
            <a:off x="5253059" y="630777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ind offshore</a:t>
            </a:r>
          </a:p>
        </p:txBody>
      </p:sp>
      <p:pic>
        <p:nvPicPr>
          <p:cNvPr id="37" name="Picture 36" descr="Icon&#10;&#10;Description automatically generated">
            <a:extLst>
              <a:ext uri="{FF2B5EF4-FFF2-40B4-BE49-F238E27FC236}">
                <a16:creationId xmlns:a16="http://schemas.microsoft.com/office/drawing/2014/main" id="{0EA3A16C-9D9D-024B-35F9-D66709EB1506}"/>
              </a:ext>
            </a:extLst>
          </p:cNvPr>
          <p:cNvPicPr>
            <a:picLocks noChangeAspect="1"/>
          </p:cNvPicPr>
          <p:nvPr/>
        </p:nvPicPr>
        <p:blipFill>
          <a:blip r:embed="rId19">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7395815" y="5746015"/>
            <a:ext cx="529264" cy="529264"/>
          </a:xfrm>
          <a:prstGeom prst="rect">
            <a:avLst/>
          </a:prstGeom>
        </p:spPr>
      </p:pic>
      <p:sp>
        <p:nvSpPr>
          <p:cNvPr id="38" name="Rectangle 37">
            <a:extLst>
              <a:ext uri="{FF2B5EF4-FFF2-40B4-BE49-F238E27FC236}">
                <a16:creationId xmlns:a16="http://schemas.microsoft.com/office/drawing/2014/main" id="{86789CD4-8F34-AC8E-14DF-31541FDC40B5}"/>
              </a:ext>
            </a:extLst>
          </p:cNvPr>
          <p:cNvSpPr/>
          <p:nvPr/>
        </p:nvSpPr>
        <p:spPr>
          <a:xfrm>
            <a:off x="6912051" y="630733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ork</a:t>
            </a:r>
          </a:p>
        </p:txBody>
      </p:sp>
      <p:pic>
        <p:nvPicPr>
          <p:cNvPr id="45" name="Picture 44" descr="Icon&#10;&#10;Description automatically generated">
            <a:extLst>
              <a:ext uri="{FF2B5EF4-FFF2-40B4-BE49-F238E27FC236}">
                <a16:creationId xmlns:a16="http://schemas.microsoft.com/office/drawing/2014/main" id="{62665C4E-63E4-8FB6-27A8-5C369146FAAA}"/>
              </a:ext>
            </a:extLst>
          </p:cNvPr>
          <p:cNvPicPr>
            <a:picLocks noChangeAspect="1"/>
          </p:cNvPicPr>
          <p:nvPr/>
        </p:nvPicPr>
        <p:blipFill>
          <a:blip r:embed="rId20">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966732" y="3451255"/>
            <a:ext cx="466395" cy="648504"/>
          </a:xfrm>
          <a:prstGeom prst="rect">
            <a:avLst/>
          </a:prstGeom>
        </p:spPr>
      </p:pic>
      <p:sp>
        <p:nvSpPr>
          <p:cNvPr id="48" name="Rectangle 47">
            <a:extLst>
              <a:ext uri="{FF2B5EF4-FFF2-40B4-BE49-F238E27FC236}">
                <a16:creationId xmlns:a16="http://schemas.microsoft.com/office/drawing/2014/main" id="{662ED029-954F-C2EB-E363-828B1BE4CC42}"/>
              </a:ext>
            </a:extLst>
          </p:cNvPr>
          <p:cNvSpPr/>
          <p:nvPr/>
        </p:nvSpPr>
        <p:spPr>
          <a:xfrm>
            <a:off x="10433167" y="414393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Reports</a:t>
            </a:r>
          </a:p>
        </p:txBody>
      </p:sp>
      <p:pic>
        <p:nvPicPr>
          <p:cNvPr id="54" name="Picture 53" descr="Icon&#10;&#10;Description automatically generated">
            <a:extLst>
              <a:ext uri="{FF2B5EF4-FFF2-40B4-BE49-F238E27FC236}">
                <a16:creationId xmlns:a16="http://schemas.microsoft.com/office/drawing/2014/main" id="{940DDF99-C048-933C-9A77-29EF00981DC1}"/>
              </a:ext>
            </a:extLst>
          </p:cNvPr>
          <p:cNvPicPr>
            <a:picLocks noChangeAspect="1"/>
          </p:cNvPicPr>
          <p:nvPr/>
        </p:nvPicPr>
        <p:blipFill>
          <a:blip r:embed="rId21">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943116" y="1342070"/>
            <a:ext cx="681522" cy="552759"/>
          </a:xfrm>
          <a:prstGeom prst="rect">
            <a:avLst/>
          </a:prstGeom>
        </p:spPr>
      </p:pic>
      <p:sp>
        <p:nvSpPr>
          <p:cNvPr id="61" name="Rectangle 60">
            <a:extLst>
              <a:ext uri="{FF2B5EF4-FFF2-40B4-BE49-F238E27FC236}">
                <a16:creationId xmlns:a16="http://schemas.microsoft.com/office/drawing/2014/main" id="{71864119-90FC-EF14-13E2-4582C8CC2016}"/>
              </a:ext>
            </a:extLst>
          </p:cNvPr>
          <p:cNvSpPr/>
          <p:nvPr/>
        </p:nvSpPr>
        <p:spPr>
          <a:xfrm>
            <a:off x="3530920" y="189963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Batteries_3</a:t>
            </a:r>
          </a:p>
        </p:txBody>
      </p:sp>
      <p:pic>
        <p:nvPicPr>
          <p:cNvPr id="58" name="Picture 57" descr="Icon&#10;&#10;Description automatically generated">
            <a:extLst>
              <a:ext uri="{FF2B5EF4-FFF2-40B4-BE49-F238E27FC236}">
                <a16:creationId xmlns:a16="http://schemas.microsoft.com/office/drawing/2014/main" id="{56AF7070-3AAC-CEEE-6B0A-AE3BAE229EB3}"/>
              </a:ext>
            </a:extLst>
          </p:cNvPr>
          <p:cNvPicPr>
            <a:picLocks noChangeAspect="1"/>
          </p:cNvPicPr>
          <p:nvPr/>
        </p:nvPicPr>
        <p:blipFill>
          <a:blip r:embed="rId2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425390" y="1257793"/>
            <a:ext cx="348329" cy="668838"/>
          </a:xfrm>
          <a:prstGeom prst="rect">
            <a:avLst/>
          </a:prstGeom>
        </p:spPr>
      </p:pic>
      <p:sp>
        <p:nvSpPr>
          <p:cNvPr id="62" name="Rectangle 61">
            <a:extLst>
              <a:ext uri="{FF2B5EF4-FFF2-40B4-BE49-F238E27FC236}">
                <a16:creationId xmlns:a16="http://schemas.microsoft.com/office/drawing/2014/main" id="{8629BBC4-75D7-0DA3-F6BD-09F14F67CFAC}"/>
              </a:ext>
            </a:extLst>
          </p:cNvPr>
          <p:cNvSpPr/>
          <p:nvPr/>
        </p:nvSpPr>
        <p:spPr>
          <a:xfrm>
            <a:off x="1832792" y="1901972"/>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Batteries_1</a:t>
            </a:r>
          </a:p>
        </p:txBody>
      </p:sp>
      <p:pic>
        <p:nvPicPr>
          <p:cNvPr id="56" name="Picture 55" descr="Shape&#10;&#10;Description automatically generated with low confidence">
            <a:extLst>
              <a:ext uri="{FF2B5EF4-FFF2-40B4-BE49-F238E27FC236}">
                <a16:creationId xmlns:a16="http://schemas.microsoft.com/office/drawing/2014/main" id="{B31FDA9C-C097-6FE6-2ED4-EBAB17201C39}"/>
              </a:ext>
            </a:extLst>
          </p:cNvPr>
          <p:cNvPicPr>
            <a:picLocks noChangeAspect="1"/>
          </p:cNvPicPr>
          <p:nvPr/>
        </p:nvPicPr>
        <p:blipFill>
          <a:blip r:embed="rId2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240420" y="1238838"/>
            <a:ext cx="348329" cy="668838"/>
          </a:xfrm>
          <a:prstGeom prst="rect">
            <a:avLst/>
          </a:prstGeom>
        </p:spPr>
      </p:pic>
      <p:sp>
        <p:nvSpPr>
          <p:cNvPr id="63" name="Rectangle 62">
            <a:extLst>
              <a:ext uri="{FF2B5EF4-FFF2-40B4-BE49-F238E27FC236}">
                <a16:creationId xmlns:a16="http://schemas.microsoft.com/office/drawing/2014/main" id="{F3685ED9-7688-A90D-94CC-CFF2667E2032}"/>
              </a:ext>
            </a:extLst>
          </p:cNvPr>
          <p:cNvSpPr/>
          <p:nvPr/>
        </p:nvSpPr>
        <p:spPr>
          <a:xfrm>
            <a:off x="2647822" y="190206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Batteries_2</a:t>
            </a:r>
          </a:p>
        </p:txBody>
      </p:sp>
      <p:pic>
        <p:nvPicPr>
          <p:cNvPr id="65" name="Picture 64" descr="Icon&#10;&#10;Description automatically generated">
            <a:extLst>
              <a:ext uri="{FF2B5EF4-FFF2-40B4-BE49-F238E27FC236}">
                <a16:creationId xmlns:a16="http://schemas.microsoft.com/office/drawing/2014/main" id="{611DDAAA-22D7-95A6-2464-4F00B6E6B52B}"/>
              </a:ext>
            </a:extLst>
          </p:cNvPr>
          <p:cNvPicPr>
            <a:picLocks noChangeAspect="1"/>
          </p:cNvPicPr>
          <p:nvPr/>
        </p:nvPicPr>
        <p:blipFill>
          <a:blip r:embed="rId24">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589532" y="1180102"/>
            <a:ext cx="682193" cy="682193"/>
          </a:xfrm>
          <a:prstGeom prst="rect">
            <a:avLst/>
          </a:prstGeom>
        </p:spPr>
      </p:pic>
      <p:sp>
        <p:nvSpPr>
          <p:cNvPr id="68" name="Rectangle 67">
            <a:extLst>
              <a:ext uri="{FF2B5EF4-FFF2-40B4-BE49-F238E27FC236}">
                <a16:creationId xmlns:a16="http://schemas.microsoft.com/office/drawing/2014/main" id="{EB800516-571B-80BC-BB1A-88BA5B598DBA}"/>
              </a:ext>
            </a:extLst>
          </p:cNvPr>
          <p:cNvSpPr/>
          <p:nvPr/>
        </p:nvSpPr>
        <p:spPr>
          <a:xfrm>
            <a:off x="5163866" y="191495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harts</a:t>
            </a:r>
          </a:p>
        </p:txBody>
      </p:sp>
      <p:pic>
        <p:nvPicPr>
          <p:cNvPr id="74" name="Picture 73" descr="Icon&#10;&#10;Description automatically generated">
            <a:extLst>
              <a:ext uri="{FF2B5EF4-FFF2-40B4-BE49-F238E27FC236}">
                <a16:creationId xmlns:a16="http://schemas.microsoft.com/office/drawing/2014/main" id="{21997DBA-AC80-7813-1134-262164F8A619}"/>
              </a:ext>
            </a:extLst>
          </p:cNvPr>
          <p:cNvPicPr>
            <a:picLocks noChangeAspect="1"/>
          </p:cNvPicPr>
          <p:nvPr/>
        </p:nvPicPr>
        <p:blipFill>
          <a:blip r:embed="rId2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239792" y="2289136"/>
            <a:ext cx="510475" cy="657376"/>
          </a:xfrm>
          <a:prstGeom prst="rect">
            <a:avLst/>
          </a:prstGeom>
        </p:spPr>
      </p:pic>
      <p:sp>
        <p:nvSpPr>
          <p:cNvPr id="75" name="Rectangle 74">
            <a:extLst>
              <a:ext uri="{FF2B5EF4-FFF2-40B4-BE49-F238E27FC236}">
                <a16:creationId xmlns:a16="http://schemas.microsoft.com/office/drawing/2014/main" id="{66FAD7FA-39B2-4FBC-411F-72AAA0D3A12C}"/>
              </a:ext>
            </a:extLst>
          </p:cNvPr>
          <p:cNvSpPr/>
          <p:nvPr/>
        </p:nvSpPr>
        <p:spPr>
          <a:xfrm>
            <a:off x="7771987" y="2978096"/>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In the news</a:t>
            </a:r>
          </a:p>
        </p:txBody>
      </p:sp>
      <p:pic>
        <p:nvPicPr>
          <p:cNvPr id="72" name="Picture 71" descr="Logo, icon&#10;&#10;Description automatically generated">
            <a:extLst>
              <a:ext uri="{FF2B5EF4-FFF2-40B4-BE49-F238E27FC236}">
                <a16:creationId xmlns:a16="http://schemas.microsoft.com/office/drawing/2014/main" id="{0CCE2134-56AF-3DE1-9467-8A88B7D904BE}"/>
              </a:ext>
            </a:extLst>
          </p:cNvPr>
          <p:cNvPicPr>
            <a:picLocks noChangeAspect="1"/>
          </p:cNvPicPr>
          <p:nvPr/>
        </p:nvPicPr>
        <p:blipFill>
          <a:blip r:embed="rId26">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7247296" y="1304664"/>
            <a:ext cx="863035" cy="554546"/>
          </a:xfrm>
          <a:prstGeom prst="rect">
            <a:avLst/>
          </a:prstGeom>
        </p:spPr>
      </p:pic>
      <p:sp>
        <p:nvSpPr>
          <p:cNvPr id="76" name="Rectangle 75">
            <a:extLst>
              <a:ext uri="{FF2B5EF4-FFF2-40B4-BE49-F238E27FC236}">
                <a16:creationId xmlns:a16="http://schemas.microsoft.com/office/drawing/2014/main" id="{CD15E1BC-E98B-2273-F890-9F105BD41E29}"/>
              </a:ext>
            </a:extLst>
          </p:cNvPr>
          <p:cNvSpPr/>
          <p:nvPr/>
        </p:nvSpPr>
        <p:spPr>
          <a:xfrm>
            <a:off x="6912051" y="190286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O2_1</a:t>
            </a:r>
          </a:p>
        </p:txBody>
      </p:sp>
      <p:pic>
        <p:nvPicPr>
          <p:cNvPr id="70" name="Picture 69" descr="Logo, icon&#10;&#10;Description automatically generated">
            <a:extLst>
              <a:ext uri="{FF2B5EF4-FFF2-40B4-BE49-F238E27FC236}">
                <a16:creationId xmlns:a16="http://schemas.microsoft.com/office/drawing/2014/main" id="{3962010B-AF2F-64D8-3A69-27463D7F6FB0}"/>
              </a:ext>
            </a:extLst>
          </p:cNvPr>
          <p:cNvPicPr>
            <a:picLocks noChangeAspect="1"/>
          </p:cNvPicPr>
          <p:nvPr/>
        </p:nvPicPr>
        <p:blipFill>
          <a:blip r:embed="rId2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236617" y="1295055"/>
            <a:ext cx="604265" cy="604265"/>
          </a:xfrm>
          <a:prstGeom prst="rect">
            <a:avLst/>
          </a:prstGeom>
        </p:spPr>
      </p:pic>
      <p:sp>
        <p:nvSpPr>
          <p:cNvPr id="77" name="Rectangle 76">
            <a:extLst>
              <a:ext uri="{FF2B5EF4-FFF2-40B4-BE49-F238E27FC236}">
                <a16:creationId xmlns:a16="http://schemas.microsoft.com/office/drawing/2014/main" id="{98E6E83F-4C6B-42FB-1E9A-249C94E6FDCF}"/>
              </a:ext>
            </a:extLst>
          </p:cNvPr>
          <p:cNvSpPr/>
          <p:nvPr/>
        </p:nvSpPr>
        <p:spPr>
          <a:xfrm>
            <a:off x="7771987" y="189455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O2_2</a:t>
            </a:r>
          </a:p>
        </p:txBody>
      </p:sp>
      <p:pic>
        <p:nvPicPr>
          <p:cNvPr id="79" name="Picture 78">
            <a:extLst>
              <a:ext uri="{FF2B5EF4-FFF2-40B4-BE49-F238E27FC236}">
                <a16:creationId xmlns:a16="http://schemas.microsoft.com/office/drawing/2014/main" id="{1E151C3C-9787-A0E0-7D63-BA3D4471E8B7}"/>
              </a:ext>
            </a:extLst>
          </p:cNvPr>
          <p:cNvPicPr>
            <a:picLocks noChangeAspect="1"/>
          </p:cNvPicPr>
          <p:nvPr/>
        </p:nvPicPr>
        <p:blipFill>
          <a:blip r:embed="rId28">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038220" y="2317812"/>
            <a:ext cx="461508" cy="667169"/>
          </a:xfrm>
          <a:prstGeom prst="rect">
            <a:avLst/>
          </a:prstGeom>
        </p:spPr>
      </p:pic>
      <p:sp>
        <p:nvSpPr>
          <p:cNvPr id="80" name="Rectangle 79">
            <a:extLst>
              <a:ext uri="{FF2B5EF4-FFF2-40B4-BE49-F238E27FC236}">
                <a16:creationId xmlns:a16="http://schemas.microsoft.com/office/drawing/2014/main" id="{6E730679-9E8F-8591-775D-867A88E8AA2C}"/>
              </a:ext>
            </a:extLst>
          </p:cNvPr>
          <p:cNvSpPr/>
          <p:nvPr/>
        </p:nvSpPr>
        <p:spPr>
          <a:xfrm>
            <a:off x="9489720" y="297245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Liquid gas</a:t>
            </a:r>
          </a:p>
        </p:txBody>
      </p:sp>
      <p:pic>
        <p:nvPicPr>
          <p:cNvPr id="82" name="Picture 81">
            <a:extLst>
              <a:ext uri="{FF2B5EF4-FFF2-40B4-BE49-F238E27FC236}">
                <a16:creationId xmlns:a16="http://schemas.microsoft.com/office/drawing/2014/main" id="{905ED731-FC6D-D019-ABAA-CF6A65226178}"/>
              </a:ext>
            </a:extLst>
          </p:cNvPr>
          <p:cNvPicPr>
            <a:picLocks noChangeAspect="1"/>
          </p:cNvPicPr>
          <p:nvPr/>
        </p:nvPicPr>
        <p:blipFill>
          <a:blip r:embed="rId29">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889520" y="2308624"/>
            <a:ext cx="620819" cy="622658"/>
          </a:xfrm>
          <a:prstGeom prst="rect">
            <a:avLst/>
          </a:prstGeom>
        </p:spPr>
      </p:pic>
      <p:sp>
        <p:nvSpPr>
          <p:cNvPr id="83" name="Rectangle 82">
            <a:extLst>
              <a:ext uri="{FF2B5EF4-FFF2-40B4-BE49-F238E27FC236}">
                <a16:creationId xmlns:a16="http://schemas.microsoft.com/office/drawing/2014/main" id="{68B27A54-3130-E9FB-EE28-028A6977BE41}"/>
              </a:ext>
            </a:extLst>
          </p:cNvPr>
          <p:cNvSpPr/>
          <p:nvPr/>
        </p:nvSpPr>
        <p:spPr>
          <a:xfrm>
            <a:off x="10433167" y="3011762"/>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Maintenance operations</a:t>
            </a:r>
          </a:p>
        </p:txBody>
      </p:sp>
      <p:grpSp>
        <p:nvGrpSpPr>
          <p:cNvPr id="166" name="Group 165">
            <a:extLst>
              <a:ext uri="{FF2B5EF4-FFF2-40B4-BE49-F238E27FC236}">
                <a16:creationId xmlns:a16="http://schemas.microsoft.com/office/drawing/2014/main" id="{E96C3A32-B832-BB03-2695-C36CBB6E5DF2}"/>
              </a:ext>
            </a:extLst>
          </p:cNvPr>
          <p:cNvGrpSpPr/>
          <p:nvPr/>
        </p:nvGrpSpPr>
        <p:grpSpPr>
          <a:xfrm>
            <a:off x="151017" y="3478451"/>
            <a:ext cx="1533525" cy="888135"/>
            <a:chOff x="-957543" y="4243666"/>
            <a:chExt cx="1533525" cy="888135"/>
          </a:xfrm>
        </p:grpSpPr>
        <p:pic>
          <p:nvPicPr>
            <p:cNvPr id="85" name="Picture 84" descr="Icon&#10;&#10;Description automatically generated">
              <a:extLst>
                <a:ext uri="{FF2B5EF4-FFF2-40B4-BE49-F238E27FC236}">
                  <a16:creationId xmlns:a16="http://schemas.microsoft.com/office/drawing/2014/main" id="{C692AB82-6FB2-919F-A79E-23627F87E2EA}"/>
                </a:ext>
              </a:extLst>
            </p:cNvPr>
            <p:cNvPicPr>
              <a:picLocks noChangeAspect="1"/>
            </p:cNvPicPr>
            <p:nvPr/>
          </p:nvPicPr>
          <p:blipFill>
            <a:blip r:embed="rId30">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53494" y="4243666"/>
              <a:ext cx="693017" cy="632316"/>
            </a:xfrm>
            <a:prstGeom prst="rect">
              <a:avLst/>
            </a:prstGeom>
          </p:spPr>
        </p:pic>
        <p:sp>
          <p:nvSpPr>
            <p:cNvPr id="86" name="Rectangle 85">
              <a:extLst>
                <a:ext uri="{FF2B5EF4-FFF2-40B4-BE49-F238E27FC236}">
                  <a16:creationId xmlns:a16="http://schemas.microsoft.com/office/drawing/2014/main" id="{47760E5A-9F73-D3CA-0326-05796CA6FAD3}"/>
                </a:ext>
              </a:extLst>
            </p:cNvPr>
            <p:cNvSpPr/>
            <p:nvPr/>
          </p:nvSpPr>
          <p:spPr>
            <a:xfrm>
              <a:off x="-957543" y="4893676"/>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Management</a:t>
              </a:r>
            </a:p>
          </p:txBody>
        </p:sp>
      </p:grpSp>
      <p:pic>
        <p:nvPicPr>
          <p:cNvPr id="88" name="Picture 87" descr="Icon&#10;&#10;Description automatically generated">
            <a:extLst>
              <a:ext uri="{FF2B5EF4-FFF2-40B4-BE49-F238E27FC236}">
                <a16:creationId xmlns:a16="http://schemas.microsoft.com/office/drawing/2014/main" id="{80B7BB8B-7E1E-1038-E7D5-E834752581CF}"/>
              </a:ext>
            </a:extLst>
          </p:cNvPr>
          <p:cNvPicPr>
            <a:picLocks noChangeAspect="1"/>
          </p:cNvPicPr>
          <p:nvPr/>
        </p:nvPicPr>
        <p:blipFill>
          <a:blip r:embed="rId31">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407999" y="3492506"/>
            <a:ext cx="567475" cy="585870"/>
          </a:xfrm>
          <a:prstGeom prst="rect">
            <a:avLst/>
          </a:prstGeom>
        </p:spPr>
      </p:pic>
      <p:sp>
        <p:nvSpPr>
          <p:cNvPr id="89" name="Rectangle 88">
            <a:extLst>
              <a:ext uri="{FF2B5EF4-FFF2-40B4-BE49-F238E27FC236}">
                <a16:creationId xmlns:a16="http://schemas.microsoft.com/office/drawing/2014/main" id="{72A4560C-4750-C542-EC23-35F218CA037A}"/>
              </a:ext>
            </a:extLst>
          </p:cNvPr>
          <p:cNvSpPr/>
          <p:nvPr/>
        </p:nvSpPr>
        <p:spPr>
          <a:xfrm>
            <a:off x="974378" y="413769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Metals</a:t>
            </a:r>
          </a:p>
        </p:txBody>
      </p:sp>
      <p:pic>
        <p:nvPicPr>
          <p:cNvPr id="97" name="Picture 96" descr="Icon&#10;&#10;Description automatically generated">
            <a:extLst>
              <a:ext uri="{FF2B5EF4-FFF2-40B4-BE49-F238E27FC236}">
                <a16:creationId xmlns:a16="http://schemas.microsoft.com/office/drawing/2014/main" id="{778FC71E-8B66-51A2-252E-A89385B32E98}"/>
              </a:ext>
            </a:extLst>
          </p:cNvPr>
          <p:cNvPicPr>
            <a:picLocks noChangeAspect="1"/>
          </p:cNvPicPr>
          <p:nvPr/>
        </p:nvPicPr>
        <p:blipFill>
          <a:blip r:embed="rId3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178673" y="3466144"/>
            <a:ext cx="471823" cy="611622"/>
          </a:xfrm>
          <a:prstGeom prst="rect">
            <a:avLst/>
          </a:prstGeom>
        </p:spPr>
      </p:pic>
      <p:sp>
        <p:nvSpPr>
          <p:cNvPr id="98" name="Rectangle 97">
            <a:extLst>
              <a:ext uri="{FF2B5EF4-FFF2-40B4-BE49-F238E27FC236}">
                <a16:creationId xmlns:a16="http://schemas.microsoft.com/office/drawing/2014/main" id="{4388C6BC-6C8B-1AF7-DFF1-5DBD215E0CD2}"/>
              </a:ext>
            </a:extLst>
          </p:cNvPr>
          <p:cNvSpPr/>
          <p:nvPr/>
        </p:nvSpPr>
        <p:spPr>
          <a:xfrm>
            <a:off x="2647822" y="413489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amp; gas_2</a:t>
            </a:r>
          </a:p>
        </p:txBody>
      </p:sp>
      <p:pic>
        <p:nvPicPr>
          <p:cNvPr id="100" name="Picture 99" descr="Icon&#10;&#10;Description automatically generated">
            <a:extLst>
              <a:ext uri="{FF2B5EF4-FFF2-40B4-BE49-F238E27FC236}">
                <a16:creationId xmlns:a16="http://schemas.microsoft.com/office/drawing/2014/main" id="{57A6558B-5193-DE3B-BAF1-FD0723A4E837}"/>
              </a:ext>
            </a:extLst>
          </p:cNvPr>
          <p:cNvPicPr>
            <a:picLocks noChangeAspect="1"/>
          </p:cNvPicPr>
          <p:nvPr/>
        </p:nvPicPr>
        <p:blipFill>
          <a:blip r:embed="rId3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579691" y="3473978"/>
            <a:ext cx="745626" cy="627257"/>
          </a:xfrm>
          <a:prstGeom prst="rect">
            <a:avLst/>
          </a:prstGeom>
        </p:spPr>
      </p:pic>
      <p:sp>
        <p:nvSpPr>
          <p:cNvPr id="101" name="Rectangle 100">
            <a:extLst>
              <a:ext uri="{FF2B5EF4-FFF2-40B4-BE49-F238E27FC236}">
                <a16:creationId xmlns:a16="http://schemas.microsoft.com/office/drawing/2014/main" id="{E946C9F0-C1FE-C62F-C3C2-C33BCACF360A}"/>
              </a:ext>
            </a:extLst>
          </p:cNvPr>
          <p:cNvSpPr/>
          <p:nvPr/>
        </p:nvSpPr>
        <p:spPr>
          <a:xfrm>
            <a:off x="5163866" y="413917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tower</a:t>
            </a:r>
          </a:p>
        </p:txBody>
      </p:sp>
      <p:pic>
        <p:nvPicPr>
          <p:cNvPr id="95" name="Picture 94" descr="Icon&#10;&#10;Description automatically generated">
            <a:extLst>
              <a:ext uri="{FF2B5EF4-FFF2-40B4-BE49-F238E27FC236}">
                <a16:creationId xmlns:a16="http://schemas.microsoft.com/office/drawing/2014/main" id="{7F98242B-EC96-A90A-5FFC-A5F94BBA20C5}"/>
              </a:ext>
            </a:extLst>
          </p:cNvPr>
          <p:cNvPicPr>
            <a:picLocks noChangeAspect="1"/>
          </p:cNvPicPr>
          <p:nvPr/>
        </p:nvPicPr>
        <p:blipFill>
          <a:blip r:embed="rId34">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934115" y="3523741"/>
            <a:ext cx="681817" cy="513834"/>
          </a:xfrm>
          <a:prstGeom prst="rect">
            <a:avLst/>
          </a:prstGeom>
        </p:spPr>
      </p:pic>
      <p:sp>
        <p:nvSpPr>
          <p:cNvPr id="102" name="Rectangle 101">
            <a:extLst>
              <a:ext uri="{FF2B5EF4-FFF2-40B4-BE49-F238E27FC236}">
                <a16:creationId xmlns:a16="http://schemas.microsoft.com/office/drawing/2014/main" id="{2C96A723-4097-8F41-941F-8842CC115671}"/>
              </a:ext>
            </a:extLst>
          </p:cNvPr>
          <p:cNvSpPr/>
          <p:nvPr/>
        </p:nvSpPr>
        <p:spPr>
          <a:xfrm>
            <a:off x="3530920" y="412691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amp; gas_3</a:t>
            </a:r>
          </a:p>
        </p:txBody>
      </p:sp>
      <p:pic>
        <p:nvPicPr>
          <p:cNvPr id="93" name="Picture 92">
            <a:extLst>
              <a:ext uri="{FF2B5EF4-FFF2-40B4-BE49-F238E27FC236}">
                <a16:creationId xmlns:a16="http://schemas.microsoft.com/office/drawing/2014/main" id="{EFCA48D2-831F-B785-054C-7F085112A9DC}"/>
              </a:ext>
            </a:extLst>
          </p:cNvPr>
          <p:cNvPicPr>
            <a:picLocks noChangeAspect="1"/>
          </p:cNvPicPr>
          <p:nvPr/>
        </p:nvPicPr>
        <p:blipFill>
          <a:blip r:embed="rId3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765268" y="3486283"/>
            <a:ext cx="659698" cy="554347"/>
          </a:xfrm>
          <a:prstGeom prst="rect">
            <a:avLst/>
          </a:prstGeom>
        </p:spPr>
      </p:pic>
      <p:sp>
        <p:nvSpPr>
          <p:cNvPr id="103" name="Rectangle 102">
            <a:extLst>
              <a:ext uri="{FF2B5EF4-FFF2-40B4-BE49-F238E27FC236}">
                <a16:creationId xmlns:a16="http://schemas.microsoft.com/office/drawing/2014/main" id="{428E0534-D8B9-3A5F-11BB-3774EE60913E}"/>
              </a:ext>
            </a:extLst>
          </p:cNvPr>
          <p:cNvSpPr/>
          <p:nvPr/>
        </p:nvSpPr>
        <p:spPr>
          <a:xfrm>
            <a:off x="4364396" y="412857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amp; gas_4</a:t>
            </a:r>
          </a:p>
        </p:txBody>
      </p:sp>
      <p:pic>
        <p:nvPicPr>
          <p:cNvPr id="105" name="Picture 104" descr="Icon&#10;&#10;Description automatically generated">
            <a:extLst>
              <a:ext uri="{FF2B5EF4-FFF2-40B4-BE49-F238E27FC236}">
                <a16:creationId xmlns:a16="http://schemas.microsoft.com/office/drawing/2014/main" id="{52929A31-1663-0AEB-F448-292FC3004B00}"/>
              </a:ext>
            </a:extLst>
          </p:cNvPr>
          <p:cNvPicPr>
            <a:picLocks noChangeAspect="1"/>
          </p:cNvPicPr>
          <p:nvPr/>
        </p:nvPicPr>
        <p:blipFill>
          <a:blip r:embed="rId36">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515011" y="3470444"/>
            <a:ext cx="604265" cy="604265"/>
          </a:xfrm>
          <a:prstGeom prst="rect">
            <a:avLst/>
          </a:prstGeom>
        </p:spPr>
      </p:pic>
      <p:sp>
        <p:nvSpPr>
          <p:cNvPr id="106" name="Rectangle 105">
            <a:extLst>
              <a:ext uri="{FF2B5EF4-FFF2-40B4-BE49-F238E27FC236}">
                <a16:creationId xmlns:a16="http://schemas.microsoft.com/office/drawing/2014/main" id="{BD5AD6BF-4079-A762-3E0F-24A1D606FA2C}"/>
              </a:ext>
            </a:extLst>
          </p:cNvPr>
          <p:cNvSpPr/>
          <p:nvPr/>
        </p:nvSpPr>
        <p:spPr>
          <a:xfrm>
            <a:off x="6050381" y="4138822"/>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People</a:t>
            </a:r>
          </a:p>
        </p:txBody>
      </p:sp>
      <p:pic>
        <p:nvPicPr>
          <p:cNvPr id="110" name="Picture 109" descr="Icon&#10;&#10;Description automatically generated">
            <a:extLst>
              <a:ext uri="{FF2B5EF4-FFF2-40B4-BE49-F238E27FC236}">
                <a16:creationId xmlns:a16="http://schemas.microsoft.com/office/drawing/2014/main" id="{FE508338-5F49-3BDA-6AB3-A36E5117FBBA}"/>
              </a:ext>
            </a:extLst>
          </p:cNvPr>
          <p:cNvPicPr>
            <a:picLocks noChangeAspect="1"/>
          </p:cNvPicPr>
          <p:nvPr/>
        </p:nvPicPr>
        <p:blipFill>
          <a:blip r:embed="rId3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7426025" y="3580136"/>
            <a:ext cx="505579" cy="554546"/>
          </a:xfrm>
          <a:prstGeom prst="rect">
            <a:avLst/>
          </a:prstGeom>
        </p:spPr>
      </p:pic>
      <p:sp>
        <p:nvSpPr>
          <p:cNvPr id="111" name="Rectangle 110">
            <a:extLst>
              <a:ext uri="{FF2B5EF4-FFF2-40B4-BE49-F238E27FC236}">
                <a16:creationId xmlns:a16="http://schemas.microsoft.com/office/drawing/2014/main" id="{D3D4747F-3AFA-AA22-751F-52CF3C8EC1C7}"/>
              </a:ext>
            </a:extLst>
          </p:cNvPr>
          <p:cNvSpPr/>
          <p:nvPr/>
        </p:nvSpPr>
        <p:spPr>
          <a:xfrm>
            <a:off x="6912051" y="414508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Power_1</a:t>
            </a:r>
          </a:p>
        </p:txBody>
      </p:sp>
      <p:pic>
        <p:nvPicPr>
          <p:cNvPr id="108" name="Picture 107" descr="A picture containing arrow&#10;&#10;Description automatically generated">
            <a:extLst>
              <a:ext uri="{FF2B5EF4-FFF2-40B4-BE49-F238E27FC236}">
                <a16:creationId xmlns:a16="http://schemas.microsoft.com/office/drawing/2014/main" id="{15E0F64F-7213-9AFD-2B89-2508199877FE}"/>
              </a:ext>
            </a:extLst>
          </p:cNvPr>
          <p:cNvPicPr>
            <a:picLocks noChangeAspect="1"/>
          </p:cNvPicPr>
          <p:nvPr/>
        </p:nvPicPr>
        <p:blipFill>
          <a:blip r:embed="rId38">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245563" y="3369408"/>
            <a:ext cx="586375" cy="760205"/>
          </a:xfrm>
          <a:prstGeom prst="rect">
            <a:avLst/>
          </a:prstGeom>
        </p:spPr>
      </p:pic>
      <p:sp>
        <p:nvSpPr>
          <p:cNvPr id="112" name="Rectangle 111">
            <a:extLst>
              <a:ext uri="{FF2B5EF4-FFF2-40B4-BE49-F238E27FC236}">
                <a16:creationId xmlns:a16="http://schemas.microsoft.com/office/drawing/2014/main" id="{87F10B6F-74A1-6A15-E508-7FA20C00CED1}"/>
              </a:ext>
            </a:extLst>
          </p:cNvPr>
          <p:cNvSpPr/>
          <p:nvPr/>
        </p:nvSpPr>
        <p:spPr>
          <a:xfrm>
            <a:off x="7771987" y="414612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Power_2</a:t>
            </a:r>
          </a:p>
        </p:txBody>
      </p:sp>
      <p:pic>
        <p:nvPicPr>
          <p:cNvPr id="114" name="Picture 113">
            <a:extLst>
              <a:ext uri="{FF2B5EF4-FFF2-40B4-BE49-F238E27FC236}">
                <a16:creationId xmlns:a16="http://schemas.microsoft.com/office/drawing/2014/main" id="{9CD2096A-BFDB-B327-9446-C610715577CD}"/>
              </a:ext>
            </a:extLst>
          </p:cNvPr>
          <p:cNvPicPr>
            <a:picLocks noChangeAspect="1"/>
          </p:cNvPicPr>
          <p:nvPr/>
        </p:nvPicPr>
        <p:blipFill>
          <a:blip r:embed="rId39">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9078959" y="3467243"/>
            <a:ext cx="664691" cy="664691"/>
          </a:xfrm>
          <a:prstGeom prst="rect">
            <a:avLst/>
          </a:prstGeom>
        </p:spPr>
      </p:pic>
      <p:sp>
        <p:nvSpPr>
          <p:cNvPr id="115" name="Rectangle 114">
            <a:extLst>
              <a:ext uri="{FF2B5EF4-FFF2-40B4-BE49-F238E27FC236}">
                <a16:creationId xmlns:a16="http://schemas.microsoft.com/office/drawing/2014/main" id="{581C332F-E7DE-0FB5-6E76-365DB482BC9F}"/>
              </a:ext>
            </a:extLst>
          </p:cNvPr>
          <p:cNvSpPr/>
          <p:nvPr/>
        </p:nvSpPr>
        <p:spPr>
          <a:xfrm>
            <a:off x="8644542" y="414601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Price/cost</a:t>
            </a:r>
          </a:p>
        </p:txBody>
      </p:sp>
      <p:pic>
        <p:nvPicPr>
          <p:cNvPr id="117" name="Picture 116" descr="A picture containing text, sign, clipart&#10;&#10;Description automatically generated">
            <a:extLst>
              <a:ext uri="{FF2B5EF4-FFF2-40B4-BE49-F238E27FC236}">
                <a16:creationId xmlns:a16="http://schemas.microsoft.com/office/drawing/2014/main" id="{27BE3B4E-E6C5-133B-AA03-9AD23E23E228}"/>
              </a:ext>
            </a:extLst>
          </p:cNvPr>
          <p:cNvPicPr>
            <a:picLocks noChangeAspect="1"/>
          </p:cNvPicPr>
          <p:nvPr/>
        </p:nvPicPr>
        <p:blipFill>
          <a:blip r:embed="rId40">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344794" y="4631447"/>
            <a:ext cx="784577" cy="605405"/>
          </a:xfrm>
          <a:prstGeom prst="rect">
            <a:avLst/>
          </a:prstGeom>
        </p:spPr>
      </p:pic>
      <p:sp>
        <p:nvSpPr>
          <p:cNvPr id="118" name="Rectangle 117">
            <a:extLst>
              <a:ext uri="{FF2B5EF4-FFF2-40B4-BE49-F238E27FC236}">
                <a16:creationId xmlns:a16="http://schemas.microsoft.com/office/drawing/2014/main" id="{704012AD-B47B-11E8-A16A-E668346D1683}"/>
              </a:ext>
            </a:extLst>
          </p:cNvPr>
          <p:cNvSpPr/>
          <p:nvPr/>
        </p:nvSpPr>
        <p:spPr>
          <a:xfrm>
            <a:off x="974378" y="526562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eismic</a:t>
            </a:r>
          </a:p>
        </p:txBody>
      </p:sp>
      <p:pic>
        <p:nvPicPr>
          <p:cNvPr id="60" name="Picture 59" descr="Icon&#10;&#10;Description automatically generated">
            <a:extLst>
              <a:ext uri="{FF2B5EF4-FFF2-40B4-BE49-F238E27FC236}">
                <a16:creationId xmlns:a16="http://schemas.microsoft.com/office/drawing/2014/main" id="{B85A435C-E039-940B-B2B4-9D100D1B946D}"/>
              </a:ext>
            </a:extLst>
          </p:cNvPr>
          <p:cNvPicPr>
            <a:picLocks noChangeAspect="1"/>
          </p:cNvPicPr>
          <p:nvPr/>
        </p:nvPicPr>
        <p:blipFill>
          <a:blip r:embed="rId41">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797893" y="1199991"/>
            <a:ext cx="616128" cy="682901"/>
          </a:xfrm>
          <a:prstGeom prst="rect">
            <a:avLst/>
          </a:prstGeom>
        </p:spPr>
      </p:pic>
      <p:sp>
        <p:nvSpPr>
          <p:cNvPr id="119" name="Rectangle 118">
            <a:extLst>
              <a:ext uri="{FF2B5EF4-FFF2-40B4-BE49-F238E27FC236}">
                <a16:creationId xmlns:a16="http://schemas.microsoft.com/office/drawing/2014/main" id="{7B5AB8D9-AE01-3840-BD03-6F3A4DCED10E}"/>
              </a:ext>
            </a:extLst>
          </p:cNvPr>
          <p:cNvSpPr/>
          <p:nvPr/>
        </p:nvSpPr>
        <p:spPr>
          <a:xfrm>
            <a:off x="4364396" y="190818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CU</a:t>
            </a:r>
          </a:p>
        </p:txBody>
      </p:sp>
      <p:pic>
        <p:nvPicPr>
          <p:cNvPr id="121" name="Picture 120" descr="Logo&#10;&#10;Description automatically generated">
            <a:extLst>
              <a:ext uri="{FF2B5EF4-FFF2-40B4-BE49-F238E27FC236}">
                <a16:creationId xmlns:a16="http://schemas.microsoft.com/office/drawing/2014/main" id="{4918C58C-719D-5133-7211-348F4D812383}"/>
              </a:ext>
            </a:extLst>
          </p:cNvPr>
          <p:cNvPicPr>
            <a:picLocks noChangeAspect="1"/>
          </p:cNvPicPr>
          <p:nvPr/>
        </p:nvPicPr>
        <p:blipFill>
          <a:blip r:embed="rId4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179363" y="4580139"/>
            <a:ext cx="470442" cy="628268"/>
          </a:xfrm>
          <a:prstGeom prst="rect">
            <a:avLst/>
          </a:prstGeom>
        </p:spPr>
      </p:pic>
      <p:sp>
        <p:nvSpPr>
          <p:cNvPr id="122" name="Rectangle 121">
            <a:extLst>
              <a:ext uri="{FF2B5EF4-FFF2-40B4-BE49-F238E27FC236}">
                <a16:creationId xmlns:a16="http://schemas.microsoft.com/office/drawing/2014/main" id="{2AF58701-3E57-EC14-5F98-50A3345278C8}"/>
              </a:ext>
            </a:extLst>
          </p:cNvPr>
          <p:cNvSpPr/>
          <p:nvPr/>
        </p:nvSpPr>
        <p:spPr>
          <a:xfrm>
            <a:off x="2647822" y="525761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hale</a:t>
            </a:r>
          </a:p>
        </p:txBody>
      </p:sp>
      <p:pic>
        <p:nvPicPr>
          <p:cNvPr id="124" name="Picture 123" descr="Icon&#10;&#10;Description automatically generated">
            <a:extLst>
              <a:ext uri="{FF2B5EF4-FFF2-40B4-BE49-F238E27FC236}">
                <a16:creationId xmlns:a16="http://schemas.microsoft.com/office/drawing/2014/main" id="{5CEB60CB-651A-D61A-A447-C028642EC734}"/>
              </a:ext>
            </a:extLst>
          </p:cNvPr>
          <p:cNvPicPr>
            <a:picLocks noChangeAspect="1"/>
          </p:cNvPicPr>
          <p:nvPr/>
        </p:nvPicPr>
        <p:blipFill>
          <a:blip r:embed="rId4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021928" y="4509389"/>
            <a:ext cx="636362" cy="688971"/>
          </a:xfrm>
          <a:prstGeom prst="rect">
            <a:avLst/>
          </a:prstGeom>
        </p:spPr>
      </p:pic>
      <p:sp>
        <p:nvSpPr>
          <p:cNvPr id="125" name="Rectangle 124">
            <a:extLst>
              <a:ext uri="{FF2B5EF4-FFF2-40B4-BE49-F238E27FC236}">
                <a16:creationId xmlns:a16="http://schemas.microsoft.com/office/drawing/2014/main" id="{52A712F6-7A43-62C6-214C-F6A1CECB00EC}"/>
              </a:ext>
            </a:extLst>
          </p:cNvPr>
          <p:cNvSpPr/>
          <p:nvPr/>
        </p:nvSpPr>
        <p:spPr>
          <a:xfrm>
            <a:off x="3530920" y="524142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olar</a:t>
            </a:r>
          </a:p>
        </p:txBody>
      </p:sp>
      <p:pic>
        <p:nvPicPr>
          <p:cNvPr id="127" name="Picture 126" descr="Icon&#10;&#10;Description automatically generated">
            <a:extLst>
              <a:ext uri="{FF2B5EF4-FFF2-40B4-BE49-F238E27FC236}">
                <a16:creationId xmlns:a16="http://schemas.microsoft.com/office/drawing/2014/main" id="{07B9C8D4-638A-4ABA-5C16-2EA37B1D1111}"/>
              </a:ext>
            </a:extLst>
          </p:cNvPr>
          <p:cNvPicPr>
            <a:picLocks noChangeAspect="1"/>
          </p:cNvPicPr>
          <p:nvPr/>
        </p:nvPicPr>
        <p:blipFill>
          <a:blip r:embed="rId44">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619759" y="4705992"/>
            <a:ext cx="621739" cy="537123"/>
          </a:xfrm>
          <a:prstGeom prst="rect">
            <a:avLst/>
          </a:prstGeom>
        </p:spPr>
      </p:pic>
      <p:sp>
        <p:nvSpPr>
          <p:cNvPr id="128" name="Rectangle 127">
            <a:extLst>
              <a:ext uri="{FF2B5EF4-FFF2-40B4-BE49-F238E27FC236}">
                <a16:creationId xmlns:a16="http://schemas.microsoft.com/office/drawing/2014/main" id="{24B04EB6-1F82-83DF-EA63-1A7B2318611E}"/>
              </a:ext>
            </a:extLst>
          </p:cNvPr>
          <p:cNvSpPr/>
          <p:nvPr/>
        </p:nvSpPr>
        <p:spPr>
          <a:xfrm>
            <a:off x="5163866" y="525362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ubsea</a:t>
            </a:r>
          </a:p>
        </p:txBody>
      </p:sp>
      <p:pic>
        <p:nvPicPr>
          <p:cNvPr id="134" name="Picture 133" descr="Icon&#10;&#10;Description automatically generated with medium confidence">
            <a:extLst>
              <a:ext uri="{FF2B5EF4-FFF2-40B4-BE49-F238E27FC236}">
                <a16:creationId xmlns:a16="http://schemas.microsoft.com/office/drawing/2014/main" id="{2FE2A94A-F52D-E347-5EA1-82B025494AFA}"/>
              </a:ext>
            </a:extLst>
          </p:cNvPr>
          <p:cNvPicPr>
            <a:picLocks noChangeAspect="1"/>
          </p:cNvPicPr>
          <p:nvPr/>
        </p:nvPicPr>
        <p:blipFill>
          <a:blip r:embed="rId4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8441955" y="4546668"/>
            <a:ext cx="264055" cy="688971"/>
          </a:xfrm>
          <a:prstGeom prst="rect">
            <a:avLst/>
          </a:prstGeom>
        </p:spPr>
      </p:pic>
      <p:sp>
        <p:nvSpPr>
          <p:cNvPr id="135" name="Rectangle 134">
            <a:extLst>
              <a:ext uri="{FF2B5EF4-FFF2-40B4-BE49-F238E27FC236}">
                <a16:creationId xmlns:a16="http://schemas.microsoft.com/office/drawing/2014/main" id="{BAF85DCB-06E9-94E6-E305-5A514A2BD5E7}"/>
              </a:ext>
            </a:extLst>
          </p:cNvPr>
          <p:cNvSpPr/>
          <p:nvPr/>
        </p:nvSpPr>
        <p:spPr>
          <a:xfrm>
            <a:off x="7771987" y="526152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Thermal_1</a:t>
            </a:r>
          </a:p>
        </p:txBody>
      </p:sp>
      <p:pic>
        <p:nvPicPr>
          <p:cNvPr id="132" name="Picture 131" descr="Icon&#10;&#10;Description automatically generated">
            <a:extLst>
              <a:ext uri="{FF2B5EF4-FFF2-40B4-BE49-F238E27FC236}">
                <a16:creationId xmlns:a16="http://schemas.microsoft.com/office/drawing/2014/main" id="{D77DC4D2-3ACD-C63F-0343-FB211816C9F9}"/>
              </a:ext>
            </a:extLst>
          </p:cNvPr>
          <p:cNvPicPr>
            <a:picLocks noChangeAspect="1"/>
          </p:cNvPicPr>
          <p:nvPr/>
        </p:nvPicPr>
        <p:blipFill>
          <a:blip r:embed="rId46">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9116530" y="4639286"/>
            <a:ext cx="589549" cy="588629"/>
          </a:xfrm>
          <a:prstGeom prst="rect">
            <a:avLst/>
          </a:prstGeom>
        </p:spPr>
      </p:pic>
      <p:sp>
        <p:nvSpPr>
          <p:cNvPr id="136" name="Rectangle 135">
            <a:extLst>
              <a:ext uri="{FF2B5EF4-FFF2-40B4-BE49-F238E27FC236}">
                <a16:creationId xmlns:a16="http://schemas.microsoft.com/office/drawing/2014/main" id="{8D3527F5-6FA6-D4FF-CA10-4E4F6F05C0E7}"/>
              </a:ext>
            </a:extLst>
          </p:cNvPr>
          <p:cNvSpPr/>
          <p:nvPr/>
        </p:nvSpPr>
        <p:spPr>
          <a:xfrm>
            <a:off x="8644542" y="526021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Thermal_2</a:t>
            </a:r>
          </a:p>
        </p:txBody>
      </p:sp>
      <p:pic>
        <p:nvPicPr>
          <p:cNvPr id="138" name="Picture 137">
            <a:extLst>
              <a:ext uri="{FF2B5EF4-FFF2-40B4-BE49-F238E27FC236}">
                <a16:creationId xmlns:a16="http://schemas.microsoft.com/office/drawing/2014/main" id="{DD64EB04-1909-6C32-5FCA-89456BC09ED1}"/>
              </a:ext>
            </a:extLst>
          </p:cNvPr>
          <p:cNvPicPr>
            <a:picLocks noChangeAspect="1"/>
          </p:cNvPicPr>
          <p:nvPr/>
        </p:nvPicPr>
        <p:blipFill>
          <a:blip r:embed="rId4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874414" y="4615299"/>
            <a:ext cx="651032" cy="649919"/>
          </a:xfrm>
          <a:prstGeom prst="rect">
            <a:avLst/>
          </a:prstGeom>
        </p:spPr>
      </p:pic>
      <p:sp>
        <p:nvSpPr>
          <p:cNvPr id="141" name="Rectangle 140">
            <a:extLst>
              <a:ext uri="{FF2B5EF4-FFF2-40B4-BE49-F238E27FC236}">
                <a16:creationId xmlns:a16="http://schemas.microsoft.com/office/drawing/2014/main" id="{91F84336-B04A-1CCE-C299-6FD17DC62FA1}"/>
              </a:ext>
            </a:extLst>
          </p:cNvPr>
          <p:cNvSpPr/>
          <p:nvPr/>
        </p:nvSpPr>
        <p:spPr>
          <a:xfrm>
            <a:off x="10433167" y="528017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Upstream_2</a:t>
            </a:r>
          </a:p>
        </p:txBody>
      </p:sp>
      <p:pic>
        <p:nvPicPr>
          <p:cNvPr id="140" name="Picture 139" descr="A picture containing icon&#10;&#10;Description automatically generated">
            <a:extLst>
              <a:ext uri="{FF2B5EF4-FFF2-40B4-BE49-F238E27FC236}">
                <a16:creationId xmlns:a16="http://schemas.microsoft.com/office/drawing/2014/main" id="{04F99E94-35CD-69D5-015A-C1FC75325E81}"/>
              </a:ext>
            </a:extLst>
          </p:cNvPr>
          <p:cNvPicPr>
            <a:picLocks noChangeAspect="1"/>
          </p:cNvPicPr>
          <p:nvPr/>
        </p:nvPicPr>
        <p:blipFill>
          <a:blip r:embed="rId48">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106800" y="4553348"/>
            <a:ext cx="299364" cy="711127"/>
          </a:xfrm>
          <a:prstGeom prst="rect">
            <a:avLst/>
          </a:prstGeom>
        </p:spPr>
      </p:pic>
      <p:sp>
        <p:nvSpPr>
          <p:cNvPr id="142" name="Rectangle 141">
            <a:extLst>
              <a:ext uri="{FF2B5EF4-FFF2-40B4-BE49-F238E27FC236}">
                <a16:creationId xmlns:a16="http://schemas.microsoft.com/office/drawing/2014/main" id="{3FBEDCFA-3CC4-2FA6-9A17-236E3B930E69}"/>
              </a:ext>
            </a:extLst>
          </p:cNvPr>
          <p:cNvSpPr/>
          <p:nvPr/>
        </p:nvSpPr>
        <p:spPr>
          <a:xfrm>
            <a:off x="9489720" y="526935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Upstream_1</a:t>
            </a:r>
          </a:p>
        </p:txBody>
      </p:sp>
      <p:pic>
        <p:nvPicPr>
          <p:cNvPr id="144" name="Picture 143">
            <a:extLst>
              <a:ext uri="{FF2B5EF4-FFF2-40B4-BE49-F238E27FC236}">
                <a16:creationId xmlns:a16="http://schemas.microsoft.com/office/drawing/2014/main" id="{67D0F0DE-404A-F228-24B9-5BDC330E8940}"/>
              </a:ext>
            </a:extLst>
          </p:cNvPr>
          <p:cNvPicPr>
            <a:picLocks noChangeAspect="1"/>
          </p:cNvPicPr>
          <p:nvPr/>
        </p:nvPicPr>
        <p:blipFill>
          <a:blip r:embed="rId49">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633972" y="5695867"/>
            <a:ext cx="510869" cy="569397"/>
          </a:xfrm>
          <a:prstGeom prst="rect">
            <a:avLst/>
          </a:prstGeom>
        </p:spPr>
      </p:pic>
      <p:sp>
        <p:nvSpPr>
          <p:cNvPr id="145" name="Rectangle 144">
            <a:extLst>
              <a:ext uri="{FF2B5EF4-FFF2-40B4-BE49-F238E27FC236}">
                <a16:creationId xmlns:a16="http://schemas.microsoft.com/office/drawing/2014/main" id="{CE55B5FA-27F8-B87C-7202-79868A9C1F61}"/>
              </a:ext>
            </a:extLst>
          </p:cNvPr>
          <p:cNvSpPr/>
          <p:nvPr/>
        </p:nvSpPr>
        <p:spPr>
          <a:xfrm>
            <a:off x="6122644" y="630489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ind</a:t>
            </a:r>
          </a:p>
        </p:txBody>
      </p:sp>
      <p:pic>
        <p:nvPicPr>
          <p:cNvPr id="151" name="Picture 150" descr="Icon&#10;&#10;Description automatically generated">
            <a:extLst>
              <a:ext uri="{FF2B5EF4-FFF2-40B4-BE49-F238E27FC236}">
                <a16:creationId xmlns:a16="http://schemas.microsoft.com/office/drawing/2014/main" id="{AD21854B-9ACC-A136-81BE-BBC69E4332B7}"/>
              </a:ext>
            </a:extLst>
          </p:cNvPr>
          <p:cNvPicPr>
            <a:picLocks noChangeAspect="1"/>
          </p:cNvPicPr>
          <p:nvPr/>
        </p:nvPicPr>
        <p:blipFill>
          <a:blip r:embed="rId50">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482068" y="1278473"/>
            <a:ext cx="617141" cy="617141"/>
          </a:xfrm>
          <a:prstGeom prst="rect">
            <a:avLst/>
          </a:prstGeom>
        </p:spPr>
      </p:pic>
      <p:sp>
        <p:nvSpPr>
          <p:cNvPr id="152" name="Rectangle 151">
            <a:extLst>
              <a:ext uri="{FF2B5EF4-FFF2-40B4-BE49-F238E27FC236}">
                <a16:creationId xmlns:a16="http://schemas.microsoft.com/office/drawing/2014/main" id="{D0B978CE-963A-4835-3411-C878C537456E}"/>
              </a:ext>
            </a:extLst>
          </p:cNvPr>
          <p:cNvSpPr/>
          <p:nvPr/>
        </p:nvSpPr>
        <p:spPr>
          <a:xfrm>
            <a:off x="6050381" y="191802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lock/time</a:t>
            </a:r>
          </a:p>
        </p:txBody>
      </p:sp>
      <p:pic>
        <p:nvPicPr>
          <p:cNvPr id="11" name="Picture 10" descr="A picture containing text, sign, tableware&#10;&#10;Description automatically generated">
            <a:extLst>
              <a:ext uri="{FF2B5EF4-FFF2-40B4-BE49-F238E27FC236}">
                <a16:creationId xmlns:a16="http://schemas.microsoft.com/office/drawing/2014/main" id="{135FD3DD-C894-0BF4-9CBD-97592C458F56}"/>
              </a:ext>
            </a:extLst>
          </p:cNvPr>
          <p:cNvPicPr>
            <a:picLocks noChangeAspect="1"/>
          </p:cNvPicPr>
          <p:nvPr/>
        </p:nvPicPr>
        <p:blipFill>
          <a:blip r:embed="rId51">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384983" y="1224994"/>
            <a:ext cx="664691" cy="664691"/>
          </a:xfrm>
          <a:prstGeom prst="rect">
            <a:avLst/>
          </a:prstGeom>
        </p:spPr>
      </p:pic>
      <p:sp>
        <p:nvSpPr>
          <p:cNvPr id="14" name="Rectangle 13">
            <a:extLst>
              <a:ext uri="{FF2B5EF4-FFF2-40B4-BE49-F238E27FC236}">
                <a16:creationId xmlns:a16="http://schemas.microsoft.com/office/drawing/2014/main" id="{D29ACA61-E528-5284-3B33-D7315051F9FB}"/>
              </a:ext>
            </a:extLst>
          </p:cNvPr>
          <p:cNvSpPr/>
          <p:nvPr/>
        </p:nvSpPr>
        <p:spPr>
          <a:xfrm>
            <a:off x="974378" y="189878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Analyst portal</a:t>
            </a:r>
          </a:p>
        </p:txBody>
      </p:sp>
      <p:pic>
        <p:nvPicPr>
          <p:cNvPr id="154" name="Picture 153" descr="Logo&#10;&#10;Description automatically generated with low confidence">
            <a:extLst>
              <a:ext uri="{FF2B5EF4-FFF2-40B4-BE49-F238E27FC236}">
                <a16:creationId xmlns:a16="http://schemas.microsoft.com/office/drawing/2014/main" id="{F8F895F8-3636-383C-90A2-E3765E0F8BA5}"/>
              </a:ext>
            </a:extLst>
          </p:cNvPr>
          <p:cNvPicPr>
            <a:picLocks noChangeAspect="1"/>
          </p:cNvPicPr>
          <p:nvPr/>
        </p:nvPicPr>
        <p:blipFill>
          <a:blip r:embed="rId5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626611" y="2406021"/>
            <a:ext cx="608035" cy="543286"/>
          </a:xfrm>
          <a:prstGeom prst="rect">
            <a:avLst/>
          </a:prstGeom>
        </p:spPr>
      </p:pic>
      <p:sp>
        <p:nvSpPr>
          <p:cNvPr id="155" name="Rectangle 154">
            <a:extLst>
              <a:ext uri="{FF2B5EF4-FFF2-40B4-BE49-F238E27FC236}">
                <a16:creationId xmlns:a16="http://schemas.microsoft.com/office/drawing/2014/main" id="{AED469F7-72C5-2637-BC92-CC942F1237C9}"/>
              </a:ext>
            </a:extLst>
          </p:cNvPr>
          <p:cNvSpPr/>
          <p:nvPr/>
        </p:nvSpPr>
        <p:spPr>
          <a:xfrm>
            <a:off x="5163866" y="298026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Factory_1</a:t>
            </a:r>
          </a:p>
        </p:txBody>
      </p:sp>
      <p:pic>
        <p:nvPicPr>
          <p:cNvPr id="159" name="Picture 158" descr="Icon&#10;&#10;Description automatically generated">
            <a:extLst>
              <a:ext uri="{FF2B5EF4-FFF2-40B4-BE49-F238E27FC236}">
                <a16:creationId xmlns:a16="http://schemas.microsoft.com/office/drawing/2014/main" id="{E588204A-6332-A502-935B-6A70A6ED12C3}"/>
              </a:ext>
            </a:extLst>
          </p:cNvPr>
          <p:cNvPicPr>
            <a:picLocks noChangeAspect="1"/>
          </p:cNvPicPr>
          <p:nvPr/>
        </p:nvPicPr>
        <p:blipFill>
          <a:blip r:embed="rId5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9087513" y="2344873"/>
            <a:ext cx="647583" cy="647583"/>
          </a:xfrm>
          <a:prstGeom prst="rect">
            <a:avLst/>
          </a:prstGeom>
        </p:spPr>
      </p:pic>
      <p:sp>
        <p:nvSpPr>
          <p:cNvPr id="160" name="Rectangle 159">
            <a:extLst>
              <a:ext uri="{FF2B5EF4-FFF2-40B4-BE49-F238E27FC236}">
                <a16:creationId xmlns:a16="http://schemas.microsoft.com/office/drawing/2014/main" id="{0475EB9A-4AB0-5602-F137-7F5929906EE2}"/>
              </a:ext>
            </a:extLst>
          </p:cNvPr>
          <p:cNvSpPr/>
          <p:nvPr/>
        </p:nvSpPr>
        <p:spPr>
          <a:xfrm>
            <a:off x="8644542" y="297620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Info</a:t>
            </a:r>
          </a:p>
        </p:txBody>
      </p:sp>
      <p:pic>
        <p:nvPicPr>
          <p:cNvPr id="177" name="Picture 176" descr="Shape, arrow&#10;&#10;Description automatically generated">
            <a:extLst>
              <a:ext uri="{FF2B5EF4-FFF2-40B4-BE49-F238E27FC236}">
                <a16:creationId xmlns:a16="http://schemas.microsoft.com/office/drawing/2014/main" id="{97377E7C-0879-5D86-61F2-50831C38F94E}"/>
              </a:ext>
            </a:extLst>
          </p:cNvPr>
          <p:cNvPicPr>
            <a:picLocks noChangeAspect="1"/>
          </p:cNvPicPr>
          <p:nvPr/>
        </p:nvPicPr>
        <p:blipFill>
          <a:blip r:embed="rId54">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809436" y="4632152"/>
            <a:ext cx="643445" cy="612082"/>
          </a:xfrm>
          <a:prstGeom prst="rect">
            <a:avLst/>
          </a:prstGeom>
        </p:spPr>
      </p:pic>
      <p:sp>
        <p:nvSpPr>
          <p:cNvPr id="178" name="Rectangle 177">
            <a:extLst>
              <a:ext uri="{FF2B5EF4-FFF2-40B4-BE49-F238E27FC236}">
                <a16:creationId xmlns:a16="http://schemas.microsoft.com/office/drawing/2014/main" id="{49075B13-E249-5933-CC2B-D1EC663B5539}"/>
              </a:ext>
            </a:extLst>
          </p:cNvPr>
          <p:cNvSpPr/>
          <p:nvPr/>
        </p:nvSpPr>
        <p:spPr>
          <a:xfrm>
            <a:off x="4364396" y="524180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tar</a:t>
            </a:r>
          </a:p>
        </p:txBody>
      </p:sp>
      <p:pic>
        <p:nvPicPr>
          <p:cNvPr id="181" name="Picture 180">
            <a:extLst>
              <a:ext uri="{FF2B5EF4-FFF2-40B4-BE49-F238E27FC236}">
                <a16:creationId xmlns:a16="http://schemas.microsoft.com/office/drawing/2014/main" id="{4C2D4BB7-B805-AD67-7977-BE0DA1C05F02}"/>
              </a:ext>
            </a:extLst>
          </p:cNvPr>
          <p:cNvPicPr>
            <a:picLocks noChangeAspect="1"/>
          </p:cNvPicPr>
          <p:nvPr/>
        </p:nvPicPr>
        <p:blipFill>
          <a:blip r:embed="rId5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491098" y="2340705"/>
            <a:ext cx="652090" cy="589549"/>
          </a:xfrm>
          <a:prstGeom prst="rect">
            <a:avLst/>
          </a:prstGeom>
        </p:spPr>
      </p:pic>
      <p:sp>
        <p:nvSpPr>
          <p:cNvPr id="182" name="Rectangle 181">
            <a:extLst>
              <a:ext uri="{FF2B5EF4-FFF2-40B4-BE49-F238E27FC236}">
                <a16:creationId xmlns:a16="http://schemas.microsoft.com/office/drawing/2014/main" id="{D31C5FD6-8FCB-6101-A69D-DB053D3394E8}"/>
              </a:ext>
            </a:extLst>
          </p:cNvPr>
          <p:cNvSpPr/>
          <p:nvPr/>
        </p:nvSpPr>
        <p:spPr>
          <a:xfrm>
            <a:off x="6050381" y="290357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a:p>
            <a:pPr algn="ctr"/>
            <a:r>
              <a:rPr lang="en-US" sz="1100">
                <a:solidFill>
                  <a:schemeClr val="tx1"/>
                </a:solidFill>
                <a:latin typeface="Ubuntu" panose="020B0504030602030204" pitchFamily="34" charset="0"/>
              </a:rPr>
              <a:t>Factory_2</a:t>
            </a:r>
          </a:p>
        </p:txBody>
      </p:sp>
      <p:pic>
        <p:nvPicPr>
          <p:cNvPr id="186" name="Picture 185" descr="A picture containing text, candelabrum&#10;&#10;Description automatically generated">
            <a:extLst>
              <a:ext uri="{FF2B5EF4-FFF2-40B4-BE49-F238E27FC236}">
                <a16:creationId xmlns:a16="http://schemas.microsoft.com/office/drawing/2014/main" id="{79FF6531-4715-6271-44B9-C4C75C46A7BF}"/>
              </a:ext>
            </a:extLst>
          </p:cNvPr>
          <p:cNvPicPr>
            <a:picLocks noChangeAspect="1"/>
          </p:cNvPicPr>
          <p:nvPr/>
        </p:nvPicPr>
        <p:blipFill>
          <a:blip r:embed="rId56">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7336857" y="4505211"/>
            <a:ext cx="683913" cy="683913"/>
          </a:xfrm>
          <a:prstGeom prst="rect">
            <a:avLst/>
          </a:prstGeom>
        </p:spPr>
      </p:pic>
      <p:sp>
        <p:nvSpPr>
          <p:cNvPr id="188" name="Rectangle 187">
            <a:extLst>
              <a:ext uri="{FF2B5EF4-FFF2-40B4-BE49-F238E27FC236}">
                <a16:creationId xmlns:a16="http://schemas.microsoft.com/office/drawing/2014/main" id="{B0E426A6-6195-AB85-A84E-83BB86399621}"/>
              </a:ext>
            </a:extLst>
          </p:cNvPr>
          <p:cNvSpPr/>
          <p:nvPr/>
        </p:nvSpPr>
        <p:spPr>
          <a:xfrm>
            <a:off x="6912051" y="527873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Target</a:t>
            </a:r>
          </a:p>
          <a:p>
            <a:pPr algn="ctr"/>
            <a:r>
              <a:rPr lang="en-US" sz="1100">
                <a:solidFill>
                  <a:schemeClr val="tx1"/>
                </a:solidFill>
                <a:latin typeface="Ubuntu" panose="020B0504030602030204" pitchFamily="34" charset="0"/>
              </a:rPr>
              <a:t>audience</a:t>
            </a:r>
          </a:p>
        </p:txBody>
      </p:sp>
      <p:pic>
        <p:nvPicPr>
          <p:cNvPr id="190" name="Picture 189">
            <a:extLst>
              <a:ext uri="{FF2B5EF4-FFF2-40B4-BE49-F238E27FC236}">
                <a16:creationId xmlns:a16="http://schemas.microsoft.com/office/drawing/2014/main" id="{B86A1895-E691-17B8-FBA2-2A4CF7007832}"/>
              </a:ext>
            </a:extLst>
          </p:cNvPr>
          <p:cNvPicPr>
            <a:picLocks noChangeAspect="1"/>
          </p:cNvPicPr>
          <p:nvPr/>
        </p:nvPicPr>
        <p:blipFill>
          <a:blip r:embed="rId5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013617" y="5683547"/>
            <a:ext cx="622658" cy="621739"/>
          </a:xfrm>
          <a:prstGeom prst="rect">
            <a:avLst/>
          </a:prstGeom>
        </p:spPr>
      </p:pic>
      <p:sp>
        <p:nvSpPr>
          <p:cNvPr id="191" name="Rectangle 190">
            <a:extLst>
              <a:ext uri="{FF2B5EF4-FFF2-40B4-BE49-F238E27FC236}">
                <a16:creationId xmlns:a16="http://schemas.microsoft.com/office/drawing/2014/main" id="{9938F08D-113C-ACF3-AA29-6DD792053681}"/>
              </a:ext>
            </a:extLst>
          </p:cNvPr>
          <p:cNvSpPr/>
          <p:nvPr/>
        </p:nvSpPr>
        <p:spPr>
          <a:xfrm>
            <a:off x="3541461" y="630306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heel</a:t>
            </a:r>
          </a:p>
        </p:txBody>
      </p:sp>
      <p:pic>
        <p:nvPicPr>
          <p:cNvPr id="194" name="Picture 193" descr="Icon&#10;&#10;Description automatically generated">
            <a:extLst>
              <a:ext uri="{FF2B5EF4-FFF2-40B4-BE49-F238E27FC236}">
                <a16:creationId xmlns:a16="http://schemas.microsoft.com/office/drawing/2014/main" id="{D7FC8585-BF3E-B896-63DF-37F400B7F3D8}"/>
              </a:ext>
            </a:extLst>
          </p:cNvPr>
          <p:cNvPicPr>
            <a:picLocks noChangeAspect="1"/>
          </p:cNvPicPr>
          <p:nvPr/>
        </p:nvPicPr>
        <p:blipFill>
          <a:blip r:embed="rId58">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839797" y="5726269"/>
            <a:ext cx="645332" cy="510793"/>
          </a:xfrm>
          <a:prstGeom prst="rect">
            <a:avLst/>
          </a:prstGeom>
        </p:spPr>
      </p:pic>
      <p:sp>
        <p:nvSpPr>
          <p:cNvPr id="195" name="Rectangle 194">
            <a:extLst>
              <a:ext uri="{FF2B5EF4-FFF2-40B4-BE49-F238E27FC236}">
                <a16:creationId xmlns:a16="http://schemas.microsoft.com/office/drawing/2014/main" id="{9B1DF64F-60DC-7D4F-0AAD-94F4E27A5BD2}"/>
              </a:ext>
            </a:extLst>
          </p:cNvPr>
          <p:cNvSpPr/>
          <p:nvPr/>
        </p:nvSpPr>
        <p:spPr>
          <a:xfrm>
            <a:off x="4395700" y="630427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hy us</a:t>
            </a:r>
          </a:p>
        </p:txBody>
      </p:sp>
      <p:sp>
        <p:nvSpPr>
          <p:cNvPr id="10" name="TextBox 9">
            <a:extLst>
              <a:ext uri="{FF2B5EF4-FFF2-40B4-BE49-F238E27FC236}">
                <a16:creationId xmlns:a16="http://schemas.microsoft.com/office/drawing/2014/main" id="{3EE7CF8B-624C-AFE2-A17C-7FE0E1230B45}"/>
              </a:ext>
            </a:extLst>
          </p:cNvPr>
          <p:cNvSpPr txBox="1"/>
          <p:nvPr/>
        </p:nvSpPr>
        <p:spPr>
          <a:xfrm>
            <a:off x="8952543" y="653672"/>
            <a:ext cx="991073" cy="338554"/>
          </a:xfrm>
          <a:prstGeom prst="rect">
            <a:avLst/>
          </a:prstGeom>
          <a:noFill/>
        </p:spPr>
        <p:txBody>
          <a:bodyPr wrap="square">
            <a:spAutoFit/>
          </a:bodyPr>
          <a:lstStyle/>
          <a:p>
            <a:r>
              <a:rPr lang="en-US" sz="1600">
                <a:latin typeface="Ubuntu" panose="020B0504030602030204" pitchFamily="34" charset="0"/>
                <a:hlinkClick r:id="rId59"/>
              </a:rPr>
              <a:t>RE icons</a:t>
            </a:r>
            <a:endParaRPr lang="en-US" sz="1600">
              <a:latin typeface="Ubuntu" panose="020B0504030602030204" pitchFamily="34" charset="0"/>
            </a:endParaRPr>
          </a:p>
        </p:txBody>
      </p:sp>
    </p:spTree>
    <p:extLst>
      <p:ext uri="{BB962C8B-B14F-4D97-AF65-F5344CB8AC3E}">
        <p14:creationId xmlns:p14="http://schemas.microsoft.com/office/powerpoint/2010/main" val="82695876"/>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50056CA-7094-4F59-A744-8BE66F0D53BB}"/>
              </a:ext>
            </a:extLst>
          </p:cNvPr>
          <p:cNvSpPr txBox="1"/>
          <p:nvPr/>
        </p:nvSpPr>
        <p:spPr>
          <a:xfrm>
            <a:off x="442913" y="1125538"/>
            <a:ext cx="11306175" cy="4751387"/>
          </a:xfrm>
          <a:prstGeom prst="rect">
            <a:avLst/>
          </a:prstGeom>
          <a:noFill/>
        </p:spPr>
        <p:txBody>
          <a:bodyPr wrap="square" rtlCol="0" anchor="ctr">
            <a:noAutofit/>
          </a:bodyPr>
          <a:lstStyle/>
          <a:p>
            <a:r>
              <a:rPr lang="en-US" sz="1100" i="0" kern="1200">
                <a:solidFill>
                  <a:schemeClr val="tx1"/>
                </a:solidFill>
                <a:effectLst/>
                <a:latin typeface="Ubuntu" panose="020B0504030602030204" pitchFamily="34" charset="0"/>
                <a:ea typeface="+mn-ea"/>
                <a:cs typeface="Calibri" panose="020F0502020204030204" pitchFamily="34" charset="0"/>
              </a:rPr>
              <a:t>This presentation has been prepared by Rystad Energy, Snam and IGU (the “Company”). All materials, content and forms contained in this report are the intellectual property of the Company and may not be copied, reproduced, distributed or displayed without the Company’s permission to do so. The information contained in this document is based on the Company’s global energy databases and tools, public information, industry reports, and other general research and knowledge held by the Company. The Company does not warrant, either expressly or implied, the accuracy, completeness or timeliness of the information contained in this report. The document is subject to revisions. The Company disclaims any responsibility for content error. The Company is not responsible for any actions taken by the “Recipient” or any third-party based on information contained in this document. </a:t>
            </a:r>
          </a:p>
          <a:p>
            <a:endParaRPr lang="en-US" sz="1100" i="0" kern="1200">
              <a:solidFill>
                <a:schemeClr val="tx1"/>
              </a:solidFill>
              <a:effectLst/>
              <a:latin typeface="Ubuntu" panose="020B0504030602030204" pitchFamily="34" charset="0"/>
              <a:ea typeface="+mn-ea"/>
              <a:cs typeface="Calibri" panose="020F0502020204030204" pitchFamily="34" charset="0"/>
            </a:endParaRPr>
          </a:p>
          <a:p>
            <a:r>
              <a:rPr lang="en-US" sz="1100" i="0" kern="1200">
                <a:solidFill>
                  <a:schemeClr val="tx1"/>
                </a:solidFill>
                <a:effectLst/>
                <a:latin typeface="Ubuntu" panose="020B0504030602030204" pitchFamily="34" charset="0"/>
                <a:ea typeface="+mn-ea"/>
                <a:cs typeface="Calibri" panose="020F0502020204030204" pitchFamily="34" charset="0"/>
              </a:rPr>
              <a:t>This presentation may contain “forward-looking information”, including “future oriented financial information” and “financial outlook”, under applicable securities laws (collectively referred to herein as forward-looking statements). Forward-looking statements include, but are not limited to, (</a:t>
            </a:r>
            <a:r>
              <a:rPr lang="en-US" sz="1100" i="0" kern="1200" err="1">
                <a:solidFill>
                  <a:schemeClr val="tx1"/>
                </a:solidFill>
                <a:effectLst/>
                <a:latin typeface="Ubuntu" panose="020B0504030602030204" pitchFamily="34" charset="0"/>
                <a:ea typeface="+mn-ea"/>
                <a:cs typeface="Calibri" panose="020F0502020204030204" pitchFamily="34" charset="0"/>
              </a:rPr>
              <a:t>i</a:t>
            </a:r>
            <a:r>
              <a:rPr lang="en-US" sz="1100" i="0" kern="1200">
                <a:solidFill>
                  <a:schemeClr val="tx1"/>
                </a:solidFill>
                <a:effectLst/>
                <a:latin typeface="Ubuntu" panose="020B0504030602030204" pitchFamily="34" charset="0"/>
                <a:ea typeface="+mn-ea"/>
                <a:cs typeface="Calibri" panose="020F0502020204030204" pitchFamily="34" charset="0"/>
              </a:rPr>
              <a:t>) projected financial performance of the Recipient or other organizations; (ii) the expected development of the Recipient’s or other organizations’ business, projects and joint ventures; (iii) execution of the Recipient’s or other organizations’ vision and growth strategy, including future M&amp;A activity and global growth; (iv) sources and availability of third-party financing for the Recipient’s or other organizations’ projects; (v) completion of the Recipient’s or other organizations’ projects that are currently underway, under development or otherwise under consideration; (vi) renewal of the Recipient’s or other organizations’ current customer, supplier and other material agreements; and (vii) future liquidity, working capital, and capital requirements. Forward-looking statements are provided to allow stakeholders the opportunity to understand the Company’s beliefs and opinions in respect of the future so that they may use such beliefs and opinions as a factor in their assessment, e.g. when evaluating an investment.</a:t>
            </a:r>
          </a:p>
          <a:p>
            <a:endParaRPr lang="en-US" sz="1100" i="0" kern="1200">
              <a:solidFill>
                <a:schemeClr val="tx1"/>
              </a:solidFill>
              <a:effectLst/>
              <a:latin typeface="Ubuntu" panose="020B0504030602030204" pitchFamily="34" charset="0"/>
              <a:ea typeface="+mn-ea"/>
              <a:cs typeface="Calibri" panose="020F0502020204030204" pitchFamily="34" charset="0"/>
            </a:endParaRPr>
          </a:p>
          <a:p>
            <a:r>
              <a:rPr lang="en-US" sz="1100" i="0" kern="1200">
                <a:solidFill>
                  <a:schemeClr val="tx1"/>
                </a:solidFill>
                <a:effectLst/>
                <a:latin typeface="Ubuntu" panose="020B0504030602030204" pitchFamily="34" charset="0"/>
                <a:ea typeface="+mn-ea"/>
                <a:cs typeface="Calibri" panose="020F0502020204030204" pitchFamily="34" charset="0"/>
              </a:rPr>
              <a:t>These statements are not guarantees of future performance and undue reliance should not be placed on them. Such forward-looking statements necessarily involve known and unknown risks and uncertainties, which may cause actual performance and financial results in future periods to differ materially from any projections of future performance or result expressed or implied by such forward-looking statements. All forward-looking statements are subject to a number of uncertainties, risks and other sources of influence, many of which are outside the control of the Company and cannot be predicted with any degree of accuracy. In light of the significant uncertainties inherent in such forward-looking statements made in this presentation, the inclusion of such statements should not be regarded as a representation by the Company or any other person that the forward-looking statements will be achieved. </a:t>
            </a:r>
          </a:p>
          <a:p>
            <a:endParaRPr lang="en-US" sz="1100" i="0" kern="1200">
              <a:solidFill>
                <a:schemeClr val="tx1"/>
              </a:solidFill>
              <a:effectLst/>
              <a:latin typeface="Ubuntu" panose="020B0504030602030204" pitchFamily="34" charset="0"/>
              <a:ea typeface="+mn-ea"/>
              <a:cs typeface="Calibri" panose="020F0502020204030204" pitchFamily="34" charset="0"/>
            </a:endParaRPr>
          </a:p>
          <a:p>
            <a:r>
              <a:rPr lang="en-US" sz="1100" i="0" kern="1200">
                <a:solidFill>
                  <a:schemeClr val="tx1"/>
                </a:solidFill>
                <a:effectLst/>
                <a:latin typeface="Ubuntu" panose="020B0504030602030204" pitchFamily="34" charset="0"/>
                <a:ea typeface="+mn-ea"/>
                <a:cs typeface="Calibri" panose="020F0502020204030204" pitchFamily="34" charset="0"/>
              </a:rPr>
              <a:t>The Company undertakes no obligation to update forward-looking statements if circumstances change, except as required by applicable securities laws. The reader is cautioned not to place undue reliance on forward-looking statements.</a:t>
            </a:r>
          </a:p>
          <a:p>
            <a:endParaRPr lang="en-US" sz="1100" i="0" kern="1200">
              <a:solidFill>
                <a:schemeClr val="tx1"/>
              </a:solidFill>
              <a:effectLst/>
              <a:latin typeface="Ubuntu" panose="020B0504030602030204" pitchFamily="34" charset="0"/>
              <a:ea typeface="+mn-ea"/>
              <a:cs typeface="Calibri" panose="020F0502020204030204" pitchFamily="34" charset="0"/>
            </a:endParaRPr>
          </a:p>
          <a:p>
            <a:r>
              <a:rPr lang="en-US" sz="1100" i="0" kern="1200">
                <a:solidFill>
                  <a:schemeClr val="tx1"/>
                </a:solidFill>
                <a:effectLst/>
                <a:latin typeface="Ubuntu" panose="020B0504030602030204" pitchFamily="34" charset="0"/>
                <a:ea typeface="+mn-ea"/>
                <a:cs typeface="Calibri" panose="020F0502020204030204" pitchFamily="34" charset="0"/>
              </a:rPr>
              <a:t>Under no circumstances shall the Company, or its affiliates, be liable for any indirect, incidental, consequential, special or exemplary damages arising out of or in connection with access to the information contained in this presentation, whether or not the damages were foreseeable and whether or not the Company was advised of the possibility of such damages.</a:t>
            </a:r>
          </a:p>
          <a:p>
            <a:endParaRPr lang="en-US" sz="1100" i="0" kern="1200">
              <a:solidFill>
                <a:schemeClr val="tx1"/>
              </a:solidFill>
              <a:effectLst/>
              <a:latin typeface="Ubuntu" panose="020B0504030602030204" pitchFamily="34" charset="0"/>
              <a:ea typeface="+mn-ea"/>
              <a:cs typeface="Calibri" panose="020F0502020204030204" pitchFamily="34" charset="0"/>
            </a:endParaRPr>
          </a:p>
          <a:p>
            <a:r>
              <a:rPr lang="en-US" sz="1100" i="0" kern="1200">
                <a:solidFill>
                  <a:schemeClr val="tx1"/>
                </a:solidFill>
                <a:effectLst/>
                <a:latin typeface="Ubuntu" panose="020B0504030602030204" pitchFamily="34" charset="0"/>
                <a:ea typeface="+mn-ea"/>
                <a:cs typeface="Calibri" panose="020F0502020204030204" pitchFamily="34" charset="0"/>
              </a:rPr>
              <a:t>© IGU and Snam. All Rights Reserved.</a:t>
            </a:r>
          </a:p>
        </p:txBody>
      </p:sp>
      <p:sp>
        <p:nvSpPr>
          <p:cNvPr id="5" name="Title 1">
            <a:extLst>
              <a:ext uri="{FF2B5EF4-FFF2-40B4-BE49-F238E27FC236}">
                <a16:creationId xmlns:a16="http://schemas.microsoft.com/office/drawing/2014/main" id="{A7247ED4-37D4-454A-64D2-7F3923228406}"/>
              </a:ext>
            </a:extLst>
          </p:cNvPr>
          <p:cNvSpPr txBox="1">
            <a:spLocks/>
          </p:cNvSpPr>
          <p:nvPr/>
        </p:nvSpPr>
        <p:spPr>
          <a:xfrm>
            <a:off x="442912" y="441324"/>
            <a:ext cx="11306175" cy="600949"/>
          </a:xfrm>
          <a:prstGeom prst="rect">
            <a:avLst/>
          </a:prstGeom>
        </p:spPr>
        <p:txBody>
          <a:bodyPr vert="horz" lIns="91440" tIns="45720" rIns="91440" bIns="45720" rtlCol="0" anchor="ctr">
            <a:noAutofit/>
          </a:bodyPr>
          <a:lstStyle>
            <a:lvl1pPr algn="l" defTabSz="1125472" rtl="0" eaLnBrk="1" latinLnBrk="0" hangingPunct="1">
              <a:lnSpc>
                <a:spcPct val="90000"/>
              </a:lnSpc>
              <a:spcBef>
                <a:spcPct val="0"/>
              </a:spcBef>
              <a:buNone/>
              <a:defRPr lang="en-US" sz="2200" b="0" i="0" kern="1200" dirty="0">
                <a:solidFill>
                  <a:schemeClr val="tx1"/>
                </a:solidFill>
                <a:latin typeface="+mj-lt"/>
                <a:ea typeface="+mj-ea"/>
                <a:cs typeface="Calibri" panose="020F0502020204030204" pitchFamily="34" charset="0"/>
              </a:defRPr>
            </a:lvl1pPr>
          </a:lstStyle>
          <a:p>
            <a:r>
              <a:rPr lang="en-US" b="0">
                <a:latin typeface="Ubuntu" panose="020B0504030602030204" pitchFamily="34" charset="0"/>
              </a:rPr>
              <a:t>Disclaimer</a:t>
            </a:r>
          </a:p>
        </p:txBody>
      </p:sp>
    </p:spTree>
    <p:extLst>
      <p:ext uri="{BB962C8B-B14F-4D97-AF65-F5344CB8AC3E}">
        <p14:creationId xmlns:p14="http://schemas.microsoft.com/office/powerpoint/2010/main" val="34348535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RE icon library_white">
    <p:spTree>
      <p:nvGrpSpPr>
        <p:cNvPr id="1" name=""/>
        <p:cNvGrpSpPr/>
        <p:nvPr/>
      </p:nvGrpSpPr>
      <p:grpSpPr>
        <a:xfrm>
          <a:off x="0" y="0"/>
          <a:ext cx="0" cy="0"/>
          <a:chOff x="0" y="0"/>
          <a:chExt cx="0" cy="0"/>
        </a:xfrm>
      </p:grpSpPr>
      <p:sp>
        <p:nvSpPr>
          <p:cNvPr id="147" name="Rectangle 146">
            <a:extLst>
              <a:ext uri="{FF2B5EF4-FFF2-40B4-BE49-F238E27FC236}">
                <a16:creationId xmlns:a16="http://schemas.microsoft.com/office/drawing/2014/main" id="{85D169A9-434F-D8D4-6166-1E69D1678B10}"/>
              </a:ext>
            </a:extLst>
          </p:cNvPr>
          <p:cNvSpPr/>
          <p:nvPr/>
        </p:nvSpPr>
        <p:spPr>
          <a:xfrm>
            <a:off x="3795893" y="5591981"/>
            <a:ext cx="4314438" cy="1015403"/>
          </a:xfrm>
          <a:prstGeom prst="rect">
            <a:avLst/>
          </a:prstGeom>
          <a:solidFill>
            <a:schemeClr val="accent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sp>
        <p:nvSpPr>
          <p:cNvPr id="50" name="Rectangle 49">
            <a:extLst>
              <a:ext uri="{FF2B5EF4-FFF2-40B4-BE49-F238E27FC236}">
                <a16:creationId xmlns:a16="http://schemas.microsoft.com/office/drawing/2014/main" id="{072F9089-C0B6-1495-3146-8FCE172F497E}"/>
              </a:ext>
            </a:extLst>
          </p:cNvPr>
          <p:cNvSpPr/>
          <p:nvPr/>
        </p:nvSpPr>
        <p:spPr>
          <a:xfrm>
            <a:off x="442914" y="1125538"/>
            <a:ext cx="11306174" cy="4468065"/>
          </a:xfrm>
          <a:prstGeom prst="rect">
            <a:avLst/>
          </a:prstGeom>
          <a:solidFill>
            <a:schemeClr val="accent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sp>
        <p:nvSpPr>
          <p:cNvPr id="3" name="Title 1">
            <a:extLst>
              <a:ext uri="{FF2B5EF4-FFF2-40B4-BE49-F238E27FC236}">
                <a16:creationId xmlns:a16="http://schemas.microsoft.com/office/drawing/2014/main" id="{2C388F31-E626-F123-EC66-2D691FF404C0}"/>
              </a:ext>
            </a:extLst>
          </p:cNvPr>
          <p:cNvSpPr txBox="1">
            <a:spLocks/>
          </p:cNvSpPr>
          <p:nvPr/>
        </p:nvSpPr>
        <p:spPr>
          <a:xfrm>
            <a:off x="442914" y="441324"/>
            <a:ext cx="11306174" cy="611189"/>
          </a:xfrm>
          <a:prstGeom prst="rect">
            <a:avLst/>
          </a:prstGeom>
        </p:spPr>
        <p:txBody>
          <a:bodyPr vert="horz" lIns="91440" tIns="45720" rIns="91440" bIns="45720" rtlCol="0" anchor="ctr">
            <a:noAutofit/>
          </a:bodyPr>
          <a:lstStyle>
            <a:lvl1pPr algn="l" defTabSz="1125472" rtl="0" eaLnBrk="1" latinLnBrk="0" hangingPunct="1">
              <a:lnSpc>
                <a:spcPct val="90000"/>
              </a:lnSpc>
              <a:spcBef>
                <a:spcPct val="0"/>
              </a:spcBef>
              <a:buNone/>
              <a:defRPr lang="en-US" sz="2200" b="0" i="0" kern="1200" dirty="0">
                <a:solidFill>
                  <a:schemeClr val="tx1"/>
                </a:solidFill>
                <a:latin typeface="+mj-lt"/>
                <a:ea typeface="+mj-ea"/>
                <a:cs typeface="Calibri" panose="020F0502020204030204" pitchFamily="34" charset="0"/>
              </a:defRPr>
            </a:lvl1pPr>
          </a:lstStyle>
          <a:p>
            <a:r>
              <a:rPr lang="en-US" b="0" err="1">
                <a:latin typeface="Ubuntu" panose="020B0504030602030204" pitchFamily="34" charset="0"/>
              </a:rPr>
              <a:t>Rystad</a:t>
            </a:r>
            <a:r>
              <a:rPr lang="en-US" b="0">
                <a:latin typeface="Ubuntu" panose="020B0504030602030204" pitchFamily="34" charset="0"/>
              </a:rPr>
              <a:t> Energy icon library – white</a:t>
            </a:r>
          </a:p>
        </p:txBody>
      </p:sp>
      <p:pic>
        <p:nvPicPr>
          <p:cNvPr id="13" name="Picture 12" descr="Icon&#10;&#10;Description automatically generated">
            <a:extLst>
              <a:ext uri="{FF2B5EF4-FFF2-40B4-BE49-F238E27FC236}">
                <a16:creationId xmlns:a16="http://schemas.microsoft.com/office/drawing/2014/main" id="{7D3EB671-5A85-AD32-47A4-383F2E976A87}"/>
              </a:ext>
            </a:extLst>
          </p:cNvPr>
          <p:cNvPicPr>
            <a:picLocks noChangeAspect="1"/>
          </p:cNvPicPr>
          <p:nvPr/>
        </p:nvPicPr>
        <p:blipFill>
          <a:blip r:embed="rId2">
            <a:biLevel thresh="50000"/>
            <a:extLst>
              <a:ext uri="{28A0092B-C50C-407E-A947-70E740481C1C}">
                <a14:useLocalDpi xmlns:a14="http://schemas.microsoft.com/office/drawing/2010/main" val="0"/>
              </a:ext>
            </a:extLst>
          </a:blip>
          <a:stretch>
            <a:fillRect/>
          </a:stretch>
        </p:blipFill>
        <p:spPr>
          <a:xfrm>
            <a:off x="9116531" y="1280922"/>
            <a:ext cx="589549" cy="589549"/>
          </a:xfrm>
          <a:prstGeom prst="rect">
            <a:avLst/>
          </a:prstGeom>
        </p:spPr>
      </p:pic>
      <p:sp>
        <p:nvSpPr>
          <p:cNvPr id="15" name="Rectangle 14">
            <a:extLst>
              <a:ext uri="{FF2B5EF4-FFF2-40B4-BE49-F238E27FC236}">
                <a16:creationId xmlns:a16="http://schemas.microsoft.com/office/drawing/2014/main" id="{FAC31394-ED80-1DFA-CA2D-0823E89BAC34}"/>
              </a:ext>
            </a:extLst>
          </p:cNvPr>
          <p:cNvSpPr/>
          <p:nvPr/>
        </p:nvSpPr>
        <p:spPr>
          <a:xfrm>
            <a:off x="8644542" y="189046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ommentaries</a:t>
            </a:r>
          </a:p>
        </p:txBody>
      </p:sp>
      <p:pic>
        <p:nvPicPr>
          <p:cNvPr id="17" name="Picture 16" descr="Icon&#10;&#10;Description automatically generated">
            <a:extLst>
              <a:ext uri="{FF2B5EF4-FFF2-40B4-BE49-F238E27FC236}">
                <a16:creationId xmlns:a16="http://schemas.microsoft.com/office/drawing/2014/main" id="{66DA0798-358F-C714-9C6C-19FBBE4B6A8E}"/>
              </a:ext>
            </a:extLst>
          </p:cNvPr>
          <p:cNvPicPr>
            <a:picLocks noChangeAspect="1"/>
          </p:cNvPicPr>
          <p:nvPr/>
        </p:nvPicPr>
        <p:blipFill>
          <a:blip r:embed="rId3">
            <a:biLevel thresh="50000"/>
            <a:extLst>
              <a:ext uri="{28A0092B-C50C-407E-A947-70E740481C1C}">
                <a14:useLocalDpi xmlns:a14="http://schemas.microsoft.com/office/drawing/2010/main" val="0"/>
              </a:ext>
            </a:extLst>
          </a:blip>
          <a:stretch>
            <a:fillRect/>
          </a:stretch>
        </p:blipFill>
        <p:spPr>
          <a:xfrm>
            <a:off x="562848" y="1210440"/>
            <a:ext cx="709865" cy="674749"/>
          </a:xfrm>
          <a:prstGeom prst="rect">
            <a:avLst/>
          </a:prstGeom>
        </p:spPr>
      </p:pic>
      <p:sp>
        <p:nvSpPr>
          <p:cNvPr id="18" name="Rectangle 17">
            <a:extLst>
              <a:ext uri="{FF2B5EF4-FFF2-40B4-BE49-F238E27FC236}">
                <a16:creationId xmlns:a16="http://schemas.microsoft.com/office/drawing/2014/main" id="{986A59A6-A0C1-8625-BB40-A2ED002DCD2E}"/>
              </a:ext>
            </a:extLst>
          </p:cNvPr>
          <p:cNvSpPr/>
          <p:nvPr/>
        </p:nvSpPr>
        <p:spPr>
          <a:xfrm>
            <a:off x="151017" y="189878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Advisory</a:t>
            </a:r>
          </a:p>
        </p:txBody>
      </p:sp>
      <p:pic>
        <p:nvPicPr>
          <p:cNvPr id="20" name="Picture 19">
            <a:extLst>
              <a:ext uri="{FF2B5EF4-FFF2-40B4-BE49-F238E27FC236}">
                <a16:creationId xmlns:a16="http://schemas.microsoft.com/office/drawing/2014/main" id="{C42E23F1-DF1F-1B46-8051-104E6BBA5747}"/>
              </a:ext>
            </a:extLst>
          </p:cNvPr>
          <p:cNvPicPr>
            <a:picLocks noChangeAspect="1"/>
          </p:cNvPicPr>
          <p:nvPr/>
        </p:nvPicPr>
        <p:blipFill>
          <a:blip r:embed="rId4">
            <a:biLevel thresh="50000"/>
            <a:extLst>
              <a:ext uri="{28A0092B-C50C-407E-A947-70E740481C1C}">
                <a14:useLocalDpi xmlns:a14="http://schemas.microsoft.com/office/drawing/2010/main" val="0"/>
              </a:ext>
            </a:extLst>
          </a:blip>
          <a:stretch>
            <a:fillRect/>
          </a:stretch>
        </p:blipFill>
        <p:spPr>
          <a:xfrm>
            <a:off x="9903585" y="1264397"/>
            <a:ext cx="615116" cy="620175"/>
          </a:xfrm>
          <a:prstGeom prst="rect">
            <a:avLst/>
          </a:prstGeom>
        </p:spPr>
      </p:pic>
      <p:sp>
        <p:nvSpPr>
          <p:cNvPr id="21" name="Rectangle 20">
            <a:extLst>
              <a:ext uri="{FF2B5EF4-FFF2-40B4-BE49-F238E27FC236}">
                <a16:creationId xmlns:a16="http://schemas.microsoft.com/office/drawing/2014/main" id="{0E132CB8-54E2-B3D9-D02C-D2C369BC2F9D}"/>
              </a:ext>
            </a:extLst>
          </p:cNvPr>
          <p:cNvSpPr/>
          <p:nvPr/>
        </p:nvSpPr>
        <p:spPr>
          <a:xfrm>
            <a:off x="9489720" y="192926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ommodity</a:t>
            </a:r>
          </a:p>
          <a:p>
            <a:pPr algn="ctr"/>
            <a:r>
              <a:rPr lang="en-US" sz="1100">
                <a:solidFill>
                  <a:schemeClr val="tx1"/>
                </a:solidFill>
                <a:latin typeface="Ubuntu" panose="020B0504030602030204" pitchFamily="34" charset="0"/>
              </a:rPr>
              <a:t>market</a:t>
            </a:r>
          </a:p>
        </p:txBody>
      </p:sp>
      <p:pic>
        <p:nvPicPr>
          <p:cNvPr id="23" name="Picture 22" descr="Icon&#10;&#10;Description automatically generated">
            <a:extLst>
              <a:ext uri="{FF2B5EF4-FFF2-40B4-BE49-F238E27FC236}">
                <a16:creationId xmlns:a16="http://schemas.microsoft.com/office/drawing/2014/main" id="{E4ADCAE8-74E8-D6E0-2669-2F43902C2201}"/>
              </a:ext>
            </a:extLst>
          </p:cNvPr>
          <p:cNvPicPr>
            <a:picLocks noChangeAspect="1"/>
          </p:cNvPicPr>
          <p:nvPr/>
        </p:nvPicPr>
        <p:blipFill>
          <a:blip r:embed="rId5">
            <a:biLevel thresh="50000"/>
            <a:extLst>
              <a:ext uri="{28A0092B-C50C-407E-A947-70E740481C1C}">
                <a14:useLocalDpi xmlns:a14="http://schemas.microsoft.com/office/drawing/2010/main" val="0"/>
              </a:ext>
            </a:extLst>
          </a:blip>
          <a:stretch>
            <a:fillRect/>
          </a:stretch>
        </p:blipFill>
        <p:spPr>
          <a:xfrm>
            <a:off x="10909793" y="1383797"/>
            <a:ext cx="578442" cy="510793"/>
          </a:xfrm>
          <a:prstGeom prst="rect">
            <a:avLst/>
          </a:prstGeom>
        </p:spPr>
      </p:pic>
      <p:sp>
        <p:nvSpPr>
          <p:cNvPr id="24" name="Rectangle 23">
            <a:extLst>
              <a:ext uri="{FF2B5EF4-FFF2-40B4-BE49-F238E27FC236}">
                <a16:creationId xmlns:a16="http://schemas.microsoft.com/office/drawing/2014/main" id="{2F773674-9FB6-F843-45DA-5D190438A306}"/>
              </a:ext>
            </a:extLst>
          </p:cNvPr>
          <p:cNvSpPr/>
          <p:nvPr/>
        </p:nvSpPr>
        <p:spPr>
          <a:xfrm>
            <a:off x="10433167" y="190253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ube dashboard</a:t>
            </a:r>
          </a:p>
        </p:txBody>
      </p:sp>
      <p:pic>
        <p:nvPicPr>
          <p:cNvPr id="26" name="Picture 25" descr="Icon&#10;&#10;Description automatically generated">
            <a:extLst>
              <a:ext uri="{FF2B5EF4-FFF2-40B4-BE49-F238E27FC236}">
                <a16:creationId xmlns:a16="http://schemas.microsoft.com/office/drawing/2014/main" id="{3356C805-20B9-C497-BAE5-B8C80C9A73F2}"/>
              </a:ext>
            </a:extLst>
          </p:cNvPr>
          <p:cNvPicPr>
            <a:picLocks noChangeAspect="1"/>
          </p:cNvPicPr>
          <p:nvPr/>
        </p:nvPicPr>
        <p:blipFill>
          <a:blip r:embed="rId6">
            <a:biLevel thresh="50000"/>
            <a:extLst>
              <a:ext uri="{28A0092B-C50C-407E-A947-70E740481C1C}">
                <a14:useLocalDpi xmlns:a14="http://schemas.microsoft.com/office/drawing/2010/main" val="0"/>
              </a:ext>
            </a:extLst>
          </a:blip>
          <a:stretch>
            <a:fillRect/>
          </a:stretch>
        </p:blipFill>
        <p:spPr>
          <a:xfrm>
            <a:off x="598307" y="2313727"/>
            <a:ext cx="604265" cy="676923"/>
          </a:xfrm>
          <a:prstGeom prst="rect">
            <a:avLst/>
          </a:prstGeom>
        </p:spPr>
      </p:pic>
      <p:sp>
        <p:nvSpPr>
          <p:cNvPr id="27" name="Rectangle 26">
            <a:extLst>
              <a:ext uri="{FF2B5EF4-FFF2-40B4-BE49-F238E27FC236}">
                <a16:creationId xmlns:a16="http://schemas.microsoft.com/office/drawing/2014/main" id="{5616D457-2C76-01E7-B9E0-C9CC3C55ECA7}"/>
              </a:ext>
            </a:extLst>
          </p:cNvPr>
          <p:cNvSpPr/>
          <p:nvPr/>
        </p:nvSpPr>
        <p:spPr>
          <a:xfrm>
            <a:off x="151017" y="299934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ube</a:t>
            </a:r>
          </a:p>
        </p:txBody>
      </p:sp>
      <p:pic>
        <p:nvPicPr>
          <p:cNvPr id="29" name="Picture 28" descr="Icon&#10;&#10;Description automatically generated">
            <a:extLst>
              <a:ext uri="{FF2B5EF4-FFF2-40B4-BE49-F238E27FC236}">
                <a16:creationId xmlns:a16="http://schemas.microsoft.com/office/drawing/2014/main" id="{839BEF8E-3F76-5758-7DC6-89EB203ABE59}"/>
              </a:ext>
            </a:extLst>
          </p:cNvPr>
          <p:cNvPicPr>
            <a:picLocks noChangeAspect="1"/>
          </p:cNvPicPr>
          <p:nvPr/>
        </p:nvPicPr>
        <p:blipFill>
          <a:blip r:embed="rId7">
            <a:biLevel thresh="50000"/>
            <a:extLst>
              <a:ext uri="{28A0092B-C50C-407E-A947-70E740481C1C}">
                <a14:useLocalDpi xmlns:a14="http://schemas.microsoft.com/office/drawing/2010/main" val="0"/>
              </a:ext>
            </a:extLst>
          </a:blip>
          <a:stretch>
            <a:fillRect/>
          </a:stretch>
        </p:blipFill>
        <p:spPr>
          <a:xfrm>
            <a:off x="1398023" y="2285067"/>
            <a:ext cx="664691" cy="664691"/>
          </a:xfrm>
          <a:prstGeom prst="rect">
            <a:avLst/>
          </a:prstGeom>
        </p:spPr>
      </p:pic>
      <p:sp>
        <p:nvSpPr>
          <p:cNvPr id="30" name="Rectangle 29">
            <a:extLst>
              <a:ext uri="{FF2B5EF4-FFF2-40B4-BE49-F238E27FC236}">
                <a16:creationId xmlns:a16="http://schemas.microsoft.com/office/drawing/2014/main" id="{2359316E-5BCA-294E-EE3E-A0738E057D80}"/>
              </a:ext>
            </a:extLst>
          </p:cNvPr>
          <p:cNvSpPr/>
          <p:nvPr/>
        </p:nvSpPr>
        <p:spPr>
          <a:xfrm>
            <a:off x="974378" y="297816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ustomer</a:t>
            </a:r>
          </a:p>
          <a:p>
            <a:pPr algn="ctr"/>
            <a:r>
              <a:rPr lang="en-US" sz="1100">
                <a:solidFill>
                  <a:schemeClr val="tx1"/>
                </a:solidFill>
                <a:latin typeface="Ubuntu" panose="020B0504030602030204" pitchFamily="34" charset="0"/>
              </a:rPr>
              <a:t>portal</a:t>
            </a:r>
          </a:p>
        </p:txBody>
      </p:sp>
      <p:pic>
        <p:nvPicPr>
          <p:cNvPr id="32" name="Picture 31" descr="Logo, icon&#10;&#10;Description automatically generated">
            <a:extLst>
              <a:ext uri="{FF2B5EF4-FFF2-40B4-BE49-F238E27FC236}">
                <a16:creationId xmlns:a16="http://schemas.microsoft.com/office/drawing/2014/main" id="{C4467BAD-9217-6F1F-627E-C28868B3840F}"/>
              </a:ext>
            </a:extLst>
          </p:cNvPr>
          <p:cNvPicPr>
            <a:picLocks noChangeAspect="1"/>
          </p:cNvPicPr>
          <p:nvPr/>
        </p:nvPicPr>
        <p:blipFill>
          <a:blip r:embed="rId8">
            <a:biLevel thresh="50000"/>
            <a:extLst>
              <a:ext uri="{28A0092B-C50C-407E-A947-70E740481C1C}">
                <a14:useLocalDpi xmlns:a14="http://schemas.microsoft.com/office/drawing/2010/main" val="0"/>
              </a:ext>
            </a:extLst>
          </a:blip>
          <a:stretch>
            <a:fillRect/>
          </a:stretch>
        </p:blipFill>
        <p:spPr>
          <a:xfrm>
            <a:off x="2351310" y="2389809"/>
            <a:ext cx="524165" cy="517486"/>
          </a:xfrm>
          <a:prstGeom prst="rect">
            <a:avLst/>
          </a:prstGeom>
        </p:spPr>
      </p:pic>
      <p:sp>
        <p:nvSpPr>
          <p:cNvPr id="39" name="Rectangle 38">
            <a:extLst>
              <a:ext uri="{FF2B5EF4-FFF2-40B4-BE49-F238E27FC236}">
                <a16:creationId xmlns:a16="http://schemas.microsoft.com/office/drawing/2014/main" id="{9E8705A8-A357-3315-35BC-F28E88B2B70D}"/>
              </a:ext>
            </a:extLst>
          </p:cNvPr>
          <p:cNvSpPr/>
          <p:nvPr/>
        </p:nvSpPr>
        <p:spPr>
          <a:xfrm>
            <a:off x="1832792" y="2966582"/>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Data feed</a:t>
            </a:r>
          </a:p>
        </p:txBody>
      </p:sp>
      <p:pic>
        <p:nvPicPr>
          <p:cNvPr id="34" name="Picture 33" descr="Icon&#10;&#10;Description automatically generated">
            <a:extLst>
              <a:ext uri="{FF2B5EF4-FFF2-40B4-BE49-F238E27FC236}">
                <a16:creationId xmlns:a16="http://schemas.microsoft.com/office/drawing/2014/main" id="{2AF1D6A2-371E-8C33-CA5B-A04C7692F414}"/>
              </a:ext>
            </a:extLst>
          </p:cNvPr>
          <p:cNvPicPr>
            <a:picLocks noChangeAspect="1"/>
          </p:cNvPicPr>
          <p:nvPr/>
        </p:nvPicPr>
        <p:blipFill>
          <a:blip r:embed="rId9">
            <a:biLevel thresh="50000"/>
            <a:extLst>
              <a:ext uri="{28A0092B-C50C-407E-A947-70E740481C1C}">
                <a14:useLocalDpi xmlns:a14="http://schemas.microsoft.com/office/drawing/2010/main" val="0"/>
              </a:ext>
            </a:extLst>
          </a:blip>
          <a:stretch>
            <a:fillRect/>
          </a:stretch>
        </p:blipFill>
        <p:spPr>
          <a:xfrm>
            <a:off x="3055831" y="2326241"/>
            <a:ext cx="740062" cy="615420"/>
          </a:xfrm>
          <a:prstGeom prst="rect">
            <a:avLst/>
          </a:prstGeom>
        </p:spPr>
      </p:pic>
      <p:sp>
        <p:nvSpPr>
          <p:cNvPr id="40" name="Rectangle 39">
            <a:extLst>
              <a:ext uri="{FF2B5EF4-FFF2-40B4-BE49-F238E27FC236}">
                <a16:creationId xmlns:a16="http://schemas.microsoft.com/office/drawing/2014/main" id="{AB7A4563-5930-61CF-55DD-6A146BDABD4C}"/>
              </a:ext>
            </a:extLst>
          </p:cNvPr>
          <p:cNvSpPr/>
          <p:nvPr/>
        </p:nvSpPr>
        <p:spPr>
          <a:xfrm>
            <a:off x="2647822" y="296052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Data</a:t>
            </a:r>
          </a:p>
        </p:txBody>
      </p:sp>
      <p:pic>
        <p:nvPicPr>
          <p:cNvPr id="36" name="Picture 35" descr="Icon&#10;&#10;Description automatically generated">
            <a:extLst>
              <a:ext uri="{FF2B5EF4-FFF2-40B4-BE49-F238E27FC236}">
                <a16:creationId xmlns:a16="http://schemas.microsoft.com/office/drawing/2014/main" id="{23BAAC39-D12C-80B2-1932-B22B74C202C9}"/>
              </a:ext>
            </a:extLst>
          </p:cNvPr>
          <p:cNvPicPr>
            <a:picLocks noChangeAspect="1"/>
          </p:cNvPicPr>
          <p:nvPr/>
        </p:nvPicPr>
        <p:blipFill>
          <a:blip r:embed="rId10">
            <a:biLevel thresh="50000"/>
            <a:extLst>
              <a:ext uri="{28A0092B-C50C-407E-A947-70E740481C1C}">
                <a14:useLocalDpi xmlns:a14="http://schemas.microsoft.com/office/drawing/2010/main" val="0"/>
              </a:ext>
            </a:extLst>
          </a:blip>
          <a:stretch>
            <a:fillRect/>
          </a:stretch>
        </p:blipFill>
        <p:spPr>
          <a:xfrm>
            <a:off x="4013065" y="2346263"/>
            <a:ext cx="569235" cy="593719"/>
          </a:xfrm>
          <a:prstGeom prst="rect">
            <a:avLst/>
          </a:prstGeom>
        </p:spPr>
      </p:pic>
      <p:sp>
        <p:nvSpPr>
          <p:cNvPr id="41" name="Rectangle 40">
            <a:extLst>
              <a:ext uri="{FF2B5EF4-FFF2-40B4-BE49-F238E27FC236}">
                <a16:creationId xmlns:a16="http://schemas.microsoft.com/office/drawing/2014/main" id="{C62CA7E2-F14B-BB1C-8B81-3A21743566AD}"/>
              </a:ext>
            </a:extLst>
          </p:cNvPr>
          <p:cNvSpPr/>
          <p:nvPr/>
        </p:nvSpPr>
        <p:spPr>
          <a:xfrm>
            <a:off x="3530920" y="295820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Downstream</a:t>
            </a:r>
          </a:p>
        </p:txBody>
      </p:sp>
      <p:pic>
        <p:nvPicPr>
          <p:cNvPr id="43" name="Picture 42" descr="Icon&#10;&#10;Description automatically generated">
            <a:extLst>
              <a:ext uri="{FF2B5EF4-FFF2-40B4-BE49-F238E27FC236}">
                <a16:creationId xmlns:a16="http://schemas.microsoft.com/office/drawing/2014/main" id="{9C1B70EC-D6A0-A93D-6F4A-95171E175DEF}"/>
              </a:ext>
            </a:extLst>
          </p:cNvPr>
          <p:cNvPicPr>
            <a:picLocks noChangeAspect="1"/>
          </p:cNvPicPr>
          <p:nvPr/>
        </p:nvPicPr>
        <p:blipFill>
          <a:blip r:embed="rId11">
            <a:biLevel thresh="50000"/>
            <a:extLst>
              <a:ext uri="{28A0092B-C50C-407E-A947-70E740481C1C}">
                <a14:useLocalDpi xmlns:a14="http://schemas.microsoft.com/office/drawing/2010/main" val="0"/>
              </a:ext>
            </a:extLst>
          </a:blip>
          <a:stretch>
            <a:fillRect/>
          </a:stretch>
        </p:blipFill>
        <p:spPr>
          <a:xfrm>
            <a:off x="4765933" y="2287555"/>
            <a:ext cx="730450" cy="664691"/>
          </a:xfrm>
          <a:prstGeom prst="rect">
            <a:avLst/>
          </a:prstGeom>
        </p:spPr>
      </p:pic>
      <p:sp>
        <p:nvSpPr>
          <p:cNvPr id="44" name="Rectangle 43">
            <a:extLst>
              <a:ext uri="{FF2B5EF4-FFF2-40B4-BE49-F238E27FC236}">
                <a16:creationId xmlns:a16="http://schemas.microsoft.com/office/drawing/2014/main" id="{3AA56329-953D-C563-6D17-DF8962947810}"/>
              </a:ext>
            </a:extLst>
          </p:cNvPr>
          <p:cNvSpPr/>
          <p:nvPr/>
        </p:nvSpPr>
        <p:spPr>
          <a:xfrm>
            <a:off x="4364396" y="297515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Energy</a:t>
            </a:r>
          </a:p>
          <a:p>
            <a:pPr algn="ctr"/>
            <a:r>
              <a:rPr lang="en-US" sz="1100">
                <a:solidFill>
                  <a:schemeClr val="tx1"/>
                </a:solidFill>
                <a:latin typeface="Ubuntu" panose="020B0504030602030204" pitchFamily="34" charset="0"/>
              </a:rPr>
              <a:t>transition</a:t>
            </a:r>
          </a:p>
        </p:txBody>
      </p:sp>
      <p:pic>
        <p:nvPicPr>
          <p:cNvPr id="46" name="Picture 45" descr="Logo, icon&#10;&#10;Description automatically generated">
            <a:extLst>
              <a:ext uri="{FF2B5EF4-FFF2-40B4-BE49-F238E27FC236}">
                <a16:creationId xmlns:a16="http://schemas.microsoft.com/office/drawing/2014/main" id="{337D56EE-A7D3-C58A-D567-CAB4553E8F8C}"/>
              </a:ext>
            </a:extLst>
          </p:cNvPr>
          <p:cNvPicPr>
            <a:picLocks noChangeAspect="1"/>
          </p:cNvPicPr>
          <p:nvPr/>
        </p:nvPicPr>
        <p:blipFill>
          <a:blip r:embed="rId12">
            <a:biLevel thresh="50000"/>
            <a:extLst>
              <a:ext uri="{28A0092B-C50C-407E-A947-70E740481C1C}">
                <a14:useLocalDpi xmlns:a14="http://schemas.microsoft.com/office/drawing/2010/main" val="0"/>
              </a:ext>
            </a:extLst>
          </a:blip>
          <a:stretch>
            <a:fillRect/>
          </a:stretch>
        </p:blipFill>
        <p:spPr>
          <a:xfrm>
            <a:off x="7346468" y="2331447"/>
            <a:ext cx="664691" cy="664691"/>
          </a:xfrm>
          <a:prstGeom prst="rect">
            <a:avLst/>
          </a:prstGeom>
        </p:spPr>
      </p:pic>
      <p:sp>
        <p:nvSpPr>
          <p:cNvPr id="47" name="Rectangle 46">
            <a:extLst>
              <a:ext uri="{FF2B5EF4-FFF2-40B4-BE49-F238E27FC236}">
                <a16:creationId xmlns:a16="http://schemas.microsoft.com/office/drawing/2014/main" id="{2F3934A1-13F2-42A5-9826-99B6C84F0D76}"/>
              </a:ext>
            </a:extLst>
          </p:cNvPr>
          <p:cNvSpPr/>
          <p:nvPr/>
        </p:nvSpPr>
        <p:spPr>
          <a:xfrm>
            <a:off x="6912051" y="298485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Hydrogen</a:t>
            </a:r>
          </a:p>
        </p:txBody>
      </p:sp>
      <p:sp>
        <p:nvSpPr>
          <p:cNvPr id="52" name="Rectangle 51">
            <a:extLst>
              <a:ext uri="{FF2B5EF4-FFF2-40B4-BE49-F238E27FC236}">
                <a16:creationId xmlns:a16="http://schemas.microsoft.com/office/drawing/2014/main" id="{DE21F87E-A538-34E8-B4FA-BCC00F2243A2}"/>
              </a:ext>
            </a:extLst>
          </p:cNvPr>
          <p:cNvSpPr/>
          <p:nvPr/>
        </p:nvSpPr>
        <p:spPr>
          <a:xfrm>
            <a:off x="8952543" y="507471"/>
            <a:ext cx="2652631"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a:solidFill>
                  <a:schemeClr val="accent1"/>
                </a:solidFill>
                <a:latin typeface="Ubuntu" panose="020B0504030602030204" pitchFamily="34" charset="0"/>
              </a:rPr>
              <a:t>More icons on SharePoint - here:</a:t>
            </a:r>
          </a:p>
        </p:txBody>
      </p:sp>
      <p:pic>
        <p:nvPicPr>
          <p:cNvPr id="49" name="Picture 48" descr="Icon&#10;&#10;Description automatically generated">
            <a:extLst>
              <a:ext uri="{FF2B5EF4-FFF2-40B4-BE49-F238E27FC236}">
                <a16:creationId xmlns:a16="http://schemas.microsoft.com/office/drawing/2014/main" id="{58EEA195-6924-2752-4F00-0EA95030D0B9}"/>
              </a:ext>
            </a:extLst>
          </p:cNvPr>
          <p:cNvPicPr>
            <a:picLocks noChangeAspect="1"/>
          </p:cNvPicPr>
          <p:nvPr/>
        </p:nvPicPr>
        <p:blipFill>
          <a:blip r:embed="rId13">
            <a:biLevel thresh="50000"/>
            <a:extLst>
              <a:ext uri="{28A0092B-C50C-407E-A947-70E740481C1C}">
                <a14:useLocalDpi xmlns:a14="http://schemas.microsoft.com/office/drawing/2010/main" val="0"/>
              </a:ext>
            </a:extLst>
          </a:blip>
          <a:stretch>
            <a:fillRect/>
          </a:stretch>
        </p:blipFill>
        <p:spPr>
          <a:xfrm>
            <a:off x="2388852" y="3504680"/>
            <a:ext cx="421404" cy="565217"/>
          </a:xfrm>
          <a:prstGeom prst="rect">
            <a:avLst/>
          </a:prstGeom>
        </p:spPr>
      </p:pic>
      <p:sp>
        <p:nvSpPr>
          <p:cNvPr id="2" name="Rectangle 1">
            <a:extLst>
              <a:ext uri="{FF2B5EF4-FFF2-40B4-BE49-F238E27FC236}">
                <a16:creationId xmlns:a16="http://schemas.microsoft.com/office/drawing/2014/main" id="{505F71C1-C8E4-FA82-9BC5-98803945AA89}"/>
              </a:ext>
            </a:extLst>
          </p:cNvPr>
          <p:cNvSpPr/>
          <p:nvPr/>
        </p:nvSpPr>
        <p:spPr>
          <a:xfrm>
            <a:off x="1832792" y="413666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amp; gas_1</a:t>
            </a:r>
          </a:p>
        </p:txBody>
      </p:sp>
      <p:pic>
        <p:nvPicPr>
          <p:cNvPr id="5" name="Picture 4">
            <a:extLst>
              <a:ext uri="{FF2B5EF4-FFF2-40B4-BE49-F238E27FC236}">
                <a16:creationId xmlns:a16="http://schemas.microsoft.com/office/drawing/2014/main" id="{6F45620D-A4C4-1D04-02B4-2669C34526D6}"/>
              </a:ext>
            </a:extLst>
          </p:cNvPr>
          <p:cNvPicPr>
            <a:picLocks noChangeAspect="1"/>
          </p:cNvPicPr>
          <p:nvPr/>
        </p:nvPicPr>
        <p:blipFill>
          <a:blip r:embed="rId14">
            <a:biLevel thresh="50000"/>
            <a:extLst>
              <a:ext uri="{28A0092B-C50C-407E-A947-70E740481C1C}">
                <a14:useLocalDpi xmlns:a14="http://schemas.microsoft.com/office/drawing/2010/main" val="0"/>
              </a:ext>
            </a:extLst>
          </a:blip>
          <a:stretch>
            <a:fillRect/>
          </a:stretch>
        </p:blipFill>
        <p:spPr>
          <a:xfrm>
            <a:off x="9915943" y="3414583"/>
            <a:ext cx="681079" cy="704450"/>
          </a:xfrm>
          <a:prstGeom prst="rect">
            <a:avLst/>
          </a:prstGeom>
        </p:spPr>
      </p:pic>
      <p:sp>
        <p:nvSpPr>
          <p:cNvPr id="6" name="Rectangle 5">
            <a:extLst>
              <a:ext uri="{FF2B5EF4-FFF2-40B4-BE49-F238E27FC236}">
                <a16:creationId xmlns:a16="http://schemas.microsoft.com/office/drawing/2014/main" id="{79852F09-C597-7957-1CED-0745322EE370}"/>
              </a:ext>
            </a:extLst>
          </p:cNvPr>
          <p:cNvSpPr/>
          <p:nvPr/>
        </p:nvSpPr>
        <p:spPr>
          <a:xfrm>
            <a:off x="9489720" y="414475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Renewables</a:t>
            </a:r>
          </a:p>
        </p:txBody>
      </p:sp>
      <p:pic>
        <p:nvPicPr>
          <p:cNvPr id="8" name="Picture 7" descr="Icon&#10;&#10;Description automatically generated with low confidence">
            <a:extLst>
              <a:ext uri="{FF2B5EF4-FFF2-40B4-BE49-F238E27FC236}">
                <a16:creationId xmlns:a16="http://schemas.microsoft.com/office/drawing/2014/main" id="{21BA0447-2B77-1A20-CEDD-449BC4F1EF52}"/>
              </a:ext>
            </a:extLst>
          </p:cNvPr>
          <p:cNvPicPr>
            <a:picLocks noChangeAspect="1"/>
          </p:cNvPicPr>
          <p:nvPr/>
        </p:nvPicPr>
        <p:blipFill>
          <a:blip r:embed="rId15">
            <a:biLevel thresh="50000"/>
            <a:extLst>
              <a:ext uri="{28A0092B-C50C-407E-A947-70E740481C1C}">
                <a14:useLocalDpi xmlns:a14="http://schemas.microsoft.com/office/drawing/2010/main" val="0"/>
              </a:ext>
            </a:extLst>
          </a:blip>
          <a:stretch>
            <a:fillRect/>
          </a:stretch>
        </p:blipFill>
        <p:spPr>
          <a:xfrm>
            <a:off x="596194" y="4615078"/>
            <a:ext cx="684280" cy="572073"/>
          </a:xfrm>
          <a:prstGeom prst="rect">
            <a:avLst/>
          </a:prstGeom>
        </p:spPr>
      </p:pic>
      <p:sp>
        <p:nvSpPr>
          <p:cNvPr id="9" name="Rectangle 8">
            <a:extLst>
              <a:ext uri="{FF2B5EF4-FFF2-40B4-BE49-F238E27FC236}">
                <a16:creationId xmlns:a16="http://schemas.microsoft.com/office/drawing/2014/main" id="{ADEEC0F0-05B6-4014-2372-28371B0C7013}"/>
              </a:ext>
            </a:extLst>
          </p:cNvPr>
          <p:cNvSpPr/>
          <p:nvPr/>
        </p:nvSpPr>
        <p:spPr>
          <a:xfrm>
            <a:off x="151017" y="527906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Rigs &amp; vessels</a:t>
            </a:r>
          </a:p>
        </p:txBody>
      </p:sp>
      <p:pic>
        <p:nvPicPr>
          <p:cNvPr id="12" name="Picture 11" descr="Logo, icon&#10;&#10;Description automatically generated">
            <a:extLst>
              <a:ext uri="{FF2B5EF4-FFF2-40B4-BE49-F238E27FC236}">
                <a16:creationId xmlns:a16="http://schemas.microsoft.com/office/drawing/2014/main" id="{14E18B82-3590-C947-1F0D-618A4664B371}"/>
              </a:ext>
            </a:extLst>
          </p:cNvPr>
          <p:cNvPicPr>
            <a:picLocks noChangeAspect="1"/>
          </p:cNvPicPr>
          <p:nvPr/>
        </p:nvPicPr>
        <p:blipFill>
          <a:blip r:embed="rId16">
            <a:biLevel thresh="50000"/>
            <a:extLst>
              <a:ext uri="{28A0092B-C50C-407E-A947-70E740481C1C}">
                <a14:useLocalDpi xmlns:a14="http://schemas.microsoft.com/office/drawing/2010/main" val="0"/>
              </a:ext>
            </a:extLst>
          </a:blip>
          <a:stretch>
            <a:fillRect/>
          </a:stretch>
        </p:blipFill>
        <p:spPr>
          <a:xfrm>
            <a:off x="2260754" y="4596063"/>
            <a:ext cx="664691" cy="664691"/>
          </a:xfrm>
          <a:prstGeom prst="rect">
            <a:avLst/>
          </a:prstGeom>
        </p:spPr>
      </p:pic>
      <p:sp>
        <p:nvSpPr>
          <p:cNvPr id="16" name="Rectangle 15">
            <a:extLst>
              <a:ext uri="{FF2B5EF4-FFF2-40B4-BE49-F238E27FC236}">
                <a16:creationId xmlns:a16="http://schemas.microsoft.com/office/drawing/2014/main" id="{C9FAC6B1-8613-2B89-07B1-465ABC97DA9D}"/>
              </a:ext>
            </a:extLst>
          </p:cNvPr>
          <p:cNvSpPr/>
          <p:nvPr/>
        </p:nvSpPr>
        <p:spPr>
          <a:xfrm>
            <a:off x="1832792" y="526562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ervice markets</a:t>
            </a:r>
          </a:p>
        </p:txBody>
      </p:sp>
      <p:pic>
        <p:nvPicPr>
          <p:cNvPr id="22" name="Picture 21" descr="Logo, icon&#10;&#10;Description automatically generated">
            <a:extLst>
              <a:ext uri="{FF2B5EF4-FFF2-40B4-BE49-F238E27FC236}">
                <a16:creationId xmlns:a16="http://schemas.microsoft.com/office/drawing/2014/main" id="{ABE3FEE6-FA41-8E1D-40B3-79C04B53591B}"/>
              </a:ext>
            </a:extLst>
          </p:cNvPr>
          <p:cNvPicPr>
            <a:picLocks noChangeAspect="1"/>
          </p:cNvPicPr>
          <p:nvPr/>
        </p:nvPicPr>
        <p:blipFill>
          <a:blip r:embed="rId17">
            <a:biLevel thresh="50000"/>
            <a:extLst>
              <a:ext uri="{28A0092B-C50C-407E-A947-70E740481C1C}">
                <a14:useLocalDpi xmlns:a14="http://schemas.microsoft.com/office/drawing/2010/main" val="0"/>
              </a:ext>
            </a:extLst>
          </a:blip>
          <a:stretch>
            <a:fillRect/>
          </a:stretch>
        </p:blipFill>
        <p:spPr>
          <a:xfrm>
            <a:off x="6498456" y="4568887"/>
            <a:ext cx="637375" cy="637375"/>
          </a:xfrm>
          <a:prstGeom prst="rect">
            <a:avLst/>
          </a:prstGeom>
        </p:spPr>
      </p:pic>
      <p:sp>
        <p:nvSpPr>
          <p:cNvPr id="25" name="Rectangle 24">
            <a:extLst>
              <a:ext uri="{FF2B5EF4-FFF2-40B4-BE49-F238E27FC236}">
                <a16:creationId xmlns:a16="http://schemas.microsoft.com/office/drawing/2014/main" id="{584CEE21-40F1-B38B-B0B7-5BA9CCBD285E}"/>
              </a:ext>
            </a:extLst>
          </p:cNvPr>
          <p:cNvSpPr/>
          <p:nvPr/>
        </p:nvSpPr>
        <p:spPr>
          <a:xfrm>
            <a:off x="6050381" y="528384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upply</a:t>
            </a:r>
          </a:p>
          <a:p>
            <a:pPr algn="ctr"/>
            <a:r>
              <a:rPr lang="en-US" sz="1100">
                <a:solidFill>
                  <a:schemeClr val="tx1"/>
                </a:solidFill>
                <a:latin typeface="Ubuntu" panose="020B0504030602030204" pitchFamily="34" charset="0"/>
              </a:rPr>
              <a:t>chain</a:t>
            </a:r>
          </a:p>
        </p:txBody>
      </p:sp>
      <p:pic>
        <p:nvPicPr>
          <p:cNvPr id="31" name="Picture 30" descr="Icon&#10;&#10;Description automatically generated">
            <a:extLst>
              <a:ext uri="{FF2B5EF4-FFF2-40B4-BE49-F238E27FC236}">
                <a16:creationId xmlns:a16="http://schemas.microsoft.com/office/drawing/2014/main" id="{5FD4475A-9D89-2589-BE57-D67EBEE99CBF}"/>
              </a:ext>
            </a:extLst>
          </p:cNvPr>
          <p:cNvPicPr>
            <a:picLocks noChangeAspect="1"/>
          </p:cNvPicPr>
          <p:nvPr/>
        </p:nvPicPr>
        <p:blipFill>
          <a:blip r:embed="rId18">
            <a:biLevel thresh="50000"/>
            <a:extLst>
              <a:ext uri="{28A0092B-C50C-407E-A947-70E740481C1C}">
                <a14:useLocalDpi xmlns:a14="http://schemas.microsoft.com/office/drawing/2010/main" val="0"/>
              </a:ext>
            </a:extLst>
          </a:blip>
          <a:stretch>
            <a:fillRect/>
          </a:stretch>
        </p:blipFill>
        <p:spPr>
          <a:xfrm>
            <a:off x="5757698" y="5756484"/>
            <a:ext cx="524247" cy="523410"/>
          </a:xfrm>
          <a:prstGeom prst="rect">
            <a:avLst/>
          </a:prstGeom>
        </p:spPr>
      </p:pic>
      <p:sp>
        <p:nvSpPr>
          <p:cNvPr id="33" name="Rectangle 32">
            <a:extLst>
              <a:ext uri="{FF2B5EF4-FFF2-40B4-BE49-F238E27FC236}">
                <a16:creationId xmlns:a16="http://schemas.microsoft.com/office/drawing/2014/main" id="{CBBD5FC8-57F6-D639-9CA0-90A3038D28A1}"/>
              </a:ext>
            </a:extLst>
          </p:cNvPr>
          <p:cNvSpPr/>
          <p:nvPr/>
        </p:nvSpPr>
        <p:spPr>
          <a:xfrm>
            <a:off x="5253059" y="630777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ind offshore</a:t>
            </a:r>
          </a:p>
        </p:txBody>
      </p:sp>
      <p:pic>
        <p:nvPicPr>
          <p:cNvPr id="37" name="Picture 36" descr="Icon&#10;&#10;Description automatically generated">
            <a:extLst>
              <a:ext uri="{FF2B5EF4-FFF2-40B4-BE49-F238E27FC236}">
                <a16:creationId xmlns:a16="http://schemas.microsoft.com/office/drawing/2014/main" id="{0EA3A16C-9D9D-024B-35F9-D66709EB1506}"/>
              </a:ext>
            </a:extLst>
          </p:cNvPr>
          <p:cNvPicPr>
            <a:picLocks noChangeAspect="1"/>
          </p:cNvPicPr>
          <p:nvPr/>
        </p:nvPicPr>
        <p:blipFill>
          <a:blip r:embed="rId19">
            <a:biLevel thresh="50000"/>
            <a:extLst>
              <a:ext uri="{28A0092B-C50C-407E-A947-70E740481C1C}">
                <a14:useLocalDpi xmlns:a14="http://schemas.microsoft.com/office/drawing/2010/main" val="0"/>
              </a:ext>
            </a:extLst>
          </a:blip>
          <a:stretch>
            <a:fillRect/>
          </a:stretch>
        </p:blipFill>
        <p:spPr>
          <a:xfrm>
            <a:off x="7395815" y="5746015"/>
            <a:ext cx="529264" cy="529264"/>
          </a:xfrm>
          <a:prstGeom prst="rect">
            <a:avLst/>
          </a:prstGeom>
        </p:spPr>
      </p:pic>
      <p:sp>
        <p:nvSpPr>
          <p:cNvPr id="38" name="Rectangle 37">
            <a:extLst>
              <a:ext uri="{FF2B5EF4-FFF2-40B4-BE49-F238E27FC236}">
                <a16:creationId xmlns:a16="http://schemas.microsoft.com/office/drawing/2014/main" id="{86789CD4-8F34-AC8E-14DF-31541FDC40B5}"/>
              </a:ext>
            </a:extLst>
          </p:cNvPr>
          <p:cNvSpPr/>
          <p:nvPr/>
        </p:nvSpPr>
        <p:spPr>
          <a:xfrm>
            <a:off x="6912051" y="630733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ork</a:t>
            </a:r>
          </a:p>
        </p:txBody>
      </p:sp>
      <p:pic>
        <p:nvPicPr>
          <p:cNvPr id="45" name="Picture 44" descr="Icon&#10;&#10;Description automatically generated">
            <a:extLst>
              <a:ext uri="{FF2B5EF4-FFF2-40B4-BE49-F238E27FC236}">
                <a16:creationId xmlns:a16="http://schemas.microsoft.com/office/drawing/2014/main" id="{62665C4E-63E4-8FB6-27A8-5C369146FAAA}"/>
              </a:ext>
            </a:extLst>
          </p:cNvPr>
          <p:cNvPicPr>
            <a:picLocks noChangeAspect="1"/>
          </p:cNvPicPr>
          <p:nvPr/>
        </p:nvPicPr>
        <p:blipFill>
          <a:blip r:embed="rId20">
            <a:biLevel thresh="50000"/>
            <a:extLst>
              <a:ext uri="{28A0092B-C50C-407E-A947-70E740481C1C}">
                <a14:useLocalDpi xmlns:a14="http://schemas.microsoft.com/office/drawing/2010/main" val="0"/>
              </a:ext>
            </a:extLst>
          </a:blip>
          <a:stretch>
            <a:fillRect/>
          </a:stretch>
        </p:blipFill>
        <p:spPr>
          <a:xfrm>
            <a:off x="10966732" y="3451255"/>
            <a:ext cx="466395" cy="648504"/>
          </a:xfrm>
          <a:prstGeom prst="rect">
            <a:avLst/>
          </a:prstGeom>
        </p:spPr>
      </p:pic>
      <p:sp>
        <p:nvSpPr>
          <p:cNvPr id="48" name="Rectangle 47">
            <a:extLst>
              <a:ext uri="{FF2B5EF4-FFF2-40B4-BE49-F238E27FC236}">
                <a16:creationId xmlns:a16="http://schemas.microsoft.com/office/drawing/2014/main" id="{662ED029-954F-C2EB-E363-828B1BE4CC42}"/>
              </a:ext>
            </a:extLst>
          </p:cNvPr>
          <p:cNvSpPr/>
          <p:nvPr/>
        </p:nvSpPr>
        <p:spPr>
          <a:xfrm>
            <a:off x="10433167" y="414393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Reports</a:t>
            </a:r>
          </a:p>
        </p:txBody>
      </p:sp>
      <p:pic>
        <p:nvPicPr>
          <p:cNvPr id="54" name="Picture 53" descr="Icon&#10;&#10;Description automatically generated">
            <a:extLst>
              <a:ext uri="{FF2B5EF4-FFF2-40B4-BE49-F238E27FC236}">
                <a16:creationId xmlns:a16="http://schemas.microsoft.com/office/drawing/2014/main" id="{940DDF99-C048-933C-9A77-29EF00981DC1}"/>
              </a:ext>
            </a:extLst>
          </p:cNvPr>
          <p:cNvPicPr>
            <a:picLocks noChangeAspect="1"/>
          </p:cNvPicPr>
          <p:nvPr/>
        </p:nvPicPr>
        <p:blipFill>
          <a:blip r:embed="rId21">
            <a:biLevel thresh="50000"/>
            <a:extLst>
              <a:ext uri="{28A0092B-C50C-407E-A947-70E740481C1C}">
                <a14:useLocalDpi xmlns:a14="http://schemas.microsoft.com/office/drawing/2010/main" val="0"/>
              </a:ext>
            </a:extLst>
          </a:blip>
          <a:stretch>
            <a:fillRect/>
          </a:stretch>
        </p:blipFill>
        <p:spPr>
          <a:xfrm>
            <a:off x="3943116" y="1342070"/>
            <a:ext cx="681522" cy="552759"/>
          </a:xfrm>
          <a:prstGeom prst="rect">
            <a:avLst/>
          </a:prstGeom>
        </p:spPr>
      </p:pic>
      <p:sp>
        <p:nvSpPr>
          <p:cNvPr id="61" name="Rectangle 60">
            <a:extLst>
              <a:ext uri="{FF2B5EF4-FFF2-40B4-BE49-F238E27FC236}">
                <a16:creationId xmlns:a16="http://schemas.microsoft.com/office/drawing/2014/main" id="{71864119-90FC-EF14-13E2-4582C8CC2016}"/>
              </a:ext>
            </a:extLst>
          </p:cNvPr>
          <p:cNvSpPr/>
          <p:nvPr/>
        </p:nvSpPr>
        <p:spPr>
          <a:xfrm>
            <a:off x="3530920" y="189963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Batteries_3</a:t>
            </a:r>
          </a:p>
        </p:txBody>
      </p:sp>
      <p:pic>
        <p:nvPicPr>
          <p:cNvPr id="58" name="Picture 57" descr="Icon&#10;&#10;Description automatically generated">
            <a:extLst>
              <a:ext uri="{FF2B5EF4-FFF2-40B4-BE49-F238E27FC236}">
                <a16:creationId xmlns:a16="http://schemas.microsoft.com/office/drawing/2014/main" id="{56AF7070-3AAC-CEEE-6B0A-AE3BAE229EB3}"/>
              </a:ext>
            </a:extLst>
          </p:cNvPr>
          <p:cNvPicPr>
            <a:picLocks noChangeAspect="1"/>
          </p:cNvPicPr>
          <p:nvPr/>
        </p:nvPicPr>
        <p:blipFill>
          <a:blip r:embed="rId22">
            <a:biLevel thresh="50000"/>
            <a:extLst>
              <a:ext uri="{28A0092B-C50C-407E-A947-70E740481C1C}">
                <a14:useLocalDpi xmlns:a14="http://schemas.microsoft.com/office/drawing/2010/main" val="0"/>
              </a:ext>
            </a:extLst>
          </a:blip>
          <a:stretch>
            <a:fillRect/>
          </a:stretch>
        </p:blipFill>
        <p:spPr>
          <a:xfrm>
            <a:off x="2425390" y="1257793"/>
            <a:ext cx="348329" cy="668838"/>
          </a:xfrm>
          <a:prstGeom prst="rect">
            <a:avLst/>
          </a:prstGeom>
        </p:spPr>
      </p:pic>
      <p:sp>
        <p:nvSpPr>
          <p:cNvPr id="62" name="Rectangle 61">
            <a:extLst>
              <a:ext uri="{FF2B5EF4-FFF2-40B4-BE49-F238E27FC236}">
                <a16:creationId xmlns:a16="http://schemas.microsoft.com/office/drawing/2014/main" id="{8629BBC4-75D7-0DA3-F6BD-09F14F67CFAC}"/>
              </a:ext>
            </a:extLst>
          </p:cNvPr>
          <p:cNvSpPr/>
          <p:nvPr/>
        </p:nvSpPr>
        <p:spPr>
          <a:xfrm>
            <a:off x="1832792" y="1901972"/>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Batteries_1</a:t>
            </a:r>
          </a:p>
        </p:txBody>
      </p:sp>
      <p:pic>
        <p:nvPicPr>
          <p:cNvPr id="56" name="Picture 55" descr="Shape&#10;&#10;Description automatically generated with low confidence">
            <a:extLst>
              <a:ext uri="{FF2B5EF4-FFF2-40B4-BE49-F238E27FC236}">
                <a16:creationId xmlns:a16="http://schemas.microsoft.com/office/drawing/2014/main" id="{B31FDA9C-C097-6FE6-2ED4-EBAB17201C39}"/>
              </a:ext>
            </a:extLst>
          </p:cNvPr>
          <p:cNvPicPr>
            <a:picLocks noChangeAspect="1"/>
          </p:cNvPicPr>
          <p:nvPr/>
        </p:nvPicPr>
        <p:blipFill>
          <a:blip r:embed="rId23">
            <a:biLevel thresh="50000"/>
            <a:extLst>
              <a:ext uri="{28A0092B-C50C-407E-A947-70E740481C1C}">
                <a14:useLocalDpi xmlns:a14="http://schemas.microsoft.com/office/drawing/2010/main" val="0"/>
              </a:ext>
            </a:extLst>
          </a:blip>
          <a:stretch>
            <a:fillRect/>
          </a:stretch>
        </p:blipFill>
        <p:spPr>
          <a:xfrm>
            <a:off x="3240420" y="1238838"/>
            <a:ext cx="348329" cy="668838"/>
          </a:xfrm>
          <a:prstGeom prst="rect">
            <a:avLst/>
          </a:prstGeom>
        </p:spPr>
      </p:pic>
      <p:sp>
        <p:nvSpPr>
          <p:cNvPr id="63" name="Rectangle 62">
            <a:extLst>
              <a:ext uri="{FF2B5EF4-FFF2-40B4-BE49-F238E27FC236}">
                <a16:creationId xmlns:a16="http://schemas.microsoft.com/office/drawing/2014/main" id="{F3685ED9-7688-A90D-94CC-CFF2667E2032}"/>
              </a:ext>
            </a:extLst>
          </p:cNvPr>
          <p:cNvSpPr/>
          <p:nvPr/>
        </p:nvSpPr>
        <p:spPr>
          <a:xfrm>
            <a:off x="2647822" y="190206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Batteries_2</a:t>
            </a:r>
          </a:p>
        </p:txBody>
      </p:sp>
      <p:pic>
        <p:nvPicPr>
          <p:cNvPr id="65" name="Picture 64" descr="Icon&#10;&#10;Description automatically generated">
            <a:extLst>
              <a:ext uri="{FF2B5EF4-FFF2-40B4-BE49-F238E27FC236}">
                <a16:creationId xmlns:a16="http://schemas.microsoft.com/office/drawing/2014/main" id="{611DDAAA-22D7-95A6-2464-4F00B6E6B52B}"/>
              </a:ext>
            </a:extLst>
          </p:cNvPr>
          <p:cNvPicPr>
            <a:picLocks noChangeAspect="1"/>
          </p:cNvPicPr>
          <p:nvPr/>
        </p:nvPicPr>
        <p:blipFill>
          <a:blip r:embed="rId24">
            <a:biLevel thresh="50000"/>
            <a:extLst>
              <a:ext uri="{28A0092B-C50C-407E-A947-70E740481C1C}">
                <a14:useLocalDpi xmlns:a14="http://schemas.microsoft.com/office/drawing/2010/main" val="0"/>
              </a:ext>
            </a:extLst>
          </a:blip>
          <a:stretch>
            <a:fillRect/>
          </a:stretch>
        </p:blipFill>
        <p:spPr>
          <a:xfrm>
            <a:off x="5589532" y="1180102"/>
            <a:ext cx="682193" cy="682193"/>
          </a:xfrm>
          <a:prstGeom prst="rect">
            <a:avLst/>
          </a:prstGeom>
        </p:spPr>
      </p:pic>
      <p:sp>
        <p:nvSpPr>
          <p:cNvPr id="68" name="Rectangle 67">
            <a:extLst>
              <a:ext uri="{FF2B5EF4-FFF2-40B4-BE49-F238E27FC236}">
                <a16:creationId xmlns:a16="http://schemas.microsoft.com/office/drawing/2014/main" id="{EB800516-571B-80BC-BB1A-88BA5B598DBA}"/>
              </a:ext>
            </a:extLst>
          </p:cNvPr>
          <p:cNvSpPr/>
          <p:nvPr/>
        </p:nvSpPr>
        <p:spPr>
          <a:xfrm>
            <a:off x="5163866" y="191495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harts</a:t>
            </a:r>
          </a:p>
        </p:txBody>
      </p:sp>
      <p:pic>
        <p:nvPicPr>
          <p:cNvPr id="74" name="Picture 73" descr="Icon&#10;&#10;Description automatically generated">
            <a:extLst>
              <a:ext uri="{FF2B5EF4-FFF2-40B4-BE49-F238E27FC236}">
                <a16:creationId xmlns:a16="http://schemas.microsoft.com/office/drawing/2014/main" id="{21997DBA-AC80-7813-1134-262164F8A619}"/>
              </a:ext>
            </a:extLst>
          </p:cNvPr>
          <p:cNvPicPr>
            <a:picLocks noChangeAspect="1"/>
          </p:cNvPicPr>
          <p:nvPr/>
        </p:nvPicPr>
        <p:blipFill>
          <a:blip r:embed="rId25">
            <a:biLevel thresh="50000"/>
            <a:extLst>
              <a:ext uri="{28A0092B-C50C-407E-A947-70E740481C1C}">
                <a14:useLocalDpi xmlns:a14="http://schemas.microsoft.com/office/drawing/2010/main" val="0"/>
              </a:ext>
            </a:extLst>
          </a:blip>
          <a:stretch>
            <a:fillRect/>
          </a:stretch>
        </p:blipFill>
        <p:spPr>
          <a:xfrm>
            <a:off x="8239792" y="2289136"/>
            <a:ext cx="510475" cy="657376"/>
          </a:xfrm>
          <a:prstGeom prst="rect">
            <a:avLst/>
          </a:prstGeom>
        </p:spPr>
      </p:pic>
      <p:sp>
        <p:nvSpPr>
          <p:cNvPr id="75" name="Rectangle 74">
            <a:extLst>
              <a:ext uri="{FF2B5EF4-FFF2-40B4-BE49-F238E27FC236}">
                <a16:creationId xmlns:a16="http://schemas.microsoft.com/office/drawing/2014/main" id="{66FAD7FA-39B2-4FBC-411F-72AAA0D3A12C}"/>
              </a:ext>
            </a:extLst>
          </p:cNvPr>
          <p:cNvSpPr/>
          <p:nvPr/>
        </p:nvSpPr>
        <p:spPr>
          <a:xfrm>
            <a:off x="7771987" y="2978096"/>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In the news</a:t>
            </a:r>
          </a:p>
        </p:txBody>
      </p:sp>
      <p:pic>
        <p:nvPicPr>
          <p:cNvPr id="72" name="Picture 71" descr="Logo, icon&#10;&#10;Description automatically generated">
            <a:extLst>
              <a:ext uri="{FF2B5EF4-FFF2-40B4-BE49-F238E27FC236}">
                <a16:creationId xmlns:a16="http://schemas.microsoft.com/office/drawing/2014/main" id="{0CCE2134-56AF-3DE1-9467-8A88B7D904BE}"/>
              </a:ext>
            </a:extLst>
          </p:cNvPr>
          <p:cNvPicPr>
            <a:picLocks noChangeAspect="1"/>
          </p:cNvPicPr>
          <p:nvPr/>
        </p:nvPicPr>
        <p:blipFill>
          <a:blip r:embed="rId26">
            <a:biLevel thresh="50000"/>
            <a:extLst>
              <a:ext uri="{28A0092B-C50C-407E-A947-70E740481C1C}">
                <a14:useLocalDpi xmlns:a14="http://schemas.microsoft.com/office/drawing/2010/main" val="0"/>
              </a:ext>
            </a:extLst>
          </a:blip>
          <a:stretch>
            <a:fillRect/>
          </a:stretch>
        </p:blipFill>
        <p:spPr>
          <a:xfrm>
            <a:off x="7247296" y="1304664"/>
            <a:ext cx="863035" cy="554546"/>
          </a:xfrm>
          <a:prstGeom prst="rect">
            <a:avLst/>
          </a:prstGeom>
        </p:spPr>
      </p:pic>
      <p:sp>
        <p:nvSpPr>
          <p:cNvPr id="76" name="Rectangle 75">
            <a:extLst>
              <a:ext uri="{FF2B5EF4-FFF2-40B4-BE49-F238E27FC236}">
                <a16:creationId xmlns:a16="http://schemas.microsoft.com/office/drawing/2014/main" id="{CD15E1BC-E98B-2273-F890-9F105BD41E29}"/>
              </a:ext>
            </a:extLst>
          </p:cNvPr>
          <p:cNvSpPr/>
          <p:nvPr/>
        </p:nvSpPr>
        <p:spPr>
          <a:xfrm>
            <a:off x="6912051" y="190286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O2_1</a:t>
            </a:r>
          </a:p>
        </p:txBody>
      </p:sp>
      <p:pic>
        <p:nvPicPr>
          <p:cNvPr id="70" name="Picture 69" descr="Logo, icon&#10;&#10;Description automatically generated">
            <a:extLst>
              <a:ext uri="{FF2B5EF4-FFF2-40B4-BE49-F238E27FC236}">
                <a16:creationId xmlns:a16="http://schemas.microsoft.com/office/drawing/2014/main" id="{3962010B-AF2F-64D8-3A69-27463D7F6FB0}"/>
              </a:ext>
            </a:extLst>
          </p:cNvPr>
          <p:cNvPicPr>
            <a:picLocks noChangeAspect="1"/>
          </p:cNvPicPr>
          <p:nvPr/>
        </p:nvPicPr>
        <p:blipFill>
          <a:blip r:embed="rId27">
            <a:biLevel thresh="50000"/>
            <a:extLst>
              <a:ext uri="{28A0092B-C50C-407E-A947-70E740481C1C}">
                <a14:useLocalDpi xmlns:a14="http://schemas.microsoft.com/office/drawing/2010/main" val="0"/>
              </a:ext>
            </a:extLst>
          </a:blip>
          <a:stretch>
            <a:fillRect/>
          </a:stretch>
        </p:blipFill>
        <p:spPr>
          <a:xfrm>
            <a:off x="8236617" y="1295055"/>
            <a:ext cx="604265" cy="604265"/>
          </a:xfrm>
          <a:prstGeom prst="rect">
            <a:avLst/>
          </a:prstGeom>
        </p:spPr>
      </p:pic>
      <p:sp>
        <p:nvSpPr>
          <p:cNvPr id="77" name="Rectangle 76">
            <a:extLst>
              <a:ext uri="{FF2B5EF4-FFF2-40B4-BE49-F238E27FC236}">
                <a16:creationId xmlns:a16="http://schemas.microsoft.com/office/drawing/2014/main" id="{98E6E83F-4C6B-42FB-1E9A-249C94E6FDCF}"/>
              </a:ext>
            </a:extLst>
          </p:cNvPr>
          <p:cNvSpPr/>
          <p:nvPr/>
        </p:nvSpPr>
        <p:spPr>
          <a:xfrm>
            <a:off x="7771987" y="189455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O2_2</a:t>
            </a:r>
          </a:p>
        </p:txBody>
      </p:sp>
      <p:pic>
        <p:nvPicPr>
          <p:cNvPr id="79" name="Picture 78">
            <a:extLst>
              <a:ext uri="{FF2B5EF4-FFF2-40B4-BE49-F238E27FC236}">
                <a16:creationId xmlns:a16="http://schemas.microsoft.com/office/drawing/2014/main" id="{1E151C3C-9787-A0E0-7D63-BA3D4471E8B7}"/>
              </a:ext>
            </a:extLst>
          </p:cNvPr>
          <p:cNvPicPr>
            <a:picLocks noChangeAspect="1"/>
          </p:cNvPicPr>
          <p:nvPr/>
        </p:nvPicPr>
        <p:blipFill>
          <a:blip r:embed="rId28">
            <a:biLevel thresh="50000"/>
            <a:extLst>
              <a:ext uri="{28A0092B-C50C-407E-A947-70E740481C1C}">
                <a14:useLocalDpi xmlns:a14="http://schemas.microsoft.com/office/drawing/2010/main" val="0"/>
              </a:ext>
            </a:extLst>
          </a:blip>
          <a:stretch>
            <a:fillRect/>
          </a:stretch>
        </p:blipFill>
        <p:spPr>
          <a:xfrm>
            <a:off x="10038220" y="2317812"/>
            <a:ext cx="461508" cy="667169"/>
          </a:xfrm>
          <a:prstGeom prst="rect">
            <a:avLst/>
          </a:prstGeom>
        </p:spPr>
      </p:pic>
      <p:sp>
        <p:nvSpPr>
          <p:cNvPr id="80" name="Rectangle 79">
            <a:extLst>
              <a:ext uri="{FF2B5EF4-FFF2-40B4-BE49-F238E27FC236}">
                <a16:creationId xmlns:a16="http://schemas.microsoft.com/office/drawing/2014/main" id="{6E730679-9E8F-8591-775D-867A88E8AA2C}"/>
              </a:ext>
            </a:extLst>
          </p:cNvPr>
          <p:cNvSpPr/>
          <p:nvPr/>
        </p:nvSpPr>
        <p:spPr>
          <a:xfrm>
            <a:off x="9489720" y="297245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Liquid gas</a:t>
            </a:r>
          </a:p>
        </p:txBody>
      </p:sp>
      <p:pic>
        <p:nvPicPr>
          <p:cNvPr id="82" name="Picture 81">
            <a:extLst>
              <a:ext uri="{FF2B5EF4-FFF2-40B4-BE49-F238E27FC236}">
                <a16:creationId xmlns:a16="http://schemas.microsoft.com/office/drawing/2014/main" id="{905ED731-FC6D-D019-ABAA-CF6A65226178}"/>
              </a:ext>
            </a:extLst>
          </p:cNvPr>
          <p:cNvPicPr>
            <a:picLocks noChangeAspect="1"/>
          </p:cNvPicPr>
          <p:nvPr/>
        </p:nvPicPr>
        <p:blipFill>
          <a:blip r:embed="rId29">
            <a:biLevel thresh="50000"/>
            <a:extLst>
              <a:ext uri="{28A0092B-C50C-407E-A947-70E740481C1C}">
                <a14:useLocalDpi xmlns:a14="http://schemas.microsoft.com/office/drawing/2010/main" val="0"/>
              </a:ext>
            </a:extLst>
          </a:blip>
          <a:stretch>
            <a:fillRect/>
          </a:stretch>
        </p:blipFill>
        <p:spPr>
          <a:xfrm>
            <a:off x="10889520" y="2308624"/>
            <a:ext cx="620819" cy="622658"/>
          </a:xfrm>
          <a:prstGeom prst="rect">
            <a:avLst/>
          </a:prstGeom>
        </p:spPr>
      </p:pic>
      <p:sp>
        <p:nvSpPr>
          <p:cNvPr id="83" name="Rectangle 82">
            <a:extLst>
              <a:ext uri="{FF2B5EF4-FFF2-40B4-BE49-F238E27FC236}">
                <a16:creationId xmlns:a16="http://schemas.microsoft.com/office/drawing/2014/main" id="{68B27A54-3130-E9FB-EE28-028A6977BE41}"/>
              </a:ext>
            </a:extLst>
          </p:cNvPr>
          <p:cNvSpPr/>
          <p:nvPr/>
        </p:nvSpPr>
        <p:spPr>
          <a:xfrm>
            <a:off x="10433167" y="3011762"/>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Maintenance operations</a:t>
            </a:r>
          </a:p>
        </p:txBody>
      </p:sp>
      <p:pic>
        <p:nvPicPr>
          <p:cNvPr id="85" name="Picture 84" descr="Icon&#10;&#10;Description automatically generated">
            <a:extLst>
              <a:ext uri="{FF2B5EF4-FFF2-40B4-BE49-F238E27FC236}">
                <a16:creationId xmlns:a16="http://schemas.microsoft.com/office/drawing/2014/main" id="{C692AB82-6FB2-919F-A79E-23627F87E2EA}"/>
              </a:ext>
            </a:extLst>
          </p:cNvPr>
          <p:cNvPicPr>
            <a:picLocks noChangeAspect="1"/>
          </p:cNvPicPr>
          <p:nvPr/>
        </p:nvPicPr>
        <p:blipFill>
          <a:blip r:embed="rId30">
            <a:biLevel thresh="50000"/>
            <a:extLst>
              <a:ext uri="{28A0092B-C50C-407E-A947-70E740481C1C}">
                <a14:useLocalDpi xmlns:a14="http://schemas.microsoft.com/office/drawing/2010/main" val="0"/>
              </a:ext>
            </a:extLst>
          </a:blip>
          <a:stretch>
            <a:fillRect/>
          </a:stretch>
        </p:blipFill>
        <p:spPr>
          <a:xfrm>
            <a:off x="555066" y="3478451"/>
            <a:ext cx="693017" cy="632316"/>
          </a:xfrm>
          <a:prstGeom prst="rect">
            <a:avLst/>
          </a:prstGeom>
        </p:spPr>
      </p:pic>
      <p:sp>
        <p:nvSpPr>
          <p:cNvPr id="86" name="Rectangle 85">
            <a:extLst>
              <a:ext uri="{FF2B5EF4-FFF2-40B4-BE49-F238E27FC236}">
                <a16:creationId xmlns:a16="http://schemas.microsoft.com/office/drawing/2014/main" id="{47760E5A-9F73-D3CA-0326-05796CA6FAD3}"/>
              </a:ext>
            </a:extLst>
          </p:cNvPr>
          <p:cNvSpPr/>
          <p:nvPr/>
        </p:nvSpPr>
        <p:spPr>
          <a:xfrm>
            <a:off x="151017" y="412846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Management</a:t>
            </a:r>
          </a:p>
        </p:txBody>
      </p:sp>
      <p:pic>
        <p:nvPicPr>
          <p:cNvPr id="88" name="Picture 87" descr="Icon&#10;&#10;Description automatically generated">
            <a:extLst>
              <a:ext uri="{FF2B5EF4-FFF2-40B4-BE49-F238E27FC236}">
                <a16:creationId xmlns:a16="http://schemas.microsoft.com/office/drawing/2014/main" id="{80B7BB8B-7E1E-1038-E7D5-E834752581CF}"/>
              </a:ext>
            </a:extLst>
          </p:cNvPr>
          <p:cNvPicPr>
            <a:picLocks noChangeAspect="1"/>
          </p:cNvPicPr>
          <p:nvPr/>
        </p:nvPicPr>
        <p:blipFill>
          <a:blip r:embed="rId31">
            <a:biLevel thresh="50000"/>
            <a:extLst>
              <a:ext uri="{28A0092B-C50C-407E-A947-70E740481C1C}">
                <a14:useLocalDpi xmlns:a14="http://schemas.microsoft.com/office/drawing/2010/main" val="0"/>
              </a:ext>
            </a:extLst>
          </a:blip>
          <a:stretch>
            <a:fillRect/>
          </a:stretch>
        </p:blipFill>
        <p:spPr>
          <a:xfrm>
            <a:off x="1407999" y="3492506"/>
            <a:ext cx="567475" cy="585870"/>
          </a:xfrm>
          <a:prstGeom prst="rect">
            <a:avLst/>
          </a:prstGeom>
        </p:spPr>
      </p:pic>
      <p:sp>
        <p:nvSpPr>
          <p:cNvPr id="89" name="Rectangle 88">
            <a:extLst>
              <a:ext uri="{FF2B5EF4-FFF2-40B4-BE49-F238E27FC236}">
                <a16:creationId xmlns:a16="http://schemas.microsoft.com/office/drawing/2014/main" id="{72A4560C-4750-C542-EC23-35F218CA037A}"/>
              </a:ext>
            </a:extLst>
          </p:cNvPr>
          <p:cNvSpPr/>
          <p:nvPr/>
        </p:nvSpPr>
        <p:spPr>
          <a:xfrm>
            <a:off x="974378" y="413769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Metals</a:t>
            </a:r>
          </a:p>
        </p:txBody>
      </p:sp>
      <p:pic>
        <p:nvPicPr>
          <p:cNvPr id="97" name="Picture 96" descr="Icon&#10;&#10;Description automatically generated">
            <a:extLst>
              <a:ext uri="{FF2B5EF4-FFF2-40B4-BE49-F238E27FC236}">
                <a16:creationId xmlns:a16="http://schemas.microsoft.com/office/drawing/2014/main" id="{778FC71E-8B66-51A2-252E-A89385B32E98}"/>
              </a:ext>
            </a:extLst>
          </p:cNvPr>
          <p:cNvPicPr>
            <a:picLocks noChangeAspect="1"/>
          </p:cNvPicPr>
          <p:nvPr/>
        </p:nvPicPr>
        <p:blipFill>
          <a:blip r:embed="rId32">
            <a:biLevel thresh="50000"/>
            <a:extLst>
              <a:ext uri="{28A0092B-C50C-407E-A947-70E740481C1C}">
                <a14:useLocalDpi xmlns:a14="http://schemas.microsoft.com/office/drawing/2010/main" val="0"/>
              </a:ext>
            </a:extLst>
          </a:blip>
          <a:stretch>
            <a:fillRect/>
          </a:stretch>
        </p:blipFill>
        <p:spPr>
          <a:xfrm>
            <a:off x="3178673" y="3466144"/>
            <a:ext cx="471823" cy="611622"/>
          </a:xfrm>
          <a:prstGeom prst="rect">
            <a:avLst/>
          </a:prstGeom>
        </p:spPr>
      </p:pic>
      <p:sp>
        <p:nvSpPr>
          <p:cNvPr id="98" name="Rectangle 97">
            <a:extLst>
              <a:ext uri="{FF2B5EF4-FFF2-40B4-BE49-F238E27FC236}">
                <a16:creationId xmlns:a16="http://schemas.microsoft.com/office/drawing/2014/main" id="{4388C6BC-6C8B-1AF7-DFF1-5DBD215E0CD2}"/>
              </a:ext>
            </a:extLst>
          </p:cNvPr>
          <p:cNvSpPr/>
          <p:nvPr/>
        </p:nvSpPr>
        <p:spPr>
          <a:xfrm>
            <a:off x="2647822" y="413489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amp; gas_2</a:t>
            </a:r>
          </a:p>
        </p:txBody>
      </p:sp>
      <p:pic>
        <p:nvPicPr>
          <p:cNvPr id="100" name="Picture 99" descr="Icon&#10;&#10;Description automatically generated">
            <a:extLst>
              <a:ext uri="{FF2B5EF4-FFF2-40B4-BE49-F238E27FC236}">
                <a16:creationId xmlns:a16="http://schemas.microsoft.com/office/drawing/2014/main" id="{57A6558B-5193-DE3B-BAF1-FD0723A4E837}"/>
              </a:ext>
            </a:extLst>
          </p:cNvPr>
          <p:cNvPicPr>
            <a:picLocks noChangeAspect="1"/>
          </p:cNvPicPr>
          <p:nvPr/>
        </p:nvPicPr>
        <p:blipFill>
          <a:blip r:embed="rId33">
            <a:biLevel thresh="50000"/>
            <a:extLst>
              <a:ext uri="{28A0092B-C50C-407E-A947-70E740481C1C}">
                <a14:useLocalDpi xmlns:a14="http://schemas.microsoft.com/office/drawing/2010/main" val="0"/>
              </a:ext>
            </a:extLst>
          </a:blip>
          <a:stretch>
            <a:fillRect/>
          </a:stretch>
        </p:blipFill>
        <p:spPr>
          <a:xfrm>
            <a:off x="5579691" y="3473978"/>
            <a:ext cx="745626" cy="627257"/>
          </a:xfrm>
          <a:prstGeom prst="rect">
            <a:avLst/>
          </a:prstGeom>
        </p:spPr>
      </p:pic>
      <p:sp>
        <p:nvSpPr>
          <p:cNvPr id="101" name="Rectangle 100">
            <a:extLst>
              <a:ext uri="{FF2B5EF4-FFF2-40B4-BE49-F238E27FC236}">
                <a16:creationId xmlns:a16="http://schemas.microsoft.com/office/drawing/2014/main" id="{E946C9F0-C1FE-C62F-C3C2-C33BCACF360A}"/>
              </a:ext>
            </a:extLst>
          </p:cNvPr>
          <p:cNvSpPr/>
          <p:nvPr/>
        </p:nvSpPr>
        <p:spPr>
          <a:xfrm>
            <a:off x="5163866" y="413917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tower</a:t>
            </a:r>
          </a:p>
        </p:txBody>
      </p:sp>
      <p:pic>
        <p:nvPicPr>
          <p:cNvPr id="95" name="Picture 94" descr="Icon&#10;&#10;Description automatically generated">
            <a:extLst>
              <a:ext uri="{FF2B5EF4-FFF2-40B4-BE49-F238E27FC236}">
                <a16:creationId xmlns:a16="http://schemas.microsoft.com/office/drawing/2014/main" id="{7F98242B-EC96-A90A-5FFC-A5F94BBA20C5}"/>
              </a:ext>
            </a:extLst>
          </p:cNvPr>
          <p:cNvPicPr>
            <a:picLocks noChangeAspect="1"/>
          </p:cNvPicPr>
          <p:nvPr/>
        </p:nvPicPr>
        <p:blipFill>
          <a:blip r:embed="rId34">
            <a:biLevel thresh="50000"/>
            <a:extLst>
              <a:ext uri="{28A0092B-C50C-407E-A947-70E740481C1C}">
                <a14:useLocalDpi xmlns:a14="http://schemas.microsoft.com/office/drawing/2010/main" val="0"/>
              </a:ext>
            </a:extLst>
          </a:blip>
          <a:stretch>
            <a:fillRect/>
          </a:stretch>
        </p:blipFill>
        <p:spPr>
          <a:xfrm>
            <a:off x="3934115" y="3523741"/>
            <a:ext cx="681817" cy="513834"/>
          </a:xfrm>
          <a:prstGeom prst="rect">
            <a:avLst/>
          </a:prstGeom>
        </p:spPr>
      </p:pic>
      <p:sp>
        <p:nvSpPr>
          <p:cNvPr id="102" name="Rectangle 101">
            <a:extLst>
              <a:ext uri="{FF2B5EF4-FFF2-40B4-BE49-F238E27FC236}">
                <a16:creationId xmlns:a16="http://schemas.microsoft.com/office/drawing/2014/main" id="{2C96A723-4097-8F41-941F-8842CC115671}"/>
              </a:ext>
            </a:extLst>
          </p:cNvPr>
          <p:cNvSpPr/>
          <p:nvPr/>
        </p:nvSpPr>
        <p:spPr>
          <a:xfrm>
            <a:off x="3530920" y="412691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amp; gas_3</a:t>
            </a:r>
          </a:p>
        </p:txBody>
      </p:sp>
      <p:pic>
        <p:nvPicPr>
          <p:cNvPr id="93" name="Picture 92">
            <a:extLst>
              <a:ext uri="{FF2B5EF4-FFF2-40B4-BE49-F238E27FC236}">
                <a16:creationId xmlns:a16="http://schemas.microsoft.com/office/drawing/2014/main" id="{EFCA48D2-831F-B785-054C-7F085112A9DC}"/>
              </a:ext>
            </a:extLst>
          </p:cNvPr>
          <p:cNvPicPr>
            <a:picLocks noChangeAspect="1"/>
          </p:cNvPicPr>
          <p:nvPr/>
        </p:nvPicPr>
        <p:blipFill>
          <a:blip r:embed="rId35">
            <a:biLevel thresh="50000"/>
            <a:extLst>
              <a:ext uri="{28A0092B-C50C-407E-A947-70E740481C1C}">
                <a14:useLocalDpi xmlns:a14="http://schemas.microsoft.com/office/drawing/2010/main" val="0"/>
              </a:ext>
            </a:extLst>
          </a:blip>
          <a:stretch>
            <a:fillRect/>
          </a:stretch>
        </p:blipFill>
        <p:spPr>
          <a:xfrm>
            <a:off x="4765268" y="3486283"/>
            <a:ext cx="659698" cy="554347"/>
          </a:xfrm>
          <a:prstGeom prst="rect">
            <a:avLst/>
          </a:prstGeom>
        </p:spPr>
      </p:pic>
      <p:sp>
        <p:nvSpPr>
          <p:cNvPr id="103" name="Rectangle 102">
            <a:extLst>
              <a:ext uri="{FF2B5EF4-FFF2-40B4-BE49-F238E27FC236}">
                <a16:creationId xmlns:a16="http://schemas.microsoft.com/office/drawing/2014/main" id="{428E0534-D8B9-3A5F-11BB-3774EE60913E}"/>
              </a:ext>
            </a:extLst>
          </p:cNvPr>
          <p:cNvSpPr/>
          <p:nvPr/>
        </p:nvSpPr>
        <p:spPr>
          <a:xfrm>
            <a:off x="4364396" y="412857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Oil &amp; gas_4</a:t>
            </a:r>
          </a:p>
        </p:txBody>
      </p:sp>
      <p:pic>
        <p:nvPicPr>
          <p:cNvPr id="105" name="Picture 104" descr="Icon&#10;&#10;Description automatically generated">
            <a:extLst>
              <a:ext uri="{FF2B5EF4-FFF2-40B4-BE49-F238E27FC236}">
                <a16:creationId xmlns:a16="http://schemas.microsoft.com/office/drawing/2014/main" id="{52929A31-1663-0AEB-F448-292FC3004B00}"/>
              </a:ext>
            </a:extLst>
          </p:cNvPr>
          <p:cNvPicPr>
            <a:picLocks noChangeAspect="1"/>
          </p:cNvPicPr>
          <p:nvPr/>
        </p:nvPicPr>
        <p:blipFill>
          <a:blip r:embed="rId36">
            <a:biLevel thresh="50000"/>
            <a:extLst>
              <a:ext uri="{28A0092B-C50C-407E-A947-70E740481C1C}">
                <a14:useLocalDpi xmlns:a14="http://schemas.microsoft.com/office/drawing/2010/main" val="0"/>
              </a:ext>
            </a:extLst>
          </a:blip>
          <a:stretch>
            <a:fillRect/>
          </a:stretch>
        </p:blipFill>
        <p:spPr>
          <a:xfrm>
            <a:off x="6515011" y="3470444"/>
            <a:ext cx="604265" cy="604265"/>
          </a:xfrm>
          <a:prstGeom prst="rect">
            <a:avLst/>
          </a:prstGeom>
        </p:spPr>
      </p:pic>
      <p:sp>
        <p:nvSpPr>
          <p:cNvPr id="106" name="Rectangle 105">
            <a:extLst>
              <a:ext uri="{FF2B5EF4-FFF2-40B4-BE49-F238E27FC236}">
                <a16:creationId xmlns:a16="http://schemas.microsoft.com/office/drawing/2014/main" id="{BD5AD6BF-4079-A762-3E0F-24A1D606FA2C}"/>
              </a:ext>
            </a:extLst>
          </p:cNvPr>
          <p:cNvSpPr/>
          <p:nvPr/>
        </p:nvSpPr>
        <p:spPr>
          <a:xfrm>
            <a:off x="6050381" y="4138822"/>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People</a:t>
            </a:r>
          </a:p>
        </p:txBody>
      </p:sp>
      <p:pic>
        <p:nvPicPr>
          <p:cNvPr id="110" name="Picture 109" descr="Icon&#10;&#10;Description automatically generated">
            <a:extLst>
              <a:ext uri="{FF2B5EF4-FFF2-40B4-BE49-F238E27FC236}">
                <a16:creationId xmlns:a16="http://schemas.microsoft.com/office/drawing/2014/main" id="{FE508338-5F49-3BDA-6AB3-A36E5117FBBA}"/>
              </a:ext>
            </a:extLst>
          </p:cNvPr>
          <p:cNvPicPr>
            <a:picLocks noChangeAspect="1"/>
          </p:cNvPicPr>
          <p:nvPr/>
        </p:nvPicPr>
        <p:blipFill>
          <a:blip r:embed="rId37">
            <a:biLevel thresh="50000"/>
            <a:extLst>
              <a:ext uri="{28A0092B-C50C-407E-A947-70E740481C1C}">
                <a14:useLocalDpi xmlns:a14="http://schemas.microsoft.com/office/drawing/2010/main" val="0"/>
              </a:ext>
            </a:extLst>
          </a:blip>
          <a:stretch>
            <a:fillRect/>
          </a:stretch>
        </p:blipFill>
        <p:spPr>
          <a:xfrm>
            <a:off x="7426025" y="3580136"/>
            <a:ext cx="505579" cy="554546"/>
          </a:xfrm>
          <a:prstGeom prst="rect">
            <a:avLst/>
          </a:prstGeom>
        </p:spPr>
      </p:pic>
      <p:sp>
        <p:nvSpPr>
          <p:cNvPr id="111" name="Rectangle 110">
            <a:extLst>
              <a:ext uri="{FF2B5EF4-FFF2-40B4-BE49-F238E27FC236}">
                <a16:creationId xmlns:a16="http://schemas.microsoft.com/office/drawing/2014/main" id="{D3D4747F-3AFA-AA22-751F-52CF3C8EC1C7}"/>
              </a:ext>
            </a:extLst>
          </p:cNvPr>
          <p:cNvSpPr/>
          <p:nvPr/>
        </p:nvSpPr>
        <p:spPr>
          <a:xfrm>
            <a:off x="6912051" y="414508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Power_1</a:t>
            </a:r>
          </a:p>
        </p:txBody>
      </p:sp>
      <p:pic>
        <p:nvPicPr>
          <p:cNvPr id="108" name="Picture 107" descr="A picture containing arrow&#10;&#10;Description automatically generated">
            <a:extLst>
              <a:ext uri="{FF2B5EF4-FFF2-40B4-BE49-F238E27FC236}">
                <a16:creationId xmlns:a16="http://schemas.microsoft.com/office/drawing/2014/main" id="{15E0F64F-7213-9AFD-2B89-2508199877FE}"/>
              </a:ext>
            </a:extLst>
          </p:cNvPr>
          <p:cNvPicPr>
            <a:picLocks noChangeAspect="1"/>
          </p:cNvPicPr>
          <p:nvPr/>
        </p:nvPicPr>
        <p:blipFill>
          <a:blip r:embed="rId38">
            <a:biLevel thresh="50000"/>
            <a:extLst>
              <a:ext uri="{28A0092B-C50C-407E-A947-70E740481C1C}">
                <a14:useLocalDpi xmlns:a14="http://schemas.microsoft.com/office/drawing/2010/main" val="0"/>
              </a:ext>
            </a:extLst>
          </a:blip>
          <a:stretch>
            <a:fillRect/>
          </a:stretch>
        </p:blipFill>
        <p:spPr>
          <a:xfrm>
            <a:off x="8245563" y="3369408"/>
            <a:ext cx="586375" cy="760205"/>
          </a:xfrm>
          <a:prstGeom prst="rect">
            <a:avLst/>
          </a:prstGeom>
        </p:spPr>
      </p:pic>
      <p:sp>
        <p:nvSpPr>
          <p:cNvPr id="112" name="Rectangle 111">
            <a:extLst>
              <a:ext uri="{FF2B5EF4-FFF2-40B4-BE49-F238E27FC236}">
                <a16:creationId xmlns:a16="http://schemas.microsoft.com/office/drawing/2014/main" id="{87F10B6F-74A1-6A15-E508-7FA20C00CED1}"/>
              </a:ext>
            </a:extLst>
          </p:cNvPr>
          <p:cNvSpPr/>
          <p:nvPr/>
        </p:nvSpPr>
        <p:spPr>
          <a:xfrm>
            <a:off x="7771987" y="414612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Power_2</a:t>
            </a:r>
          </a:p>
        </p:txBody>
      </p:sp>
      <p:pic>
        <p:nvPicPr>
          <p:cNvPr id="114" name="Picture 113">
            <a:extLst>
              <a:ext uri="{FF2B5EF4-FFF2-40B4-BE49-F238E27FC236}">
                <a16:creationId xmlns:a16="http://schemas.microsoft.com/office/drawing/2014/main" id="{9CD2096A-BFDB-B327-9446-C610715577CD}"/>
              </a:ext>
            </a:extLst>
          </p:cNvPr>
          <p:cNvPicPr>
            <a:picLocks noChangeAspect="1"/>
          </p:cNvPicPr>
          <p:nvPr/>
        </p:nvPicPr>
        <p:blipFill>
          <a:blip r:embed="rId39">
            <a:biLevel thresh="50000"/>
            <a:extLst>
              <a:ext uri="{28A0092B-C50C-407E-A947-70E740481C1C}">
                <a14:useLocalDpi xmlns:a14="http://schemas.microsoft.com/office/drawing/2010/main" val="0"/>
              </a:ext>
            </a:extLst>
          </a:blip>
          <a:stretch>
            <a:fillRect/>
          </a:stretch>
        </p:blipFill>
        <p:spPr>
          <a:xfrm>
            <a:off x="9078959" y="3467243"/>
            <a:ext cx="664691" cy="664691"/>
          </a:xfrm>
          <a:prstGeom prst="rect">
            <a:avLst/>
          </a:prstGeom>
        </p:spPr>
      </p:pic>
      <p:sp>
        <p:nvSpPr>
          <p:cNvPr id="115" name="Rectangle 114">
            <a:extLst>
              <a:ext uri="{FF2B5EF4-FFF2-40B4-BE49-F238E27FC236}">
                <a16:creationId xmlns:a16="http://schemas.microsoft.com/office/drawing/2014/main" id="{581C332F-E7DE-0FB5-6E76-365DB482BC9F}"/>
              </a:ext>
            </a:extLst>
          </p:cNvPr>
          <p:cNvSpPr/>
          <p:nvPr/>
        </p:nvSpPr>
        <p:spPr>
          <a:xfrm>
            <a:off x="8644542" y="414601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Price/cost</a:t>
            </a:r>
          </a:p>
        </p:txBody>
      </p:sp>
      <p:pic>
        <p:nvPicPr>
          <p:cNvPr id="117" name="Picture 116" descr="A picture containing text, sign, clipart&#10;&#10;Description automatically generated">
            <a:extLst>
              <a:ext uri="{FF2B5EF4-FFF2-40B4-BE49-F238E27FC236}">
                <a16:creationId xmlns:a16="http://schemas.microsoft.com/office/drawing/2014/main" id="{27BE3B4E-E6C5-133B-AA03-9AD23E23E228}"/>
              </a:ext>
            </a:extLst>
          </p:cNvPr>
          <p:cNvPicPr>
            <a:picLocks noChangeAspect="1"/>
          </p:cNvPicPr>
          <p:nvPr/>
        </p:nvPicPr>
        <p:blipFill>
          <a:blip r:embed="rId40">
            <a:biLevel thresh="50000"/>
            <a:extLst>
              <a:ext uri="{28A0092B-C50C-407E-A947-70E740481C1C}">
                <a14:useLocalDpi xmlns:a14="http://schemas.microsoft.com/office/drawing/2010/main" val="0"/>
              </a:ext>
            </a:extLst>
          </a:blip>
          <a:stretch>
            <a:fillRect/>
          </a:stretch>
        </p:blipFill>
        <p:spPr>
          <a:xfrm>
            <a:off x="1344794" y="4631447"/>
            <a:ext cx="784577" cy="605405"/>
          </a:xfrm>
          <a:prstGeom prst="rect">
            <a:avLst/>
          </a:prstGeom>
        </p:spPr>
      </p:pic>
      <p:sp>
        <p:nvSpPr>
          <p:cNvPr id="118" name="Rectangle 117">
            <a:extLst>
              <a:ext uri="{FF2B5EF4-FFF2-40B4-BE49-F238E27FC236}">
                <a16:creationId xmlns:a16="http://schemas.microsoft.com/office/drawing/2014/main" id="{704012AD-B47B-11E8-A16A-E668346D1683}"/>
              </a:ext>
            </a:extLst>
          </p:cNvPr>
          <p:cNvSpPr/>
          <p:nvPr/>
        </p:nvSpPr>
        <p:spPr>
          <a:xfrm>
            <a:off x="974378" y="526562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eismic</a:t>
            </a:r>
          </a:p>
        </p:txBody>
      </p:sp>
      <p:pic>
        <p:nvPicPr>
          <p:cNvPr id="60" name="Picture 59" descr="Icon&#10;&#10;Description automatically generated">
            <a:extLst>
              <a:ext uri="{FF2B5EF4-FFF2-40B4-BE49-F238E27FC236}">
                <a16:creationId xmlns:a16="http://schemas.microsoft.com/office/drawing/2014/main" id="{B85A435C-E039-940B-B2B4-9D100D1B946D}"/>
              </a:ext>
            </a:extLst>
          </p:cNvPr>
          <p:cNvPicPr>
            <a:picLocks noChangeAspect="1"/>
          </p:cNvPicPr>
          <p:nvPr/>
        </p:nvPicPr>
        <p:blipFill>
          <a:blip r:embed="rId41">
            <a:biLevel thresh="50000"/>
            <a:extLst>
              <a:ext uri="{28A0092B-C50C-407E-A947-70E740481C1C}">
                <a14:useLocalDpi xmlns:a14="http://schemas.microsoft.com/office/drawing/2010/main" val="0"/>
              </a:ext>
            </a:extLst>
          </a:blip>
          <a:stretch>
            <a:fillRect/>
          </a:stretch>
        </p:blipFill>
        <p:spPr>
          <a:xfrm>
            <a:off x="4797893" y="1199991"/>
            <a:ext cx="616128" cy="682901"/>
          </a:xfrm>
          <a:prstGeom prst="rect">
            <a:avLst/>
          </a:prstGeom>
        </p:spPr>
      </p:pic>
      <p:sp>
        <p:nvSpPr>
          <p:cNvPr id="119" name="Rectangle 118">
            <a:extLst>
              <a:ext uri="{FF2B5EF4-FFF2-40B4-BE49-F238E27FC236}">
                <a16:creationId xmlns:a16="http://schemas.microsoft.com/office/drawing/2014/main" id="{7B5AB8D9-AE01-3840-BD03-6F3A4DCED10E}"/>
              </a:ext>
            </a:extLst>
          </p:cNvPr>
          <p:cNvSpPr/>
          <p:nvPr/>
        </p:nvSpPr>
        <p:spPr>
          <a:xfrm>
            <a:off x="4364396" y="190818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CU</a:t>
            </a:r>
          </a:p>
        </p:txBody>
      </p:sp>
      <p:pic>
        <p:nvPicPr>
          <p:cNvPr id="121" name="Picture 120" descr="Logo&#10;&#10;Description automatically generated">
            <a:extLst>
              <a:ext uri="{FF2B5EF4-FFF2-40B4-BE49-F238E27FC236}">
                <a16:creationId xmlns:a16="http://schemas.microsoft.com/office/drawing/2014/main" id="{4918C58C-719D-5133-7211-348F4D812383}"/>
              </a:ext>
            </a:extLst>
          </p:cNvPr>
          <p:cNvPicPr>
            <a:picLocks noChangeAspect="1"/>
          </p:cNvPicPr>
          <p:nvPr/>
        </p:nvPicPr>
        <p:blipFill>
          <a:blip r:embed="rId42">
            <a:biLevel thresh="50000"/>
            <a:extLst>
              <a:ext uri="{28A0092B-C50C-407E-A947-70E740481C1C}">
                <a14:useLocalDpi xmlns:a14="http://schemas.microsoft.com/office/drawing/2010/main" val="0"/>
              </a:ext>
            </a:extLst>
          </a:blip>
          <a:stretch>
            <a:fillRect/>
          </a:stretch>
        </p:blipFill>
        <p:spPr>
          <a:xfrm>
            <a:off x="3179363" y="4580139"/>
            <a:ext cx="470442" cy="628268"/>
          </a:xfrm>
          <a:prstGeom prst="rect">
            <a:avLst/>
          </a:prstGeom>
        </p:spPr>
      </p:pic>
      <p:sp>
        <p:nvSpPr>
          <p:cNvPr id="122" name="Rectangle 121">
            <a:extLst>
              <a:ext uri="{FF2B5EF4-FFF2-40B4-BE49-F238E27FC236}">
                <a16:creationId xmlns:a16="http://schemas.microsoft.com/office/drawing/2014/main" id="{2AF58701-3E57-EC14-5F98-50A3345278C8}"/>
              </a:ext>
            </a:extLst>
          </p:cNvPr>
          <p:cNvSpPr/>
          <p:nvPr/>
        </p:nvSpPr>
        <p:spPr>
          <a:xfrm>
            <a:off x="2647822" y="5257610"/>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hale</a:t>
            </a:r>
          </a:p>
        </p:txBody>
      </p:sp>
      <p:pic>
        <p:nvPicPr>
          <p:cNvPr id="124" name="Picture 123" descr="Icon&#10;&#10;Description automatically generated">
            <a:extLst>
              <a:ext uri="{FF2B5EF4-FFF2-40B4-BE49-F238E27FC236}">
                <a16:creationId xmlns:a16="http://schemas.microsoft.com/office/drawing/2014/main" id="{5CEB60CB-651A-D61A-A447-C028642EC734}"/>
              </a:ext>
            </a:extLst>
          </p:cNvPr>
          <p:cNvPicPr>
            <a:picLocks noChangeAspect="1"/>
          </p:cNvPicPr>
          <p:nvPr/>
        </p:nvPicPr>
        <p:blipFill>
          <a:blip r:embed="rId43">
            <a:biLevel thresh="50000"/>
            <a:extLst>
              <a:ext uri="{28A0092B-C50C-407E-A947-70E740481C1C}">
                <a14:useLocalDpi xmlns:a14="http://schemas.microsoft.com/office/drawing/2010/main" val="0"/>
              </a:ext>
            </a:extLst>
          </a:blip>
          <a:stretch>
            <a:fillRect/>
          </a:stretch>
        </p:blipFill>
        <p:spPr>
          <a:xfrm>
            <a:off x="4021928" y="4509389"/>
            <a:ext cx="636362" cy="688971"/>
          </a:xfrm>
          <a:prstGeom prst="rect">
            <a:avLst/>
          </a:prstGeom>
        </p:spPr>
      </p:pic>
      <p:sp>
        <p:nvSpPr>
          <p:cNvPr id="125" name="Rectangle 124">
            <a:extLst>
              <a:ext uri="{FF2B5EF4-FFF2-40B4-BE49-F238E27FC236}">
                <a16:creationId xmlns:a16="http://schemas.microsoft.com/office/drawing/2014/main" id="{52A712F6-7A43-62C6-214C-F6A1CECB00EC}"/>
              </a:ext>
            </a:extLst>
          </p:cNvPr>
          <p:cNvSpPr/>
          <p:nvPr/>
        </p:nvSpPr>
        <p:spPr>
          <a:xfrm>
            <a:off x="3530920" y="524142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olar</a:t>
            </a:r>
          </a:p>
        </p:txBody>
      </p:sp>
      <p:pic>
        <p:nvPicPr>
          <p:cNvPr id="127" name="Picture 126" descr="Icon&#10;&#10;Description automatically generated">
            <a:extLst>
              <a:ext uri="{FF2B5EF4-FFF2-40B4-BE49-F238E27FC236}">
                <a16:creationId xmlns:a16="http://schemas.microsoft.com/office/drawing/2014/main" id="{07B9C8D4-638A-4ABA-5C16-2EA37B1D1111}"/>
              </a:ext>
            </a:extLst>
          </p:cNvPr>
          <p:cNvPicPr>
            <a:picLocks noChangeAspect="1"/>
          </p:cNvPicPr>
          <p:nvPr/>
        </p:nvPicPr>
        <p:blipFill>
          <a:blip r:embed="rId44">
            <a:biLevel thresh="50000"/>
            <a:extLst>
              <a:ext uri="{28A0092B-C50C-407E-A947-70E740481C1C}">
                <a14:useLocalDpi xmlns:a14="http://schemas.microsoft.com/office/drawing/2010/main" val="0"/>
              </a:ext>
            </a:extLst>
          </a:blip>
          <a:stretch>
            <a:fillRect/>
          </a:stretch>
        </p:blipFill>
        <p:spPr>
          <a:xfrm>
            <a:off x="5619759" y="4705992"/>
            <a:ext cx="621739" cy="537123"/>
          </a:xfrm>
          <a:prstGeom prst="rect">
            <a:avLst/>
          </a:prstGeom>
        </p:spPr>
      </p:pic>
      <p:sp>
        <p:nvSpPr>
          <p:cNvPr id="128" name="Rectangle 127">
            <a:extLst>
              <a:ext uri="{FF2B5EF4-FFF2-40B4-BE49-F238E27FC236}">
                <a16:creationId xmlns:a16="http://schemas.microsoft.com/office/drawing/2014/main" id="{24B04EB6-1F82-83DF-EA63-1A7B2318611E}"/>
              </a:ext>
            </a:extLst>
          </p:cNvPr>
          <p:cNvSpPr/>
          <p:nvPr/>
        </p:nvSpPr>
        <p:spPr>
          <a:xfrm>
            <a:off x="5163866" y="525362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ubsea</a:t>
            </a:r>
          </a:p>
        </p:txBody>
      </p:sp>
      <p:pic>
        <p:nvPicPr>
          <p:cNvPr id="134" name="Picture 133" descr="Icon&#10;&#10;Description automatically generated with medium confidence">
            <a:extLst>
              <a:ext uri="{FF2B5EF4-FFF2-40B4-BE49-F238E27FC236}">
                <a16:creationId xmlns:a16="http://schemas.microsoft.com/office/drawing/2014/main" id="{2FE2A94A-F52D-E347-5EA1-82B025494AFA}"/>
              </a:ext>
            </a:extLst>
          </p:cNvPr>
          <p:cNvPicPr>
            <a:picLocks noChangeAspect="1"/>
          </p:cNvPicPr>
          <p:nvPr/>
        </p:nvPicPr>
        <p:blipFill>
          <a:blip r:embed="rId45">
            <a:biLevel thresh="50000"/>
            <a:extLst>
              <a:ext uri="{28A0092B-C50C-407E-A947-70E740481C1C}">
                <a14:useLocalDpi xmlns:a14="http://schemas.microsoft.com/office/drawing/2010/main" val="0"/>
              </a:ext>
            </a:extLst>
          </a:blip>
          <a:stretch>
            <a:fillRect/>
          </a:stretch>
        </p:blipFill>
        <p:spPr>
          <a:xfrm>
            <a:off x="8441955" y="4546668"/>
            <a:ext cx="264055" cy="688971"/>
          </a:xfrm>
          <a:prstGeom prst="rect">
            <a:avLst/>
          </a:prstGeom>
        </p:spPr>
      </p:pic>
      <p:sp>
        <p:nvSpPr>
          <p:cNvPr id="135" name="Rectangle 134">
            <a:extLst>
              <a:ext uri="{FF2B5EF4-FFF2-40B4-BE49-F238E27FC236}">
                <a16:creationId xmlns:a16="http://schemas.microsoft.com/office/drawing/2014/main" id="{BAF85DCB-06E9-94E6-E305-5A514A2BD5E7}"/>
              </a:ext>
            </a:extLst>
          </p:cNvPr>
          <p:cNvSpPr/>
          <p:nvPr/>
        </p:nvSpPr>
        <p:spPr>
          <a:xfrm>
            <a:off x="7771987" y="5261527"/>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Thermal_1</a:t>
            </a:r>
          </a:p>
        </p:txBody>
      </p:sp>
      <p:pic>
        <p:nvPicPr>
          <p:cNvPr id="132" name="Picture 131" descr="Icon&#10;&#10;Description automatically generated">
            <a:extLst>
              <a:ext uri="{FF2B5EF4-FFF2-40B4-BE49-F238E27FC236}">
                <a16:creationId xmlns:a16="http://schemas.microsoft.com/office/drawing/2014/main" id="{D77DC4D2-3ACD-C63F-0343-FB211816C9F9}"/>
              </a:ext>
            </a:extLst>
          </p:cNvPr>
          <p:cNvPicPr>
            <a:picLocks noChangeAspect="1"/>
          </p:cNvPicPr>
          <p:nvPr/>
        </p:nvPicPr>
        <p:blipFill>
          <a:blip r:embed="rId46">
            <a:biLevel thresh="50000"/>
            <a:extLst>
              <a:ext uri="{28A0092B-C50C-407E-A947-70E740481C1C}">
                <a14:useLocalDpi xmlns:a14="http://schemas.microsoft.com/office/drawing/2010/main" val="0"/>
              </a:ext>
            </a:extLst>
          </a:blip>
          <a:stretch>
            <a:fillRect/>
          </a:stretch>
        </p:blipFill>
        <p:spPr>
          <a:xfrm>
            <a:off x="9116530" y="4639286"/>
            <a:ext cx="589549" cy="588629"/>
          </a:xfrm>
          <a:prstGeom prst="rect">
            <a:avLst/>
          </a:prstGeom>
        </p:spPr>
      </p:pic>
      <p:sp>
        <p:nvSpPr>
          <p:cNvPr id="136" name="Rectangle 135">
            <a:extLst>
              <a:ext uri="{FF2B5EF4-FFF2-40B4-BE49-F238E27FC236}">
                <a16:creationId xmlns:a16="http://schemas.microsoft.com/office/drawing/2014/main" id="{8D3527F5-6FA6-D4FF-CA10-4E4F6F05C0E7}"/>
              </a:ext>
            </a:extLst>
          </p:cNvPr>
          <p:cNvSpPr/>
          <p:nvPr/>
        </p:nvSpPr>
        <p:spPr>
          <a:xfrm>
            <a:off x="8644542" y="526021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Thermal_2</a:t>
            </a:r>
          </a:p>
        </p:txBody>
      </p:sp>
      <p:pic>
        <p:nvPicPr>
          <p:cNvPr id="138" name="Picture 137">
            <a:extLst>
              <a:ext uri="{FF2B5EF4-FFF2-40B4-BE49-F238E27FC236}">
                <a16:creationId xmlns:a16="http://schemas.microsoft.com/office/drawing/2014/main" id="{DD64EB04-1909-6C32-5FCA-89456BC09ED1}"/>
              </a:ext>
            </a:extLst>
          </p:cNvPr>
          <p:cNvPicPr>
            <a:picLocks noChangeAspect="1"/>
          </p:cNvPicPr>
          <p:nvPr/>
        </p:nvPicPr>
        <p:blipFill>
          <a:blip r:embed="rId47">
            <a:biLevel thresh="50000"/>
            <a:extLst>
              <a:ext uri="{28A0092B-C50C-407E-A947-70E740481C1C}">
                <a14:useLocalDpi xmlns:a14="http://schemas.microsoft.com/office/drawing/2010/main" val="0"/>
              </a:ext>
            </a:extLst>
          </a:blip>
          <a:stretch>
            <a:fillRect/>
          </a:stretch>
        </p:blipFill>
        <p:spPr>
          <a:xfrm>
            <a:off x="10874414" y="4615299"/>
            <a:ext cx="651032" cy="649919"/>
          </a:xfrm>
          <a:prstGeom prst="rect">
            <a:avLst/>
          </a:prstGeom>
        </p:spPr>
      </p:pic>
      <p:sp>
        <p:nvSpPr>
          <p:cNvPr id="141" name="Rectangle 140">
            <a:extLst>
              <a:ext uri="{FF2B5EF4-FFF2-40B4-BE49-F238E27FC236}">
                <a16:creationId xmlns:a16="http://schemas.microsoft.com/office/drawing/2014/main" id="{91F84336-B04A-1CCE-C299-6FD17DC62FA1}"/>
              </a:ext>
            </a:extLst>
          </p:cNvPr>
          <p:cNvSpPr/>
          <p:nvPr/>
        </p:nvSpPr>
        <p:spPr>
          <a:xfrm>
            <a:off x="10433167" y="528017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Upstream_2</a:t>
            </a:r>
          </a:p>
        </p:txBody>
      </p:sp>
      <p:pic>
        <p:nvPicPr>
          <p:cNvPr id="140" name="Picture 139" descr="A picture containing icon&#10;&#10;Description automatically generated">
            <a:extLst>
              <a:ext uri="{FF2B5EF4-FFF2-40B4-BE49-F238E27FC236}">
                <a16:creationId xmlns:a16="http://schemas.microsoft.com/office/drawing/2014/main" id="{04F99E94-35CD-69D5-015A-C1FC75325E81}"/>
              </a:ext>
            </a:extLst>
          </p:cNvPr>
          <p:cNvPicPr>
            <a:picLocks noChangeAspect="1"/>
          </p:cNvPicPr>
          <p:nvPr/>
        </p:nvPicPr>
        <p:blipFill>
          <a:blip r:embed="rId48">
            <a:biLevel thresh="50000"/>
            <a:extLst>
              <a:ext uri="{28A0092B-C50C-407E-A947-70E740481C1C}">
                <a14:useLocalDpi xmlns:a14="http://schemas.microsoft.com/office/drawing/2010/main" val="0"/>
              </a:ext>
            </a:extLst>
          </a:blip>
          <a:stretch>
            <a:fillRect/>
          </a:stretch>
        </p:blipFill>
        <p:spPr>
          <a:xfrm>
            <a:off x="10106800" y="4553348"/>
            <a:ext cx="299364" cy="711127"/>
          </a:xfrm>
          <a:prstGeom prst="rect">
            <a:avLst/>
          </a:prstGeom>
        </p:spPr>
      </p:pic>
      <p:sp>
        <p:nvSpPr>
          <p:cNvPr id="142" name="Rectangle 141">
            <a:extLst>
              <a:ext uri="{FF2B5EF4-FFF2-40B4-BE49-F238E27FC236}">
                <a16:creationId xmlns:a16="http://schemas.microsoft.com/office/drawing/2014/main" id="{3FBEDCFA-3CC4-2FA6-9A17-236E3B930E69}"/>
              </a:ext>
            </a:extLst>
          </p:cNvPr>
          <p:cNvSpPr/>
          <p:nvPr/>
        </p:nvSpPr>
        <p:spPr>
          <a:xfrm>
            <a:off x="9489720" y="526935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Upstream_1</a:t>
            </a:r>
          </a:p>
        </p:txBody>
      </p:sp>
      <p:pic>
        <p:nvPicPr>
          <p:cNvPr id="144" name="Picture 143">
            <a:extLst>
              <a:ext uri="{FF2B5EF4-FFF2-40B4-BE49-F238E27FC236}">
                <a16:creationId xmlns:a16="http://schemas.microsoft.com/office/drawing/2014/main" id="{67D0F0DE-404A-F228-24B9-5BDC330E8940}"/>
              </a:ext>
            </a:extLst>
          </p:cNvPr>
          <p:cNvPicPr>
            <a:picLocks noChangeAspect="1"/>
          </p:cNvPicPr>
          <p:nvPr/>
        </p:nvPicPr>
        <p:blipFill>
          <a:blip r:embed="rId49">
            <a:biLevel thresh="50000"/>
            <a:extLst>
              <a:ext uri="{28A0092B-C50C-407E-A947-70E740481C1C}">
                <a14:useLocalDpi xmlns:a14="http://schemas.microsoft.com/office/drawing/2010/main" val="0"/>
              </a:ext>
            </a:extLst>
          </a:blip>
          <a:stretch>
            <a:fillRect/>
          </a:stretch>
        </p:blipFill>
        <p:spPr>
          <a:xfrm>
            <a:off x="6633972" y="5695867"/>
            <a:ext cx="510869" cy="569397"/>
          </a:xfrm>
          <a:prstGeom prst="rect">
            <a:avLst/>
          </a:prstGeom>
        </p:spPr>
      </p:pic>
      <p:sp>
        <p:nvSpPr>
          <p:cNvPr id="145" name="Rectangle 144">
            <a:extLst>
              <a:ext uri="{FF2B5EF4-FFF2-40B4-BE49-F238E27FC236}">
                <a16:creationId xmlns:a16="http://schemas.microsoft.com/office/drawing/2014/main" id="{CE55B5FA-27F8-B87C-7202-79868A9C1F61}"/>
              </a:ext>
            </a:extLst>
          </p:cNvPr>
          <p:cNvSpPr/>
          <p:nvPr/>
        </p:nvSpPr>
        <p:spPr>
          <a:xfrm>
            <a:off x="6122644" y="630489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ind</a:t>
            </a:r>
          </a:p>
        </p:txBody>
      </p:sp>
      <p:pic>
        <p:nvPicPr>
          <p:cNvPr id="151" name="Picture 150" descr="Icon&#10;&#10;Description automatically generated">
            <a:extLst>
              <a:ext uri="{FF2B5EF4-FFF2-40B4-BE49-F238E27FC236}">
                <a16:creationId xmlns:a16="http://schemas.microsoft.com/office/drawing/2014/main" id="{AD21854B-9ACC-A136-81BE-BBC69E4332B7}"/>
              </a:ext>
            </a:extLst>
          </p:cNvPr>
          <p:cNvPicPr>
            <a:picLocks noChangeAspect="1"/>
          </p:cNvPicPr>
          <p:nvPr/>
        </p:nvPicPr>
        <p:blipFill>
          <a:blip r:embed="rId50">
            <a:biLevel thresh="50000"/>
            <a:extLst>
              <a:ext uri="{28A0092B-C50C-407E-A947-70E740481C1C}">
                <a14:useLocalDpi xmlns:a14="http://schemas.microsoft.com/office/drawing/2010/main" val="0"/>
              </a:ext>
            </a:extLst>
          </a:blip>
          <a:stretch>
            <a:fillRect/>
          </a:stretch>
        </p:blipFill>
        <p:spPr>
          <a:xfrm>
            <a:off x="6482068" y="1278473"/>
            <a:ext cx="617141" cy="617141"/>
          </a:xfrm>
          <a:prstGeom prst="rect">
            <a:avLst/>
          </a:prstGeom>
        </p:spPr>
      </p:pic>
      <p:sp>
        <p:nvSpPr>
          <p:cNvPr id="152" name="Rectangle 151">
            <a:extLst>
              <a:ext uri="{FF2B5EF4-FFF2-40B4-BE49-F238E27FC236}">
                <a16:creationId xmlns:a16="http://schemas.microsoft.com/office/drawing/2014/main" id="{D0B978CE-963A-4835-3411-C878C537456E}"/>
              </a:ext>
            </a:extLst>
          </p:cNvPr>
          <p:cNvSpPr/>
          <p:nvPr/>
        </p:nvSpPr>
        <p:spPr>
          <a:xfrm>
            <a:off x="6050381" y="1918029"/>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Clock/time</a:t>
            </a:r>
          </a:p>
        </p:txBody>
      </p:sp>
      <p:pic>
        <p:nvPicPr>
          <p:cNvPr id="11" name="Picture 10" descr="A picture containing text, sign, tableware&#10;&#10;Description automatically generated">
            <a:extLst>
              <a:ext uri="{FF2B5EF4-FFF2-40B4-BE49-F238E27FC236}">
                <a16:creationId xmlns:a16="http://schemas.microsoft.com/office/drawing/2014/main" id="{135FD3DD-C894-0BF4-9CBD-97592C458F56}"/>
              </a:ext>
            </a:extLst>
          </p:cNvPr>
          <p:cNvPicPr>
            <a:picLocks noChangeAspect="1"/>
          </p:cNvPicPr>
          <p:nvPr/>
        </p:nvPicPr>
        <p:blipFill>
          <a:blip r:embed="rId51">
            <a:biLevel thresh="50000"/>
            <a:extLst>
              <a:ext uri="{28A0092B-C50C-407E-A947-70E740481C1C}">
                <a14:useLocalDpi xmlns:a14="http://schemas.microsoft.com/office/drawing/2010/main" val="0"/>
              </a:ext>
            </a:extLst>
          </a:blip>
          <a:stretch>
            <a:fillRect/>
          </a:stretch>
        </p:blipFill>
        <p:spPr>
          <a:xfrm>
            <a:off x="1384983" y="1224994"/>
            <a:ext cx="664691" cy="664691"/>
          </a:xfrm>
          <a:prstGeom prst="rect">
            <a:avLst/>
          </a:prstGeom>
        </p:spPr>
      </p:pic>
      <p:sp>
        <p:nvSpPr>
          <p:cNvPr id="14" name="Rectangle 13">
            <a:extLst>
              <a:ext uri="{FF2B5EF4-FFF2-40B4-BE49-F238E27FC236}">
                <a16:creationId xmlns:a16="http://schemas.microsoft.com/office/drawing/2014/main" id="{D29ACA61-E528-5284-3B33-D7315051F9FB}"/>
              </a:ext>
            </a:extLst>
          </p:cNvPr>
          <p:cNvSpPr/>
          <p:nvPr/>
        </p:nvSpPr>
        <p:spPr>
          <a:xfrm>
            <a:off x="974378" y="1898781"/>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Analyst portal</a:t>
            </a:r>
          </a:p>
        </p:txBody>
      </p:sp>
      <p:pic>
        <p:nvPicPr>
          <p:cNvPr id="154" name="Picture 153" descr="Logo&#10;&#10;Description automatically generated with low confidence">
            <a:extLst>
              <a:ext uri="{FF2B5EF4-FFF2-40B4-BE49-F238E27FC236}">
                <a16:creationId xmlns:a16="http://schemas.microsoft.com/office/drawing/2014/main" id="{F8F895F8-3636-383C-90A2-E3765E0F8BA5}"/>
              </a:ext>
            </a:extLst>
          </p:cNvPr>
          <p:cNvPicPr>
            <a:picLocks noChangeAspect="1"/>
          </p:cNvPicPr>
          <p:nvPr/>
        </p:nvPicPr>
        <p:blipFill>
          <a:blip r:embed="rId52">
            <a:biLevel thresh="50000"/>
            <a:extLst>
              <a:ext uri="{28A0092B-C50C-407E-A947-70E740481C1C}">
                <a14:useLocalDpi xmlns:a14="http://schemas.microsoft.com/office/drawing/2010/main" val="0"/>
              </a:ext>
            </a:extLst>
          </a:blip>
          <a:stretch>
            <a:fillRect/>
          </a:stretch>
        </p:blipFill>
        <p:spPr>
          <a:xfrm>
            <a:off x="5626611" y="2406021"/>
            <a:ext cx="608035" cy="543286"/>
          </a:xfrm>
          <a:prstGeom prst="rect">
            <a:avLst/>
          </a:prstGeom>
        </p:spPr>
      </p:pic>
      <p:sp>
        <p:nvSpPr>
          <p:cNvPr id="155" name="Rectangle 154">
            <a:extLst>
              <a:ext uri="{FF2B5EF4-FFF2-40B4-BE49-F238E27FC236}">
                <a16:creationId xmlns:a16="http://schemas.microsoft.com/office/drawing/2014/main" id="{AED469F7-72C5-2637-BC92-CC942F1237C9}"/>
              </a:ext>
            </a:extLst>
          </p:cNvPr>
          <p:cNvSpPr/>
          <p:nvPr/>
        </p:nvSpPr>
        <p:spPr>
          <a:xfrm>
            <a:off x="5163866" y="298026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Factory_1</a:t>
            </a:r>
          </a:p>
        </p:txBody>
      </p:sp>
      <p:pic>
        <p:nvPicPr>
          <p:cNvPr id="159" name="Picture 158" descr="Icon&#10;&#10;Description automatically generated">
            <a:extLst>
              <a:ext uri="{FF2B5EF4-FFF2-40B4-BE49-F238E27FC236}">
                <a16:creationId xmlns:a16="http://schemas.microsoft.com/office/drawing/2014/main" id="{E588204A-6332-A502-935B-6A70A6ED12C3}"/>
              </a:ext>
            </a:extLst>
          </p:cNvPr>
          <p:cNvPicPr>
            <a:picLocks noChangeAspect="1"/>
          </p:cNvPicPr>
          <p:nvPr/>
        </p:nvPicPr>
        <p:blipFill>
          <a:blip r:embed="rId53">
            <a:biLevel thresh="50000"/>
            <a:extLst>
              <a:ext uri="{28A0092B-C50C-407E-A947-70E740481C1C}">
                <a14:useLocalDpi xmlns:a14="http://schemas.microsoft.com/office/drawing/2010/main" val="0"/>
              </a:ext>
            </a:extLst>
          </a:blip>
          <a:stretch>
            <a:fillRect/>
          </a:stretch>
        </p:blipFill>
        <p:spPr>
          <a:xfrm>
            <a:off x="9087513" y="2344873"/>
            <a:ext cx="647583" cy="647583"/>
          </a:xfrm>
          <a:prstGeom prst="rect">
            <a:avLst/>
          </a:prstGeom>
        </p:spPr>
      </p:pic>
      <p:sp>
        <p:nvSpPr>
          <p:cNvPr id="160" name="Rectangle 159">
            <a:extLst>
              <a:ext uri="{FF2B5EF4-FFF2-40B4-BE49-F238E27FC236}">
                <a16:creationId xmlns:a16="http://schemas.microsoft.com/office/drawing/2014/main" id="{0475EB9A-4AB0-5602-F137-7F5929906EE2}"/>
              </a:ext>
            </a:extLst>
          </p:cNvPr>
          <p:cNvSpPr/>
          <p:nvPr/>
        </p:nvSpPr>
        <p:spPr>
          <a:xfrm>
            <a:off x="8644542" y="2976203"/>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Info</a:t>
            </a:r>
          </a:p>
        </p:txBody>
      </p:sp>
      <p:pic>
        <p:nvPicPr>
          <p:cNvPr id="177" name="Picture 176" descr="Shape, arrow&#10;&#10;Description automatically generated">
            <a:extLst>
              <a:ext uri="{FF2B5EF4-FFF2-40B4-BE49-F238E27FC236}">
                <a16:creationId xmlns:a16="http://schemas.microsoft.com/office/drawing/2014/main" id="{97377E7C-0879-5D86-61F2-50831C38F94E}"/>
              </a:ext>
            </a:extLst>
          </p:cNvPr>
          <p:cNvPicPr>
            <a:picLocks noChangeAspect="1"/>
          </p:cNvPicPr>
          <p:nvPr/>
        </p:nvPicPr>
        <p:blipFill>
          <a:blip r:embed="rId54">
            <a:biLevel thresh="50000"/>
            <a:extLst>
              <a:ext uri="{28A0092B-C50C-407E-A947-70E740481C1C}">
                <a14:useLocalDpi xmlns:a14="http://schemas.microsoft.com/office/drawing/2010/main" val="0"/>
              </a:ext>
            </a:extLst>
          </a:blip>
          <a:stretch>
            <a:fillRect/>
          </a:stretch>
        </p:blipFill>
        <p:spPr>
          <a:xfrm>
            <a:off x="4809436" y="4632152"/>
            <a:ext cx="643445" cy="612082"/>
          </a:xfrm>
          <a:prstGeom prst="rect">
            <a:avLst/>
          </a:prstGeom>
        </p:spPr>
      </p:pic>
      <p:sp>
        <p:nvSpPr>
          <p:cNvPr id="178" name="Rectangle 177">
            <a:extLst>
              <a:ext uri="{FF2B5EF4-FFF2-40B4-BE49-F238E27FC236}">
                <a16:creationId xmlns:a16="http://schemas.microsoft.com/office/drawing/2014/main" id="{49075B13-E249-5933-CC2B-D1EC663B5539}"/>
              </a:ext>
            </a:extLst>
          </p:cNvPr>
          <p:cNvSpPr/>
          <p:nvPr/>
        </p:nvSpPr>
        <p:spPr>
          <a:xfrm>
            <a:off x="4364396" y="524180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Star</a:t>
            </a:r>
          </a:p>
        </p:txBody>
      </p:sp>
      <p:pic>
        <p:nvPicPr>
          <p:cNvPr id="181" name="Picture 180">
            <a:extLst>
              <a:ext uri="{FF2B5EF4-FFF2-40B4-BE49-F238E27FC236}">
                <a16:creationId xmlns:a16="http://schemas.microsoft.com/office/drawing/2014/main" id="{4C2D4BB7-B805-AD67-7977-BE0DA1C05F02}"/>
              </a:ext>
            </a:extLst>
          </p:cNvPr>
          <p:cNvPicPr>
            <a:picLocks noChangeAspect="1"/>
          </p:cNvPicPr>
          <p:nvPr/>
        </p:nvPicPr>
        <p:blipFill>
          <a:blip r:embed="rId55">
            <a:biLevel thresh="50000"/>
            <a:extLst>
              <a:ext uri="{28A0092B-C50C-407E-A947-70E740481C1C}">
                <a14:useLocalDpi xmlns:a14="http://schemas.microsoft.com/office/drawing/2010/main" val="0"/>
              </a:ext>
            </a:extLst>
          </a:blip>
          <a:stretch>
            <a:fillRect/>
          </a:stretch>
        </p:blipFill>
        <p:spPr>
          <a:xfrm>
            <a:off x="6491098" y="2340705"/>
            <a:ext cx="652090" cy="589549"/>
          </a:xfrm>
          <a:prstGeom prst="rect">
            <a:avLst/>
          </a:prstGeom>
        </p:spPr>
      </p:pic>
      <p:sp>
        <p:nvSpPr>
          <p:cNvPr id="182" name="Rectangle 181">
            <a:extLst>
              <a:ext uri="{FF2B5EF4-FFF2-40B4-BE49-F238E27FC236}">
                <a16:creationId xmlns:a16="http://schemas.microsoft.com/office/drawing/2014/main" id="{D31C5FD6-8FCB-6101-A69D-DB053D3394E8}"/>
              </a:ext>
            </a:extLst>
          </p:cNvPr>
          <p:cNvSpPr/>
          <p:nvPr/>
        </p:nvSpPr>
        <p:spPr>
          <a:xfrm>
            <a:off x="6050381" y="290357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a:p>
            <a:pPr algn="ctr"/>
            <a:r>
              <a:rPr lang="en-US" sz="1100">
                <a:solidFill>
                  <a:schemeClr val="tx1"/>
                </a:solidFill>
                <a:latin typeface="Ubuntu" panose="020B0504030602030204" pitchFamily="34" charset="0"/>
              </a:rPr>
              <a:t>Factory_2</a:t>
            </a:r>
          </a:p>
        </p:txBody>
      </p:sp>
      <p:pic>
        <p:nvPicPr>
          <p:cNvPr id="186" name="Picture 185" descr="A picture containing text, candelabrum&#10;&#10;Description automatically generated">
            <a:extLst>
              <a:ext uri="{FF2B5EF4-FFF2-40B4-BE49-F238E27FC236}">
                <a16:creationId xmlns:a16="http://schemas.microsoft.com/office/drawing/2014/main" id="{79FF6531-4715-6271-44B9-C4C75C46A7BF}"/>
              </a:ext>
            </a:extLst>
          </p:cNvPr>
          <p:cNvPicPr>
            <a:picLocks noChangeAspect="1"/>
          </p:cNvPicPr>
          <p:nvPr/>
        </p:nvPicPr>
        <p:blipFill>
          <a:blip r:embed="rId56">
            <a:biLevel thresh="50000"/>
            <a:extLst>
              <a:ext uri="{28A0092B-C50C-407E-A947-70E740481C1C}">
                <a14:useLocalDpi xmlns:a14="http://schemas.microsoft.com/office/drawing/2010/main" val="0"/>
              </a:ext>
            </a:extLst>
          </a:blip>
          <a:stretch>
            <a:fillRect/>
          </a:stretch>
        </p:blipFill>
        <p:spPr>
          <a:xfrm>
            <a:off x="7336857" y="4505211"/>
            <a:ext cx="683913" cy="683913"/>
          </a:xfrm>
          <a:prstGeom prst="rect">
            <a:avLst/>
          </a:prstGeom>
        </p:spPr>
      </p:pic>
      <p:sp>
        <p:nvSpPr>
          <p:cNvPr id="188" name="Rectangle 187">
            <a:extLst>
              <a:ext uri="{FF2B5EF4-FFF2-40B4-BE49-F238E27FC236}">
                <a16:creationId xmlns:a16="http://schemas.microsoft.com/office/drawing/2014/main" id="{B0E426A6-6195-AB85-A84E-83BB86399621}"/>
              </a:ext>
            </a:extLst>
          </p:cNvPr>
          <p:cNvSpPr/>
          <p:nvPr/>
        </p:nvSpPr>
        <p:spPr>
          <a:xfrm>
            <a:off x="6912051" y="5278735"/>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Target</a:t>
            </a:r>
          </a:p>
          <a:p>
            <a:pPr algn="ctr"/>
            <a:r>
              <a:rPr lang="en-US" sz="1100">
                <a:solidFill>
                  <a:schemeClr val="tx1"/>
                </a:solidFill>
                <a:latin typeface="Ubuntu" panose="020B0504030602030204" pitchFamily="34" charset="0"/>
              </a:rPr>
              <a:t>audience</a:t>
            </a:r>
          </a:p>
        </p:txBody>
      </p:sp>
      <p:pic>
        <p:nvPicPr>
          <p:cNvPr id="190" name="Picture 189">
            <a:extLst>
              <a:ext uri="{FF2B5EF4-FFF2-40B4-BE49-F238E27FC236}">
                <a16:creationId xmlns:a16="http://schemas.microsoft.com/office/drawing/2014/main" id="{B86A1895-E691-17B8-FBA2-2A4CF7007832}"/>
              </a:ext>
            </a:extLst>
          </p:cNvPr>
          <p:cNvPicPr>
            <a:picLocks noChangeAspect="1"/>
          </p:cNvPicPr>
          <p:nvPr/>
        </p:nvPicPr>
        <p:blipFill>
          <a:blip r:embed="rId57">
            <a:biLevel thresh="50000"/>
            <a:extLst>
              <a:ext uri="{28A0092B-C50C-407E-A947-70E740481C1C}">
                <a14:useLocalDpi xmlns:a14="http://schemas.microsoft.com/office/drawing/2010/main" val="0"/>
              </a:ext>
            </a:extLst>
          </a:blip>
          <a:stretch>
            <a:fillRect/>
          </a:stretch>
        </p:blipFill>
        <p:spPr>
          <a:xfrm>
            <a:off x="4013617" y="5683547"/>
            <a:ext cx="622658" cy="621739"/>
          </a:xfrm>
          <a:prstGeom prst="rect">
            <a:avLst/>
          </a:prstGeom>
        </p:spPr>
      </p:pic>
      <p:sp>
        <p:nvSpPr>
          <p:cNvPr id="191" name="Rectangle 190">
            <a:extLst>
              <a:ext uri="{FF2B5EF4-FFF2-40B4-BE49-F238E27FC236}">
                <a16:creationId xmlns:a16="http://schemas.microsoft.com/office/drawing/2014/main" id="{9938F08D-113C-ACF3-AA29-6DD792053681}"/>
              </a:ext>
            </a:extLst>
          </p:cNvPr>
          <p:cNvSpPr/>
          <p:nvPr/>
        </p:nvSpPr>
        <p:spPr>
          <a:xfrm>
            <a:off x="3541461" y="6303068"/>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heel</a:t>
            </a:r>
          </a:p>
        </p:txBody>
      </p:sp>
      <p:pic>
        <p:nvPicPr>
          <p:cNvPr id="194" name="Picture 193" descr="Icon&#10;&#10;Description automatically generated">
            <a:extLst>
              <a:ext uri="{FF2B5EF4-FFF2-40B4-BE49-F238E27FC236}">
                <a16:creationId xmlns:a16="http://schemas.microsoft.com/office/drawing/2014/main" id="{D7FC8585-BF3E-B896-63DF-37F400B7F3D8}"/>
              </a:ext>
            </a:extLst>
          </p:cNvPr>
          <p:cNvPicPr>
            <a:picLocks noChangeAspect="1"/>
          </p:cNvPicPr>
          <p:nvPr/>
        </p:nvPicPr>
        <p:blipFill>
          <a:blip r:embed="rId58">
            <a:biLevel thresh="50000"/>
            <a:extLst>
              <a:ext uri="{28A0092B-C50C-407E-A947-70E740481C1C}">
                <a14:useLocalDpi xmlns:a14="http://schemas.microsoft.com/office/drawing/2010/main" val="0"/>
              </a:ext>
            </a:extLst>
          </a:blip>
          <a:stretch>
            <a:fillRect/>
          </a:stretch>
        </p:blipFill>
        <p:spPr>
          <a:xfrm>
            <a:off x="4839797" y="5726269"/>
            <a:ext cx="645332" cy="510793"/>
          </a:xfrm>
          <a:prstGeom prst="rect">
            <a:avLst/>
          </a:prstGeom>
        </p:spPr>
      </p:pic>
      <p:sp>
        <p:nvSpPr>
          <p:cNvPr id="195" name="Rectangle 194">
            <a:extLst>
              <a:ext uri="{FF2B5EF4-FFF2-40B4-BE49-F238E27FC236}">
                <a16:creationId xmlns:a16="http://schemas.microsoft.com/office/drawing/2014/main" id="{9B1DF64F-60DC-7D4F-0AAD-94F4E27A5BD2}"/>
              </a:ext>
            </a:extLst>
          </p:cNvPr>
          <p:cNvSpPr/>
          <p:nvPr/>
        </p:nvSpPr>
        <p:spPr>
          <a:xfrm>
            <a:off x="4395700" y="6304274"/>
            <a:ext cx="1533525"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latin typeface="Ubuntu" panose="020B0504030602030204" pitchFamily="34" charset="0"/>
              </a:rPr>
              <a:t>Why us</a:t>
            </a:r>
          </a:p>
        </p:txBody>
      </p:sp>
      <p:sp>
        <p:nvSpPr>
          <p:cNvPr id="7" name="TextBox 6">
            <a:extLst>
              <a:ext uri="{FF2B5EF4-FFF2-40B4-BE49-F238E27FC236}">
                <a16:creationId xmlns:a16="http://schemas.microsoft.com/office/drawing/2014/main" id="{BE7ED45B-3FC8-0BDF-081E-745B98E50F0E}"/>
              </a:ext>
            </a:extLst>
          </p:cNvPr>
          <p:cNvSpPr txBox="1"/>
          <p:nvPr/>
        </p:nvSpPr>
        <p:spPr>
          <a:xfrm>
            <a:off x="8952543" y="653672"/>
            <a:ext cx="991073" cy="338554"/>
          </a:xfrm>
          <a:prstGeom prst="rect">
            <a:avLst/>
          </a:prstGeom>
          <a:noFill/>
        </p:spPr>
        <p:txBody>
          <a:bodyPr wrap="square">
            <a:spAutoFit/>
          </a:bodyPr>
          <a:lstStyle/>
          <a:p>
            <a:r>
              <a:rPr lang="en-US" sz="1600">
                <a:latin typeface="Ubuntu" panose="020B0504030602030204" pitchFamily="34" charset="0"/>
                <a:hlinkClick r:id="rId59"/>
              </a:rPr>
              <a:t>RE icons</a:t>
            </a:r>
            <a:endParaRPr lang="en-US" sz="1600">
              <a:latin typeface="Ubuntu" panose="020B0504030602030204" pitchFamily="34" charset="0"/>
            </a:endParaRPr>
          </a:p>
        </p:txBody>
      </p:sp>
    </p:spTree>
    <p:extLst>
      <p:ext uri="{BB962C8B-B14F-4D97-AF65-F5344CB8AC3E}">
        <p14:creationId xmlns:p14="http://schemas.microsoft.com/office/powerpoint/2010/main" val="2298403429"/>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World map_Pictur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230AF-7137-509D-0299-2343F61D5145}"/>
              </a:ext>
            </a:extLst>
          </p:cNvPr>
          <p:cNvSpPr>
            <a:spLocks noGrp="1"/>
          </p:cNvSpPr>
          <p:nvPr>
            <p:ph type="title" hasCustomPrompt="1"/>
          </p:nvPr>
        </p:nvSpPr>
        <p:spPr/>
        <p:txBody>
          <a:bodyPr/>
          <a:lstStyle>
            <a:lvl1pPr>
              <a:defRPr/>
            </a:lvl1pPr>
          </a:lstStyle>
          <a:p>
            <a:r>
              <a:rPr lang="en-US"/>
              <a:t>Map – World (picture) 1/2</a:t>
            </a:r>
          </a:p>
        </p:txBody>
      </p:sp>
      <p:sp>
        <p:nvSpPr>
          <p:cNvPr id="6" name="Rectangle 5">
            <a:extLst>
              <a:ext uri="{FF2B5EF4-FFF2-40B4-BE49-F238E27FC236}">
                <a16:creationId xmlns:a16="http://schemas.microsoft.com/office/drawing/2014/main" id="{45D450E4-667F-08DF-7E73-ECB1AC7390BC}"/>
              </a:ext>
            </a:extLst>
          </p:cNvPr>
          <p:cNvSpPr/>
          <p:nvPr/>
        </p:nvSpPr>
        <p:spPr>
          <a:xfrm>
            <a:off x="8404167" y="507471"/>
            <a:ext cx="3201007"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a:solidFill>
                  <a:schemeClr val="accent1"/>
                </a:solidFill>
                <a:latin typeface="Ubuntu" panose="020B0504030602030204" pitchFamily="34" charset="0"/>
              </a:rPr>
              <a:t>More map pictures on SharePoint - here:</a:t>
            </a:r>
          </a:p>
        </p:txBody>
      </p:sp>
      <p:pic>
        <p:nvPicPr>
          <p:cNvPr id="8" name="Picture 7" descr="A picture containing text, nature, image&#10;&#10;Description automatically generated">
            <a:extLst>
              <a:ext uri="{FF2B5EF4-FFF2-40B4-BE49-F238E27FC236}">
                <a16:creationId xmlns:a16="http://schemas.microsoft.com/office/drawing/2014/main" id="{3FA2C504-8B2E-475C-771C-275AF9CECF9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0257" y="1142981"/>
            <a:ext cx="10330055" cy="4717905"/>
          </a:xfrm>
          <a:prstGeom prst="rect">
            <a:avLst/>
          </a:prstGeom>
        </p:spPr>
      </p:pic>
      <p:sp>
        <p:nvSpPr>
          <p:cNvPr id="9" name="TextBox 8">
            <a:extLst>
              <a:ext uri="{FF2B5EF4-FFF2-40B4-BE49-F238E27FC236}">
                <a16:creationId xmlns:a16="http://schemas.microsoft.com/office/drawing/2014/main" id="{9751BE09-3B10-E1E6-0867-1B538625A260}"/>
              </a:ext>
            </a:extLst>
          </p:cNvPr>
          <p:cNvSpPr txBox="1"/>
          <p:nvPr/>
        </p:nvSpPr>
        <p:spPr>
          <a:xfrm>
            <a:off x="8404167" y="667661"/>
            <a:ext cx="2774373" cy="33855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latin typeface="Ubuntu" panose="020B0504030602030204" pitchFamily="34" charset="0"/>
                <a:hlinkClick r:id="rId3"/>
              </a:rPr>
              <a:t>Maps</a:t>
            </a:r>
            <a:r>
              <a:rPr lang="en-US" sz="1600">
                <a:latin typeface="Ubuntu" panose="020B0504030602030204" pitchFamily="34" charset="0"/>
              </a:rPr>
              <a:t> </a:t>
            </a:r>
            <a:r>
              <a:rPr lang="en-US" sz="1200" b="0" i="1">
                <a:solidFill>
                  <a:schemeClr val="tx1"/>
                </a:solidFill>
                <a:latin typeface="Ubuntu" panose="020B0504030602030204" pitchFamily="34" charset="0"/>
              </a:rPr>
              <a:t>(including regional maps)</a:t>
            </a:r>
          </a:p>
        </p:txBody>
      </p:sp>
    </p:spTree>
    <p:extLst>
      <p:ext uri="{BB962C8B-B14F-4D97-AF65-F5344CB8AC3E}">
        <p14:creationId xmlns:p14="http://schemas.microsoft.com/office/powerpoint/2010/main" val="1389492196"/>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World map_Pictur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230AF-7137-509D-0299-2343F61D5145}"/>
              </a:ext>
            </a:extLst>
          </p:cNvPr>
          <p:cNvSpPr>
            <a:spLocks noGrp="1"/>
          </p:cNvSpPr>
          <p:nvPr>
            <p:ph type="title" hasCustomPrompt="1"/>
          </p:nvPr>
        </p:nvSpPr>
        <p:spPr/>
        <p:txBody>
          <a:bodyPr/>
          <a:lstStyle>
            <a:lvl1pPr>
              <a:defRPr/>
            </a:lvl1pPr>
          </a:lstStyle>
          <a:p>
            <a:r>
              <a:rPr lang="en-US"/>
              <a:t>Map – World (picture) 2/2</a:t>
            </a:r>
          </a:p>
        </p:txBody>
      </p:sp>
      <p:sp>
        <p:nvSpPr>
          <p:cNvPr id="6" name="Rectangle 5">
            <a:extLst>
              <a:ext uri="{FF2B5EF4-FFF2-40B4-BE49-F238E27FC236}">
                <a16:creationId xmlns:a16="http://schemas.microsoft.com/office/drawing/2014/main" id="{45D450E4-667F-08DF-7E73-ECB1AC7390BC}"/>
              </a:ext>
            </a:extLst>
          </p:cNvPr>
          <p:cNvSpPr/>
          <p:nvPr/>
        </p:nvSpPr>
        <p:spPr>
          <a:xfrm>
            <a:off x="8404167" y="507471"/>
            <a:ext cx="3201007" cy="2381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a:solidFill>
                  <a:schemeClr val="accent1"/>
                </a:solidFill>
                <a:latin typeface="Ubuntu" panose="020B0504030602030204" pitchFamily="34" charset="0"/>
              </a:rPr>
              <a:t>More map pictures on SharePoint - here:</a:t>
            </a:r>
          </a:p>
        </p:txBody>
      </p:sp>
      <p:pic>
        <p:nvPicPr>
          <p:cNvPr id="5" name="Picture 4" descr="A picture containing text, nature&#10;&#10;Description automatically generated">
            <a:extLst>
              <a:ext uri="{FF2B5EF4-FFF2-40B4-BE49-F238E27FC236}">
                <a16:creationId xmlns:a16="http://schemas.microsoft.com/office/drawing/2014/main" id="{0A33FF48-6E93-61CF-3F8B-9C8F0EAA80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4048" y="1135729"/>
            <a:ext cx="10343904" cy="4727217"/>
          </a:xfrm>
          <a:prstGeom prst="rect">
            <a:avLst/>
          </a:prstGeom>
        </p:spPr>
      </p:pic>
      <p:sp>
        <p:nvSpPr>
          <p:cNvPr id="9" name="TextBox 8">
            <a:extLst>
              <a:ext uri="{FF2B5EF4-FFF2-40B4-BE49-F238E27FC236}">
                <a16:creationId xmlns:a16="http://schemas.microsoft.com/office/drawing/2014/main" id="{C025F5DA-37C4-D4F2-F680-1779D50147D0}"/>
              </a:ext>
            </a:extLst>
          </p:cNvPr>
          <p:cNvSpPr txBox="1"/>
          <p:nvPr/>
        </p:nvSpPr>
        <p:spPr>
          <a:xfrm>
            <a:off x="8404167" y="667661"/>
            <a:ext cx="2774373" cy="33855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latin typeface="Ubuntu" panose="020B0504030602030204" pitchFamily="34" charset="0"/>
                <a:hlinkClick r:id="rId3"/>
              </a:rPr>
              <a:t>Maps</a:t>
            </a:r>
            <a:r>
              <a:rPr lang="en-US" sz="1600">
                <a:latin typeface="Ubuntu" panose="020B0504030602030204" pitchFamily="34" charset="0"/>
              </a:rPr>
              <a:t> </a:t>
            </a:r>
            <a:r>
              <a:rPr lang="en-US" sz="1200" b="0" i="1">
                <a:solidFill>
                  <a:schemeClr val="tx1"/>
                </a:solidFill>
                <a:latin typeface="Ubuntu" panose="020B0504030602030204" pitchFamily="34" charset="0"/>
              </a:rPr>
              <a:t>(including regional maps)</a:t>
            </a:r>
          </a:p>
        </p:txBody>
      </p:sp>
    </p:spTree>
    <p:extLst>
      <p:ext uri="{BB962C8B-B14F-4D97-AF65-F5344CB8AC3E}">
        <p14:creationId xmlns:p14="http://schemas.microsoft.com/office/powerpoint/2010/main" val="2101989218"/>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able_light gre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8B2560-8640-39F1-52D0-95A9B9B4750A}"/>
              </a:ext>
            </a:extLst>
          </p:cNvPr>
          <p:cNvSpPr>
            <a:spLocks noGrp="1"/>
          </p:cNvSpPr>
          <p:nvPr>
            <p:ph type="title"/>
          </p:nvPr>
        </p:nvSpPr>
        <p:spPr/>
        <p:txBody>
          <a:bodyPr/>
          <a:lstStyle/>
          <a:p>
            <a:r>
              <a:rPr lang="en-US"/>
              <a:t>Click to edit Master title style</a:t>
            </a:r>
          </a:p>
        </p:txBody>
      </p:sp>
      <p:graphicFrame>
        <p:nvGraphicFramePr>
          <p:cNvPr id="4" name="Content Placeholder 5">
            <a:extLst>
              <a:ext uri="{FF2B5EF4-FFF2-40B4-BE49-F238E27FC236}">
                <a16:creationId xmlns:a16="http://schemas.microsoft.com/office/drawing/2014/main" id="{4777DE5C-429B-AD97-E6B4-8270C4382BC9}"/>
              </a:ext>
            </a:extLst>
          </p:cNvPr>
          <p:cNvGraphicFramePr>
            <a:graphicFrameLocks/>
          </p:cNvGraphicFramePr>
          <p:nvPr>
            <p:extLst>
              <p:ext uri="{D42A27DB-BD31-4B8C-83A1-F6EECF244321}">
                <p14:modId xmlns:p14="http://schemas.microsoft.com/office/powerpoint/2010/main" val="319759594"/>
              </p:ext>
            </p:extLst>
          </p:nvPr>
        </p:nvGraphicFramePr>
        <p:xfrm>
          <a:off x="624840" y="1126332"/>
          <a:ext cx="11124247" cy="4750595"/>
        </p:xfrm>
        <a:graphic>
          <a:graphicData uri="http://schemas.openxmlformats.org/drawingml/2006/table">
            <a:tbl>
              <a:tblPr firstRow="1" bandRow="1">
                <a:tableStyleId>{2D5ABB26-0587-4C30-8999-92F81FD0307C}</a:tableStyleId>
              </a:tblPr>
              <a:tblGrid>
                <a:gridCol w="1840647">
                  <a:extLst>
                    <a:ext uri="{9D8B030D-6E8A-4147-A177-3AD203B41FA5}">
                      <a16:colId xmlns:a16="http://schemas.microsoft.com/office/drawing/2014/main" val="805798208"/>
                    </a:ext>
                  </a:extLst>
                </a:gridCol>
                <a:gridCol w="6338747">
                  <a:extLst>
                    <a:ext uri="{9D8B030D-6E8A-4147-A177-3AD203B41FA5}">
                      <a16:colId xmlns:a16="http://schemas.microsoft.com/office/drawing/2014/main" val="3790683698"/>
                    </a:ext>
                  </a:extLst>
                </a:gridCol>
                <a:gridCol w="2944853">
                  <a:extLst>
                    <a:ext uri="{9D8B030D-6E8A-4147-A177-3AD203B41FA5}">
                      <a16:colId xmlns:a16="http://schemas.microsoft.com/office/drawing/2014/main" val="2215500020"/>
                    </a:ext>
                  </a:extLst>
                </a:gridCol>
              </a:tblGrid>
              <a:tr h="38822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Ubuntu" panose="020B0504030602030204" pitchFamily="34" charset="0"/>
                          <a:cs typeface="Arial" panose="020B0604020202020204" pitchFamily="34" charset="0"/>
                        </a:rPr>
                        <a:t>…</a:t>
                      </a:r>
                    </a:p>
                  </a:txBody>
                  <a:tcPr marL="36000" marR="36000" marT="36000" marB="36000" anchor="ctr">
                    <a:lnL w="63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nb-NO" sz="1400">
                          <a:solidFill>
                            <a:schemeClr val="tx1"/>
                          </a:solidFill>
                          <a:latin typeface="Ubuntu" panose="020B0504030602030204" pitchFamily="34" charset="0"/>
                        </a:rPr>
                        <a:t>...</a:t>
                      </a:r>
                      <a:endParaRPr lang="en-US" sz="1400">
                        <a:solidFill>
                          <a:schemeClr val="tx1"/>
                        </a:solidFill>
                        <a:latin typeface="Ubuntu" panose="020B0504030602030204" pitchFamily="34"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b-NO" sz="1400">
                          <a:solidFill>
                            <a:schemeClr val="tx1"/>
                          </a:solidFill>
                          <a:latin typeface="Ubuntu" panose="020B0504030602030204" pitchFamily="34" charset="0"/>
                        </a:rPr>
                        <a:t>...</a:t>
                      </a:r>
                      <a:endParaRPr lang="en-US" sz="1400">
                        <a:solidFill>
                          <a:schemeClr val="tx1"/>
                        </a:solidFill>
                        <a:latin typeface="Ubuntu" panose="020B0504030602030204" pitchFamily="34" charset="0"/>
                      </a:endParaRP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313118254"/>
                  </a:ext>
                </a:extLst>
              </a:tr>
              <a:tr h="1454123">
                <a:tc>
                  <a:txBody>
                    <a:bodyPr/>
                    <a:lstStyle/>
                    <a:p>
                      <a:pPr algn="ctr"/>
                      <a:r>
                        <a:rPr lang="nb-NO" sz="1200">
                          <a:solidFill>
                            <a:schemeClr val="bg1"/>
                          </a:solidFill>
                          <a:latin typeface="Ubuntu" panose="020B0504030602030204" pitchFamily="34" charset="0"/>
                          <a:cs typeface="Arial" panose="020B0604020202020204" pitchFamily="34" charset="0"/>
                        </a:rPr>
                        <a:t>...</a:t>
                      </a:r>
                    </a:p>
                  </a:txBody>
                  <a:tcPr marT="90000" marB="90000" anchor="ctr">
                    <a:lnL w="63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171450" indent="-171450">
                        <a:buFont typeface="Arial" panose="020B0604020202020204" pitchFamily="34" charset="0"/>
                        <a:buChar char="•"/>
                      </a:pPr>
                      <a:r>
                        <a:rPr lang="nb-NO" sz="1200">
                          <a:solidFill>
                            <a:schemeClr val="tx1"/>
                          </a:solidFill>
                          <a:latin typeface="Ubuntu" panose="020B0504030602030204" pitchFamily="34" charset="0"/>
                        </a:rPr>
                        <a:t>...</a:t>
                      </a:r>
                    </a:p>
                  </a:txBody>
                  <a:tcPr marT="90000" marB="90000" anchor="ctr">
                    <a:lnL w="1905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endParaRPr lang="nb-NO" sz="1200">
                        <a:solidFill>
                          <a:schemeClr val="tx1"/>
                        </a:solidFill>
                        <a:latin typeface="Ubuntu" panose="020B0504030602030204" pitchFamily="34" charset="0"/>
                      </a:endParaRPr>
                    </a:p>
                  </a:txBody>
                  <a:tcPr marT="90000" marB="9000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6163040"/>
                  </a:ext>
                </a:extLst>
              </a:tr>
              <a:tr h="1454123">
                <a:tc>
                  <a:txBody>
                    <a:bodyPr/>
                    <a:lstStyle/>
                    <a:p>
                      <a:pPr marL="0" marR="0" lvl="0" indent="0" algn="ctr" defTabSz="914395" rtl="0" eaLnBrk="1" fontAlgn="auto" latinLnBrk="0" hangingPunct="1">
                        <a:lnSpc>
                          <a:spcPct val="100000"/>
                        </a:lnSpc>
                        <a:spcBef>
                          <a:spcPts val="0"/>
                        </a:spcBef>
                        <a:spcAft>
                          <a:spcPts val="0"/>
                        </a:spcAft>
                        <a:buClrTx/>
                        <a:buSzTx/>
                        <a:buFontTx/>
                        <a:buNone/>
                        <a:tabLst/>
                        <a:defRPr/>
                      </a:pPr>
                      <a:r>
                        <a:rPr lang="nb-NO" sz="1200">
                          <a:solidFill>
                            <a:schemeClr val="bg1"/>
                          </a:solidFill>
                          <a:latin typeface="Ubuntu" panose="020B0504030602030204" pitchFamily="34" charset="0"/>
                          <a:cs typeface="Arial" panose="020B0604020202020204" pitchFamily="34" charset="0"/>
                        </a:rPr>
                        <a:t>...</a:t>
                      </a:r>
                    </a:p>
                  </a:txBody>
                  <a:tcPr marT="90000" marB="90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171450" marR="0" lvl="0" indent="-171450" algn="l" defTabSz="11254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a:solidFill>
                            <a:schemeClr val="tx1"/>
                          </a:solidFill>
                          <a:latin typeface="Ubuntu" panose="020B0504030602030204" pitchFamily="34" charset="0"/>
                        </a:rPr>
                        <a:t>...</a:t>
                      </a:r>
                      <a:endParaRPr lang="en-US" sz="1200">
                        <a:solidFill>
                          <a:schemeClr val="tx1"/>
                        </a:solidFill>
                        <a:latin typeface="Ubuntu" panose="020B0504030602030204" pitchFamily="34" charset="0"/>
                      </a:endParaRPr>
                    </a:p>
                  </a:txBody>
                  <a:tcPr marT="90000" marB="90000" anchor="ctr">
                    <a:lnL w="1270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12547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solidFill>
                          <a:schemeClr val="tx1"/>
                        </a:solidFill>
                        <a:latin typeface="Ubuntu" panose="020B0504030602030204" pitchFamily="34" charset="0"/>
                      </a:endParaRPr>
                    </a:p>
                  </a:txBody>
                  <a:tcPr marT="90000" marB="9000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5033225"/>
                  </a:ext>
                </a:extLst>
              </a:tr>
              <a:tr h="1454123">
                <a:tc>
                  <a:txBody>
                    <a:bodyPr/>
                    <a:lstStyle/>
                    <a:p>
                      <a:pPr marL="0" marR="0" lvl="0" indent="0" algn="ctr" defTabSz="1125472" rtl="0" eaLnBrk="1" fontAlgn="auto" latinLnBrk="0" hangingPunct="1">
                        <a:lnSpc>
                          <a:spcPct val="100000"/>
                        </a:lnSpc>
                        <a:spcBef>
                          <a:spcPts val="0"/>
                        </a:spcBef>
                        <a:spcAft>
                          <a:spcPts val="0"/>
                        </a:spcAft>
                        <a:buClrTx/>
                        <a:buSzTx/>
                        <a:buFontTx/>
                        <a:buNone/>
                        <a:tabLst/>
                        <a:defRPr/>
                      </a:pPr>
                      <a:r>
                        <a:rPr lang="nb-NO" sz="1200">
                          <a:solidFill>
                            <a:schemeClr val="bg1"/>
                          </a:solidFill>
                          <a:latin typeface="Ubuntu" panose="020B0504030602030204" pitchFamily="34" charset="0"/>
                          <a:cs typeface="Arial" panose="020B0604020202020204" pitchFamily="34" charset="0"/>
                        </a:rPr>
                        <a:t>...</a:t>
                      </a:r>
                    </a:p>
                  </a:txBody>
                  <a:tcPr marT="90000" marB="90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497B0"/>
                    </a:solidFill>
                  </a:tcPr>
                </a:tc>
                <a:tc>
                  <a:txBody>
                    <a:bodyPr/>
                    <a:lstStyle/>
                    <a:p>
                      <a:pPr marL="171450" marR="0" lvl="0" indent="-171450" algn="l" defTabSz="11254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a:solidFill>
                            <a:schemeClr val="tx1"/>
                          </a:solidFill>
                          <a:latin typeface="Ubuntu" panose="020B0504030602030204" pitchFamily="34" charset="0"/>
                        </a:rPr>
                        <a:t>...</a:t>
                      </a:r>
                    </a:p>
                  </a:txBody>
                  <a:tcPr marT="90000" marB="90000" anchor="ctr">
                    <a:lnL w="1270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112547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a:solidFill>
                          <a:schemeClr val="tx1"/>
                        </a:solidFill>
                        <a:latin typeface="Ubuntu" panose="020B0504030602030204" pitchFamily="34" charset="0"/>
                      </a:endParaRPr>
                    </a:p>
                  </a:txBody>
                  <a:tcPr marT="90000" marB="9000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12630414"/>
                  </a:ext>
                </a:extLst>
              </a:tr>
            </a:tbl>
          </a:graphicData>
        </a:graphic>
      </p:graphicFrame>
      <p:sp>
        <p:nvSpPr>
          <p:cNvPr id="8" name="Text Placeholder 12">
            <a:extLst>
              <a:ext uri="{FF2B5EF4-FFF2-40B4-BE49-F238E27FC236}">
                <a16:creationId xmlns:a16="http://schemas.microsoft.com/office/drawing/2014/main" id="{4611C241-E4EB-B0DF-4EB3-7D67B4B250F8}"/>
              </a:ext>
            </a:extLst>
          </p:cNvPr>
          <p:cNvSpPr>
            <a:spLocks noGrp="1"/>
          </p:cNvSpPr>
          <p:nvPr>
            <p:ph type="body" sz="quarter" idx="17" hasCustomPrompt="1"/>
          </p:nvPr>
        </p:nvSpPr>
        <p:spPr>
          <a:xfrm>
            <a:off x="468923" y="5974440"/>
            <a:ext cx="11254154" cy="24363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3" name="TextBox 2">
            <a:extLst>
              <a:ext uri="{FF2B5EF4-FFF2-40B4-BE49-F238E27FC236}">
                <a16:creationId xmlns:a16="http://schemas.microsoft.com/office/drawing/2014/main" id="{649FBD9B-A8E7-D4BD-5044-251AA85E841A}"/>
              </a:ext>
            </a:extLst>
          </p:cNvPr>
          <p:cNvSpPr txBox="1"/>
          <p:nvPr/>
        </p:nvSpPr>
        <p:spPr>
          <a:xfrm>
            <a:off x="442912" y="2137323"/>
            <a:ext cx="360000" cy="360000"/>
          </a:xfrm>
          <a:prstGeom prst="ellipse">
            <a:avLst/>
          </a:prstGeom>
          <a:solidFill>
            <a:srgbClr val="8497B0"/>
          </a:solidFill>
          <a:ln w="38100">
            <a:solidFill>
              <a:schemeClr val="bg1"/>
            </a:solidFill>
          </a:ln>
        </p:spPr>
        <p:txBody>
          <a:bodyPr wrap="square" lIns="0" tIns="18288" rIns="0" bIns="18288" rtlCol="0" anchor="ctr">
            <a:noAutofit/>
          </a:bodyPr>
          <a:lstStyle/>
          <a:p>
            <a:pPr algn="ctr"/>
            <a:r>
              <a:rPr lang="nb-NO" sz="1200" b="1">
                <a:solidFill>
                  <a:schemeClr val="bg1"/>
                </a:solidFill>
                <a:latin typeface="Ubuntu" panose="020B0504030602030204" pitchFamily="34" charset="0"/>
              </a:rPr>
              <a:t>1</a:t>
            </a:r>
            <a:endParaRPr lang="en-US" sz="1200" b="1">
              <a:solidFill>
                <a:schemeClr val="bg1"/>
              </a:solidFill>
              <a:latin typeface="Ubuntu" panose="020B0504030602030204" pitchFamily="34" charset="0"/>
            </a:endParaRPr>
          </a:p>
        </p:txBody>
      </p:sp>
      <p:sp>
        <p:nvSpPr>
          <p:cNvPr id="5" name="TextBox 4">
            <a:extLst>
              <a:ext uri="{FF2B5EF4-FFF2-40B4-BE49-F238E27FC236}">
                <a16:creationId xmlns:a16="http://schemas.microsoft.com/office/drawing/2014/main" id="{BC04B328-1361-2AF0-F1C3-DC0C7311778E}"/>
              </a:ext>
            </a:extLst>
          </p:cNvPr>
          <p:cNvSpPr txBox="1"/>
          <p:nvPr/>
        </p:nvSpPr>
        <p:spPr>
          <a:xfrm>
            <a:off x="442912" y="3606605"/>
            <a:ext cx="360000" cy="360000"/>
          </a:xfrm>
          <a:prstGeom prst="ellipse">
            <a:avLst/>
          </a:prstGeom>
          <a:solidFill>
            <a:srgbClr val="8497B0"/>
          </a:solidFill>
          <a:ln w="38100">
            <a:solidFill>
              <a:schemeClr val="bg1"/>
            </a:solidFill>
          </a:ln>
        </p:spPr>
        <p:txBody>
          <a:bodyPr wrap="square" lIns="0" tIns="18288" rIns="0" bIns="18288" rtlCol="0" anchor="ctr">
            <a:noAutofit/>
          </a:bodyPr>
          <a:lstStyle/>
          <a:p>
            <a:pPr algn="ctr"/>
            <a:r>
              <a:rPr lang="en-US" sz="1200" b="1">
                <a:solidFill>
                  <a:schemeClr val="bg1"/>
                </a:solidFill>
                <a:latin typeface="Ubuntu" panose="020B0504030602030204" pitchFamily="34" charset="0"/>
              </a:rPr>
              <a:t>2</a:t>
            </a:r>
          </a:p>
        </p:txBody>
      </p:sp>
      <p:sp>
        <p:nvSpPr>
          <p:cNvPr id="6" name="TextBox 5">
            <a:extLst>
              <a:ext uri="{FF2B5EF4-FFF2-40B4-BE49-F238E27FC236}">
                <a16:creationId xmlns:a16="http://schemas.microsoft.com/office/drawing/2014/main" id="{74D30722-E321-7DC5-21DA-985DC1AFB58C}"/>
              </a:ext>
            </a:extLst>
          </p:cNvPr>
          <p:cNvSpPr txBox="1"/>
          <p:nvPr/>
        </p:nvSpPr>
        <p:spPr>
          <a:xfrm>
            <a:off x="442912" y="5075887"/>
            <a:ext cx="360000" cy="360000"/>
          </a:xfrm>
          <a:prstGeom prst="ellipse">
            <a:avLst/>
          </a:prstGeom>
          <a:solidFill>
            <a:srgbClr val="8497B0"/>
          </a:solidFill>
          <a:ln w="38100">
            <a:solidFill>
              <a:schemeClr val="bg1"/>
            </a:solidFill>
          </a:ln>
        </p:spPr>
        <p:txBody>
          <a:bodyPr wrap="square" lIns="0" tIns="18288" rIns="0" bIns="18288" rtlCol="0" anchor="ctr">
            <a:noAutofit/>
          </a:bodyPr>
          <a:lstStyle/>
          <a:p>
            <a:pPr algn="ctr"/>
            <a:r>
              <a:rPr lang="nb-NO" sz="1200" b="1">
                <a:solidFill>
                  <a:schemeClr val="bg1"/>
                </a:solidFill>
                <a:latin typeface="Ubuntu" panose="020B0504030602030204" pitchFamily="34" charset="0"/>
              </a:rPr>
              <a:t>3</a:t>
            </a:r>
            <a:endParaRPr lang="en-US" sz="1200" b="1">
              <a:solidFill>
                <a:schemeClr val="bg1"/>
              </a:solidFill>
              <a:latin typeface="Ubuntu" panose="020B0504030602030204" pitchFamily="34" charset="0"/>
            </a:endParaRPr>
          </a:p>
        </p:txBody>
      </p:sp>
    </p:spTree>
    <p:extLst>
      <p:ext uri="{BB962C8B-B14F-4D97-AF65-F5344CB8AC3E}">
        <p14:creationId xmlns:p14="http://schemas.microsoft.com/office/powerpoint/2010/main" val="1208555449"/>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able_underline">
    <p:spTree>
      <p:nvGrpSpPr>
        <p:cNvPr id="1" name=""/>
        <p:cNvGrpSpPr/>
        <p:nvPr/>
      </p:nvGrpSpPr>
      <p:grpSpPr>
        <a:xfrm>
          <a:off x="0" y="0"/>
          <a:ext cx="0" cy="0"/>
          <a:chOff x="0" y="0"/>
          <a:chExt cx="0" cy="0"/>
        </a:xfrm>
      </p:grpSpPr>
      <p:graphicFrame>
        <p:nvGraphicFramePr>
          <p:cNvPr id="5" name="Content Placeholder 5">
            <a:extLst>
              <a:ext uri="{FF2B5EF4-FFF2-40B4-BE49-F238E27FC236}">
                <a16:creationId xmlns:a16="http://schemas.microsoft.com/office/drawing/2014/main" id="{46121E12-A266-1731-3023-9367D85818D8}"/>
              </a:ext>
            </a:extLst>
          </p:cNvPr>
          <p:cNvGraphicFramePr>
            <a:graphicFrameLocks/>
          </p:cNvGraphicFramePr>
          <p:nvPr>
            <p:extLst>
              <p:ext uri="{D42A27DB-BD31-4B8C-83A1-F6EECF244321}">
                <p14:modId xmlns:p14="http://schemas.microsoft.com/office/powerpoint/2010/main" val="3068357961"/>
              </p:ext>
            </p:extLst>
          </p:nvPr>
        </p:nvGraphicFramePr>
        <p:xfrm>
          <a:off x="442912" y="1126332"/>
          <a:ext cx="11306175" cy="4750595"/>
        </p:xfrm>
        <a:graphic>
          <a:graphicData uri="http://schemas.openxmlformats.org/drawingml/2006/table">
            <a:tbl>
              <a:tblPr firstRow="1" bandRow="1">
                <a:tableStyleId>{2D5ABB26-0587-4C30-8999-92F81FD0307C}</a:tableStyleId>
              </a:tblPr>
              <a:tblGrid>
                <a:gridCol w="1870749">
                  <a:extLst>
                    <a:ext uri="{9D8B030D-6E8A-4147-A177-3AD203B41FA5}">
                      <a16:colId xmlns:a16="http://schemas.microsoft.com/office/drawing/2014/main" val="805798208"/>
                    </a:ext>
                  </a:extLst>
                </a:gridCol>
                <a:gridCol w="6442412">
                  <a:extLst>
                    <a:ext uri="{9D8B030D-6E8A-4147-A177-3AD203B41FA5}">
                      <a16:colId xmlns:a16="http://schemas.microsoft.com/office/drawing/2014/main" val="3790683698"/>
                    </a:ext>
                  </a:extLst>
                </a:gridCol>
                <a:gridCol w="2993014">
                  <a:extLst>
                    <a:ext uri="{9D8B030D-6E8A-4147-A177-3AD203B41FA5}">
                      <a16:colId xmlns:a16="http://schemas.microsoft.com/office/drawing/2014/main" val="2215500020"/>
                    </a:ext>
                  </a:extLst>
                </a:gridCol>
              </a:tblGrid>
              <a:tr h="38822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aseline="0">
                          <a:solidFill>
                            <a:schemeClr val="tx1"/>
                          </a:solidFill>
                          <a:latin typeface="Ubuntu" panose="020B0504030602030204" pitchFamily="34" charset="0"/>
                          <a:cs typeface="Arial" panose="020B0604020202020204" pitchFamily="34" charset="0"/>
                        </a:rPr>
                        <a:t>…</a:t>
                      </a:r>
                      <a:endParaRPr lang="en-US" sz="1400" b="0">
                        <a:solidFill>
                          <a:schemeClr val="tx1"/>
                        </a:solidFill>
                        <a:latin typeface="Ubuntu" panose="020B0504030602030204" pitchFamily="34" charset="0"/>
                        <a:cs typeface="Arial" panose="020B0604020202020204" pitchFamily="34" charset="0"/>
                      </a:endParaRPr>
                    </a:p>
                  </a:txBody>
                  <a:tcPr marL="36000" marR="36000" marT="36000" marB="36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1" algn="l"/>
                      <a:r>
                        <a:rPr lang="nb-NO" sz="1400">
                          <a:solidFill>
                            <a:schemeClr val="tx1"/>
                          </a:solidFill>
                          <a:latin typeface="Ubuntu" panose="020B0504030602030204" pitchFamily="34" charset="0"/>
                        </a:rPr>
                        <a:t>...</a:t>
                      </a:r>
                      <a:endParaRPr lang="en-US" sz="1400">
                        <a:solidFill>
                          <a:schemeClr val="tx1"/>
                        </a:solidFill>
                        <a:latin typeface="Ubuntu" panose="020B0504030602030204" pitchFamily="34" charset="0"/>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1" algn="l"/>
                      <a:r>
                        <a:rPr lang="nb-NO" sz="1400">
                          <a:solidFill>
                            <a:schemeClr val="tx1"/>
                          </a:solidFill>
                          <a:latin typeface="Ubuntu" panose="020B0504030602030204" pitchFamily="34" charset="0"/>
                        </a:rPr>
                        <a:t>...</a:t>
                      </a:r>
                      <a:endParaRPr lang="en-US" sz="1400">
                        <a:solidFill>
                          <a:schemeClr val="tx1"/>
                        </a:solidFill>
                        <a:latin typeface="Ubuntu" panose="020B0504030602030204" pitchFamily="34" charset="0"/>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3118254"/>
                  </a:ext>
                </a:extLst>
              </a:tr>
              <a:tr h="1454123">
                <a:tc>
                  <a:txBody>
                    <a:bodyPr/>
                    <a:lstStyle/>
                    <a:p>
                      <a:pPr algn="ctr"/>
                      <a:r>
                        <a:rPr lang="nb-NO" sz="1200">
                          <a:solidFill>
                            <a:schemeClr val="bg1"/>
                          </a:solidFill>
                          <a:latin typeface="Ubuntu" panose="020B0504030602030204" pitchFamily="34" charset="0"/>
                          <a:cs typeface="Arial" panose="020B0604020202020204" pitchFamily="34" charset="0"/>
                        </a:rPr>
                        <a:t>...</a:t>
                      </a:r>
                    </a:p>
                  </a:txBody>
                  <a:tcPr marT="90000" marB="90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171450" indent="-171450">
                        <a:buFont typeface="Arial" panose="020B0604020202020204" pitchFamily="34" charset="0"/>
                        <a:buChar char="•"/>
                      </a:pPr>
                      <a:r>
                        <a:rPr lang="nb-NO" sz="1200">
                          <a:solidFill>
                            <a:schemeClr val="tx1"/>
                          </a:solidFill>
                          <a:latin typeface="Ubuntu" panose="020B0504030602030204" pitchFamily="34" charset="0"/>
                        </a:rPr>
                        <a:t>...</a:t>
                      </a:r>
                    </a:p>
                  </a:txBody>
                  <a:tcPr marT="90000" marB="90000" anchor="ctr">
                    <a:lnL w="1270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endParaRPr lang="nb-NO" sz="1200">
                        <a:solidFill>
                          <a:schemeClr val="tx1"/>
                        </a:solidFill>
                        <a:latin typeface="Ubuntu" panose="020B0504030602030204" pitchFamily="34" charset="0"/>
                      </a:endParaRPr>
                    </a:p>
                  </a:txBody>
                  <a:tcPr marT="90000" marB="9000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6163040"/>
                  </a:ext>
                </a:extLst>
              </a:tr>
              <a:tr h="1454123">
                <a:tc>
                  <a:txBody>
                    <a:bodyPr/>
                    <a:lstStyle/>
                    <a:p>
                      <a:pPr marL="0" marR="0" lvl="0" indent="0" algn="ctr" defTabSz="914395" rtl="0" eaLnBrk="1" fontAlgn="auto" latinLnBrk="0" hangingPunct="1">
                        <a:lnSpc>
                          <a:spcPct val="100000"/>
                        </a:lnSpc>
                        <a:spcBef>
                          <a:spcPts val="0"/>
                        </a:spcBef>
                        <a:spcAft>
                          <a:spcPts val="0"/>
                        </a:spcAft>
                        <a:buClrTx/>
                        <a:buSzTx/>
                        <a:buFontTx/>
                        <a:buNone/>
                        <a:tabLst/>
                        <a:defRPr/>
                      </a:pPr>
                      <a:r>
                        <a:rPr lang="nb-NO" sz="1200">
                          <a:solidFill>
                            <a:schemeClr val="bg1"/>
                          </a:solidFill>
                          <a:latin typeface="Ubuntu" panose="020B0504030602030204" pitchFamily="34" charset="0"/>
                          <a:cs typeface="Arial" panose="020B0604020202020204" pitchFamily="34" charset="0"/>
                        </a:rPr>
                        <a:t>...</a:t>
                      </a:r>
                    </a:p>
                  </a:txBody>
                  <a:tcPr marT="90000" marB="90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171450" marR="0" lvl="0" indent="-171450" algn="l" defTabSz="11254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a:solidFill>
                            <a:schemeClr val="tx1"/>
                          </a:solidFill>
                          <a:latin typeface="Ubuntu" panose="020B0504030602030204" pitchFamily="34" charset="0"/>
                        </a:rPr>
                        <a:t>...</a:t>
                      </a:r>
                      <a:endParaRPr lang="en-US" sz="1200">
                        <a:solidFill>
                          <a:schemeClr val="tx1"/>
                        </a:solidFill>
                        <a:latin typeface="Ubuntu" panose="020B0504030602030204" pitchFamily="34" charset="0"/>
                      </a:endParaRPr>
                    </a:p>
                  </a:txBody>
                  <a:tcPr marT="90000" marB="90000" anchor="ctr">
                    <a:lnL w="1270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12547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solidFill>
                          <a:schemeClr val="tx1"/>
                        </a:solidFill>
                        <a:latin typeface="Ubuntu" panose="020B0504030602030204" pitchFamily="34" charset="0"/>
                      </a:endParaRPr>
                    </a:p>
                  </a:txBody>
                  <a:tcPr marT="90000" marB="9000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5033225"/>
                  </a:ext>
                </a:extLst>
              </a:tr>
              <a:tr h="1454123">
                <a:tc>
                  <a:txBody>
                    <a:bodyPr/>
                    <a:lstStyle/>
                    <a:p>
                      <a:pPr marL="0" marR="0" lvl="0" indent="0" algn="ctr" defTabSz="1125472" rtl="0" eaLnBrk="1" fontAlgn="auto" latinLnBrk="0" hangingPunct="1">
                        <a:lnSpc>
                          <a:spcPct val="100000"/>
                        </a:lnSpc>
                        <a:spcBef>
                          <a:spcPts val="0"/>
                        </a:spcBef>
                        <a:spcAft>
                          <a:spcPts val="0"/>
                        </a:spcAft>
                        <a:buClrTx/>
                        <a:buSzTx/>
                        <a:buFontTx/>
                        <a:buNone/>
                        <a:tabLst/>
                        <a:defRPr/>
                      </a:pPr>
                      <a:r>
                        <a:rPr lang="nb-NO" sz="1200">
                          <a:solidFill>
                            <a:schemeClr val="bg1"/>
                          </a:solidFill>
                          <a:latin typeface="Ubuntu" panose="020B0504030602030204" pitchFamily="34" charset="0"/>
                          <a:cs typeface="Arial" panose="020B0604020202020204" pitchFamily="34" charset="0"/>
                        </a:rPr>
                        <a:t>...</a:t>
                      </a:r>
                    </a:p>
                  </a:txBody>
                  <a:tcPr marT="90000" marB="90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171450" marR="0" lvl="0" indent="-171450" algn="l" defTabSz="11254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a:solidFill>
                            <a:schemeClr val="tx1"/>
                          </a:solidFill>
                          <a:latin typeface="Ubuntu" panose="020B0504030602030204" pitchFamily="34" charset="0"/>
                        </a:rPr>
                        <a:t>...</a:t>
                      </a:r>
                    </a:p>
                  </a:txBody>
                  <a:tcPr marT="90000" marB="90000" anchor="ctr">
                    <a:lnL w="1270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112547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a:solidFill>
                          <a:schemeClr val="tx1"/>
                        </a:solidFill>
                        <a:latin typeface="Ubuntu" panose="020B0504030602030204" pitchFamily="34" charset="0"/>
                      </a:endParaRPr>
                    </a:p>
                  </a:txBody>
                  <a:tcPr marT="90000" marB="9000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12630414"/>
                  </a:ext>
                </a:extLst>
              </a:tr>
            </a:tbl>
          </a:graphicData>
        </a:graphic>
      </p:graphicFrame>
      <p:sp>
        <p:nvSpPr>
          <p:cNvPr id="12" name="Title 11">
            <a:extLst>
              <a:ext uri="{FF2B5EF4-FFF2-40B4-BE49-F238E27FC236}">
                <a16:creationId xmlns:a16="http://schemas.microsoft.com/office/drawing/2014/main" id="{0BA85FBA-39B9-DF95-E357-4D4DBD046EFD}"/>
              </a:ext>
            </a:extLst>
          </p:cNvPr>
          <p:cNvSpPr>
            <a:spLocks noGrp="1"/>
          </p:cNvSpPr>
          <p:nvPr>
            <p:ph type="title"/>
          </p:nvPr>
        </p:nvSpPr>
        <p:spPr/>
        <p:txBody>
          <a:bodyPr/>
          <a:lstStyle/>
          <a:p>
            <a:r>
              <a:rPr lang="en-US"/>
              <a:t>Click to edit Master title style</a:t>
            </a:r>
          </a:p>
        </p:txBody>
      </p:sp>
      <p:sp>
        <p:nvSpPr>
          <p:cNvPr id="13" name="Text Placeholder 12">
            <a:extLst>
              <a:ext uri="{FF2B5EF4-FFF2-40B4-BE49-F238E27FC236}">
                <a16:creationId xmlns:a16="http://schemas.microsoft.com/office/drawing/2014/main" id="{0E22CE97-F132-6A14-479A-30A933289CD2}"/>
              </a:ext>
            </a:extLst>
          </p:cNvPr>
          <p:cNvSpPr>
            <a:spLocks noGrp="1"/>
          </p:cNvSpPr>
          <p:nvPr>
            <p:ph type="body" sz="quarter" idx="17" hasCustomPrompt="1"/>
          </p:nvPr>
        </p:nvSpPr>
        <p:spPr>
          <a:xfrm>
            <a:off x="468923" y="5974440"/>
            <a:ext cx="11254154" cy="24363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14" name="TextBox 13">
            <a:extLst>
              <a:ext uri="{FF2B5EF4-FFF2-40B4-BE49-F238E27FC236}">
                <a16:creationId xmlns:a16="http://schemas.microsoft.com/office/drawing/2014/main" id="{A3C06FA8-EE59-8701-C623-08C76983E63D}"/>
              </a:ext>
            </a:extLst>
          </p:cNvPr>
          <p:cNvSpPr txBox="1"/>
          <p:nvPr/>
        </p:nvSpPr>
        <p:spPr>
          <a:xfrm>
            <a:off x="442912" y="2062210"/>
            <a:ext cx="360000" cy="360000"/>
          </a:xfrm>
          <a:prstGeom prst="rect">
            <a:avLst/>
          </a:prstGeom>
          <a:solidFill>
            <a:srgbClr val="8497B0"/>
          </a:solidFill>
          <a:ln w="38100">
            <a:solidFill>
              <a:schemeClr val="bg1"/>
            </a:solidFill>
            <a:miter lim="800000"/>
          </a:ln>
        </p:spPr>
        <p:txBody>
          <a:bodyPr wrap="square" lIns="0" tIns="18288" rIns="0" bIns="18288" rtlCol="0" anchor="ctr">
            <a:noAutofit/>
          </a:bodyPr>
          <a:lstStyle/>
          <a:p>
            <a:pPr algn="ctr"/>
            <a:r>
              <a:rPr lang="en-US" sz="1200" b="1">
                <a:solidFill>
                  <a:schemeClr val="bg1"/>
                </a:solidFill>
                <a:latin typeface="Ubuntu" panose="020B0504030602030204" pitchFamily="34" charset="0"/>
              </a:rPr>
              <a:t>A</a:t>
            </a:r>
          </a:p>
        </p:txBody>
      </p:sp>
      <p:sp>
        <p:nvSpPr>
          <p:cNvPr id="15" name="TextBox 14">
            <a:extLst>
              <a:ext uri="{FF2B5EF4-FFF2-40B4-BE49-F238E27FC236}">
                <a16:creationId xmlns:a16="http://schemas.microsoft.com/office/drawing/2014/main" id="{C3E1082E-0D6F-1150-0DCF-403611C1C69C}"/>
              </a:ext>
            </a:extLst>
          </p:cNvPr>
          <p:cNvSpPr txBox="1"/>
          <p:nvPr/>
        </p:nvSpPr>
        <p:spPr>
          <a:xfrm>
            <a:off x="442912" y="3518875"/>
            <a:ext cx="360000" cy="360000"/>
          </a:xfrm>
          <a:prstGeom prst="rect">
            <a:avLst/>
          </a:prstGeom>
          <a:solidFill>
            <a:srgbClr val="8497B0"/>
          </a:solidFill>
          <a:ln w="38100">
            <a:solidFill>
              <a:schemeClr val="bg1"/>
            </a:solidFill>
            <a:miter lim="800000"/>
          </a:ln>
        </p:spPr>
        <p:txBody>
          <a:bodyPr wrap="square" lIns="0" tIns="18288" rIns="0" bIns="18288" rtlCol="0" anchor="ctr">
            <a:noAutofit/>
          </a:bodyPr>
          <a:lstStyle/>
          <a:p>
            <a:pPr algn="ctr"/>
            <a:r>
              <a:rPr lang="en-US" sz="1200" b="1">
                <a:solidFill>
                  <a:schemeClr val="bg1"/>
                </a:solidFill>
                <a:latin typeface="Ubuntu" panose="020B0504030602030204" pitchFamily="34" charset="0"/>
              </a:rPr>
              <a:t>B</a:t>
            </a:r>
          </a:p>
        </p:txBody>
      </p:sp>
      <p:sp>
        <p:nvSpPr>
          <p:cNvPr id="16" name="TextBox 15">
            <a:extLst>
              <a:ext uri="{FF2B5EF4-FFF2-40B4-BE49-F238E27FC236}">
                <a16:creationId xmlns:a16="http://schemas.microsoft.com/office/drawing/2014/main" id="{1B0017C0-B61A-9F40-C40E-696924F23C55}"/>
              </a:ext>
            </a:extLst>
          </p:cNvPr>
          <p:cNvSpPr txBox="1"/>
          <p:nvPr/>
        </p:nvSpPr>
        <p:spPr>
          <a:xfrm>
            <a:off x="442912" y="4975540"/>
            <a:ext cx="360000" cy="360000"/>
          </a:xfrm>
          <a:prstGeom prst="rect">
            <a:avLst/>
          </a:prstGeom>
          <a:solidFill>
            <a:srgbClr val="8497B0"/>
          </a:solidFill>
          <a:ln w="38100">
            <a:solidFill>
              <a:schemeClr val="bg1"/>
            </a:solidFill>
            <a:miter lim="800000"/>
          </a:ln>
        </p:spPr>
        <p:txBody>
          <a:bodyPr wrap="square" lIns="0" tIns="18288" rIns="0" bIns="18288" rtlCol="0" anchor="ctr">
            <a:noAutofit/>
          </a:bodyPr>
          <a:lstStyle/>
          <a:p>
            <a:pPr algn="ctr"/>
            <a:r>
              <a:rPr lang="en-US" sz="1200" b="1">
                <a:solidFill>
                  <a:schemeClr val="bg1"/>
                </a:solidFill>
                <a:latin typeface="Ubuntu" panose="020B0504030602030204" pitchFamily="34" charset="0"/>
              </a:rPr>
              <a:t>C</a:t>
            </a:r>
          </a:p>
        </p:txBody>
      </p:sp>
    </p:spTree>
    <p:extLst>
      <p:ext uri="{BB962C8B-B14F-4D97-AF65-F5344CB8AC3E}">
        <p14:creationId xmlns:p14="http://schemas.microsoft.com/office/powerpoint/2010/main" val="3921901142"/>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able_dark blue">
    <p:spTree>
      <p:nvGrpSpPr>
        <p:cNvPr id="1" name=""/>
        <p:cNvGrpSpPr/>
        <p:nvPr/>
      </p:nvGrpSpPr>
      <p:grpSpPr>
        <a:xfrm>
          <a:off x="0" y="0"/>
          <a:ext cx="0" cy="0"/>
          <a:chOff x="0" y="0"/>
          <a:chExt cx="0" cy="0"/>
        </a:xfrm>
      </p:grpSpPr>
      <p:graphicFrame>
        <p:nvGraphicFramePr>
          <p:cNvPr id="4" name="Content Placeholder 5">
            <a:extLst>
              <a:ext uri="{FF2B5EF4-FFF2-40B4-BE49-F238E27FC236}">
                <a16:creationId xmlns:a16="http://schemas.microsoft.com/office/drawing/2014/main" id="{4777DE5C-429B-AD97-E6B4-8270C4382BC9}"/>
              </a:ext>
            </a:extLst>
          </p:cNvPr>
          <p:cNvGraphicFramePr>
            <a:graphicFrameLocks/>
          </p:cNvGraphicFramePr>
          <p:nvPr>
            <p:extLst>
              <p:ext uri="{D42A27DB-BD31-4B8C-83A1-F6EECF244321}">
                <p14:modId xmlns:p14="http://schemas.microsoft.com/office/powerpoint/2010/main" val="3405942152"/>
              </p:ext>
            </p:extLst>
          </p:nvPr>
        </p:nvGraphicFramePr>
        <p:xfrm>
          <a:off x="442912" y="1126332"/>
          <a:ext cx="11306175" cy="4750595"/>
        </p:xfrm>
        <a:graphic>
          <a:graphicData uri="http://schemas.openxmlformats.org/drawingml/2006/table">
            <a:tbl>
              <a:tblPr firstRow="1" bandRow="1">
                <a:tableStyleId>{2D5ABB26-0587-4C30-8999-92F81FD0307C}</a:tableStyleId>
              </a:tblPr>
              <a:tblGrid>
                <a:gridCol w="1870749">
                  <a:extLst>
                    <a:ext uri="{9D8B030D-6E8A-4147-A177-3AD203B41FA5}">
                      <a16:colId xmlns:a16="http://schemas.microsoft.com/office/drawing/2014/main" val="805798208"/>
                    </a:ext>
                  </a:extLst>
                </a:gridCol>
                <a:gridCol w="6442412">
                  <a:extLst>
                    <a:ext uri="{9D8B030D-6E8A-4147-A177-3AD203B41FA5}">
                      <a16:colId xmlns:a16="http://schemas.microsoft.com/office/drawing/2014/main" val="3790683698"/>
                    </a:ext>
                  </a:extLst>
                </a:gridCol>
                <a:gridCol w="2993014">
                  <a:extLst>
                    <a:ext uri="{9D8B030D-6E8A-4147-A177-3AD203B41FA5}">
                      <a16:colId xmlns:a16="http://schemas.microsoft.com/office/drawing/2014/main" val="2215500020"/>
                    </a:ext>
                  </a:extLst>
                </a:gridCol>
              </a:tblGrid>
              <a:tr h="38822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aseline="0">
                          <a:solidFill>
                            <a:schemeClr val="bg1"/>
                          </a:solidFill>
                          <a:latin typeface="Ubuntu" panose="020B0504030602030204" pitchFamily="34" charset="0"/>
                          <a:cs typeface="Arial" panose="020B0604020202020204" pitchFamily="34" charset="0"/>
                        </a:rPr>
                        <a:t>…</a:t>
                      </a:r>
                      <a:endParaRPr lang="en-US" sz="1400" b="0">
                        <a:solidFill>
                          <a:schemeClr val="bg1"/>
                        </a:solidFill>
                        <a:latin typeface="Ubuntu" panose="020B0504030602030204" pitchFamily="34" charset="0"/>
                        <a:cs typeface="Arial" panose="020B0604020202020204" pitchFamily="34" charset="0"/>
                      </a:endParaRPr>
                    </a:p>
                  </a:txBody>
                  <a:tcPr marL="36000" marR="36000" marT="36000" marB="36000" anchor="ctr">
                    <a:lnL w="63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nb-NO" sz="1400">
                          <a:solidFill>
                            <a:schemeClr val="bg1"/>
                          </a:solidFill>
                          <a:latin typeface="Ubuntu" panose="020B0504030602030204" pitchFamily="34" charset="0"/>
                        </a:rPr>
                        <a:t>...</a:t>
                      </a:r>
                      <a:endParaRPr lang="en-US" sz="1400">
                        <a:solidFill>
                          <a:schemeClr val="bg1"/>
                        </a:solidFill>
                        <a:latin typeface="Ubuntu" panose="020B0504030602030204" pitchFamily="34" charset="0"/>
                      </a:endParaRP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nb-NO" sz="1400">
                          <a:solidFill>
                            <a:schemeClr val="bg1"/>
                          </a:solidFill>
                          <a:latin typeface="Ubuntu" panose="020B0504030602030204" pitchFamily="34" charset="0"/>
                        </a:rPr>
                        <a:t>...</a:t>
                      </a:r>
                      <a:endParaRPr lang="en-US" sz="1400">
                        <a:solidFill>
                          <a:schemeClr val="bg1"/>
                        </a:solidFill>
                        <a:latin typeface="Ubuntu" panose="020B0504030602030204" pitchFamily="34" charset="0"/>
                      </a:endParaRP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313118254"/>
                  </a:ext>
                </a:extLst>
              </a:tr>
              <a:tr h="1454123">
                <a:tc>
                  <a:txBody>
                    <a:bodyPr/>
                    <a:lstStyle/>
                    <a:p>
                      <a:pPr algn="ctr"/>
                      <a:r>
                        <a:rPr lang="nb-NO" sz="1200">
                          <a:solidFill>
                            <a:schemeClr val="bg1"/>
                          </a:solidFill>
                          <a:latin typeface="Ubuntu" panose="020B0504030602030204" pitchFamily="34" charset="0"/>
                          <a:cs typeface="Arial" panose="020B0604020202020204" pitchFamily="34" charset="0"/>
                        </a:rPr>
                        <a:t>...</a:t>
                      </a:r>
                    </a:p>
                  </a:txBody>
                  <a:tcPr marT="90000" marB="90000" anchor="ctr">
                    <a:lnL w="635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171450" indent="-171450">
                        <a:buFont typeface="Arial" panose="020B0604020202020204" pitchFamily="34" charset="0"/>
                        <a:buChar char="•"/>
                      </a:pPr>
                      <a:r>
                        <a:rPr lang="nb-NO" sz="1200">
                          <a:solidFill>
                            <a:schemeClr val="tx1"/>
                          </a:solidFill>
                          <a:latin typeface="Ubuntu" panose="020B0504030602030204" pitchFamily="34" charset="0"/>
                        </a:rPr>
                        <a:t>...</a:t>
                      </a:r>
                    </a:p>
                  </a:txBody>
                  <a:tcPr marT="90000" marB="90000" anchor="ctr">
                    <a:lnL w="1905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endParaRPr lang="nb-NO" sz="1200">
                        <a:solidFill>
                          <a:schemeClr val="tx1"/>
                        </a:solidFill>
                        <a:latin typeface="Ubuntu" panose="020B0504030602030204" pitchFamily="34" charset="0"/>
                      </a:endParaRPr>
                    </a:p>
                  </a:txBody>
                  <a:tcPr marT="90000" marB="9000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6163040"/>
                  </a:ext>
                </a:extLst>
              </a:tr>
              <a:tr h="1454123">
                <a:tc>
                  <a:txBody>
                    <a:bodyPr/>
                    <a:lstStyle/>
                    <a:p>
                      <a:pPr marL="0" marR="0" lvl="0" indent="0" algn="ctr" defTabSz="914395" rtl="0" eaLnBrk="1" fontAlgn="auto" latinLnBrk="0" hangingPunct="1">
                        <a:lnSpc>
                          <a:spcPct val="100000"/>
                        </a:lnSpc>
                        <a:spcBef>
                          <a:spcPts val="0"/>
                        </a:spcBef>
                        <a:spcAft>
                          <a:spcPts val="0"/>
                        </a:spcAft>
                        <a:buClrTx/>
                        <a:buSzTx/>
                        <a:buFontTx/>
                        <a:buNone/>
                        <a:tabLst/>
                        <a:defRPr/>
                      </a:pPr>
                      <a:r>
                        <a:rPr lang="nb-NO" sz="1200">
                          <a:solidFill>
                            <a:schemeClr val="bg1"/>
                          </a:solidFill>
                          <a:latin typeface="Ubuntu" panose="020B0504030602030204" pitchFamily="34" charset="0"/>
                          <a:cs typeface="Arial" panose="020B0604020202020204" pitchFamily="34" charset="0"/>
                        </a:rPr>
                        <a:t>...</a:t>
                      </a:r>
                    </a:p>
                  </a:txBody>
                  <a:tcPr marT="90000" marB="90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171450" marR="0" lvl="0" indent="-171450" algn="l" defTabSz="11254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a:solidFill>
                            <a:schemeClr val="tx1"/>
                          </a:solidFill>
                          <a:latin typeface="Ubuntu" panose="020B0504030602030204" pitchFamily="34" charset="0"/>
                        </a:rPr>
                        <a:t>...</a:t>
                      </a:r>
                      <a:endParaRPr lang="en-US" sz="1200">
                        <a:solidFill>
                          <a:schemeClr val="tx1"/>
                        </a:solidFill>
                        <a:latin typeface="Ubuntu" panose="020B0504030602030204" pitchFamily="34" charset="0"/>
                      </a:endParaRPr>
                    </a:p>
                  </a:txBody>
                  <a:tcPr marT="90000" marB="90000" anchor="ctr">
                    <a:lnL w="1270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112547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solidFill>
                          <a:schemeClr val="tx1"/>
                        </a:solidFill>
                        <a:latin typeface="Ubuntu" panose="020B0504030602030204" pitchFamily="34" charset="0"/>
                      </a:endParaRPr>
                    </a:p>
                  </a:txBody>
                  <a:tcPr marT="90000" marB="9000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12700" cap="flat" cmpd="sng" algn="ctr">
                      <a:solidFill>
                        <a:schemeClr val="tx2">
                          <a:lumMod val="40000"/>
                          <a:lumOff val="60000"/>
                        </a:schemeClr>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5033225"/>
                  </a:ext>
                </a:extLst>
              </a:tr>
              <a:tr h="1454123">
                <a:tc>
                  <a:txBody>
                    <a:bodyPr/>
                    <a:lstStyle/>
                    <a:p>
                      <a:pPr marL="0" marR="0" lvl="0" indent="0" algn="ctr" defTabSz="1125472" rtl="0" eaLnBrk="1" fontAlgn="auto" latinLnBrk="0" hangingPunct="1">
                        <a:lnSpc>
                          <a:spcPct val="100000"/>
                        </a:lnSpc>
                        <a:spcBef>
                          <a:spcPts val="0"/>
                        </a:spcBef>
                        <a:spcAft>
                          <a:spcPts val="0"/>
                        </a:spcAft>
                        <a:buClrTx/>
                        <a:buSzTx/>
                        <a:buFontTx/>
                        <a:buNone/>
                        <a:tabLst/>
                        <a:defRPr/>
                      </a:pPr>
                      <a:r>
                        <a:rPr lang="nb-NO" sz="1200">
                          <a:solidFill>
                            <a:schemeClr val="bg1"/>
                          </a:solidFill>
                          <a:latin typeface="Ubuntu" panose="020B0504030602030204" pitchFamily="34" charset="0"/>
                          <a:cs typeface="Arial" panose="020B0604020202020204" pitchFamily="34" charset="0"/>
                        </a:rPr>
                        <a:t>...</a:t>
                      </a:r>
                    </a:p>
                  </a:txBody>
                  <a:tcPr marT="90000" marB="90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marL="171450" marR="0" lvl="0" indent="-171450" algn="l" defTabSz="112547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a:solidFill>
                            <a:schemeClr val="tx1"/>
                          </a:solidFill>
                          <a:latin typeface="Ubuntu" panose="020B0504030602030204" pitchFamily="34" charset="0"/>
                        </a:rPr>
                        <a:t>...</a:t>
                      </a:r>
                    </a:p>
                  </a:txBody>
                  <a:tcPr marT="90000" marB="90000" anchor="ctr">
                    <a:lnL w="12700"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112547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a:solidFill>
                          <a:schemeClr val="tx1"/>
                        </a:solidFill>
                        <a:latin typeface="Ubuntu" panose="020B0504030602030204" pitchFamily="34" charset="0"/>
                      </a:endParaRPr>
                    </a:p>
                  </a:txBody>
                  <a:tcPr marT="90000" marB="9000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2">
                          <a:lumMod val="40000"/>
                          <a:lumOff val="60000"/>
                        </a:schemeClr>
                      </a:solidFill>
                      <a:prstDash val="sysDash"/>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12630414"/>
                  </a:ext>
                </a:extLst>
              </a:tr>
            </a:tbl>
          </a:graphicData>
        </a:graphic>
      </p:graphicFrame>
      <p:sp>
        <p:nvSpPr>
          <p:cNvPr id="8" name="Text Placeholder 12">
            <a:extLst>
              <a:ext uri="{FF2B5EF4-FFF2-40B4-BE49-F238E27FC236}">
                <a16:creationId xmlns:a16="http://schemas.microsoft.com/office/drawing/2014/main" id="{4611C241-E4EB-B0DF-4EB3-7D67B4B250F8}"/>
              </a:ext>
            </a:extLst>
          </p:cNvPr>
          <p:cNvSpPr>
            <a:spLocks noGrp="1"/>
          </p:cNvSpPr>
          <p:nvPr>
            <p:ph type="body" sz="quarter" idx="17" hasCustomPrompt="1"/>
          </p:nvPr>
        </p:nvSpPr>
        <p:spPr>
          <a:xfrm>
            <a:off x="468923" y="5974440"/>
            <a:ext cx="11254154" cy="24363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9" name="TextBox 8">
            <a:extLst>
              <a:ext uri="{FF2B5EF4-FFF2-40B4-BE49-F238E27FC236}">
                <a16:creationId xmlns:a16="http://schemas.microsoft.com/office/drawing/2014/main" id="{D266AC26-D40E-1B30-0C31-E9985F5ED92A}"/>
              </a:ext>
            </a:extLst>
          </p:cNvPr>
          <p:cNvSpPr txBox="1"/>
          <p:nvPr/>
        </p:nvSpPr>
        <p:spPr>
          <a:xfrm>
            <a:off x="442912" y="2062210"/>
            <a:ext cx="360000" cy="360000"/>
          </a:xfrm>
          <a:prstGeom prst="rect">
            <a:avLst/>
          </a:prstGeom>
          <a:solidFill>
            <a:srgbClr val="8497B0"/>
          </a:solidFill>
          <a:ln w="38100">
            <a:solidFill>
              <a:schemeClr val="bg1"/>
            </a:solidFill>
            <a:miter lim="800000"/>
          </a:ln>
        </p:spPr>
        <p:txBody>
          <a:bodyPr wrap="square" lIns="0" tIns="18288" rIns="0" bIns="18288" rtlCol="0" anchor="ctr">
            <a:noAutofit/>
          </a:bodyPr>
          <a:lstStyle/>
          <a:p>
            <a:pPr algn="ctr"/>
            <a:r>
              <a:rPr lang="en-US" sz="1200" b="1">
                <a:solidFill>
                  <a:schemeClr val="bg1"/>
                </a:solidFill>
                <a:latin typeface="Ubuntu" panose="020B0504030602030204" pitchFamily="34" charset="0"/>
              </a:rPr>
              <a:t>A</a:t>
            </a:r>
          </a:p>
        </p:txBody>
      </p:sp>
      <p:sp>
        <p:nvSpPr>
          <p:cNvPr id="10" name="TextBox 9">
            <a:extLst>
              <a:ext uri="{FF2B5EF4-FFF2-40B4-BE49-F238E27FC236}">
                <a16:creationId xmlns:a16="http://schemas.microsoft.com/office/drawing/2014/main" id="{6E1B673B-848C-174E-24FE-070180B5AFF8}"/>
              </a:ext>
            </a:extLst>
          </p:cNvPr>
          <p:cNvSpPr txBox="1"/>
          <p:nvPr/>
        </p:nvSpPr>
        <p:spPr>
          <a:xfrm>
            <a:off x="442912" y="3518875"/>
            <a:ext cx="360000" cy="360000"/>
          </a:xfrm>
          <a:prstGeom prst="rect">
            <a:avLst/>
          </a:prstGeom>
          <a:solidFill>
            <a:srgbClr val="8497B0"/>
          </a:solidFill>
          <a:ln w="38100">
            <a:solidFill>
              <a:schemeClr val="bg1"/>
            </a:solidFill>
            <a:miter lim="800000"/>
          </a:ln>
        </p:spPr>
        <p:txBody>
          <a:bodyPr wrap="square" lIns="0" tIns="18288" rIns="0" bIns="18288" rtlCol="0" anchor="ctr">
            <a:noAutofit/>
          </a:bodyPr>
          <a:lstStyle/>
          <a:p>
            <a:pPr algn="ctr"/>
            <a:r>
              <a:rPr lang="en-US" sz="1200" b="1">
                <a:solidFill>
                  <a:schemeClr val="bg1"/>
                </a:solidFill>
                <a:latin typeface="Ubuntu" panose="020B0504030602030204" pitchFamily="34" charset="0"/>
              </a:rPr>
              <a:t>B</a:t>
            </a:r>
          </a:p>
        </p:txBody>
      </p:sp>
      <p:sp>
        <p:nvSpPr>
          <p:cNvPr id="11" name="TextBox 10">
            <a:extLst>
              <a:ext uri="{FF2B5EF4-FFF2-40B4-BE49-F238E27FC236}">
                <a16:creationId xmlns:a16="http://schemas.microsoft.com/office/drawing/2014/main" id="{C9C98D0E-ED76-5809-E44C-64489A07A5BF}"/>
              </a:ext>
            </a:extLst>
          </p:cNvPr>
          <p:cNvSpPr txBox="1"/>
          <p:nvPr/>
        </p:nvSpPr>
        <p:spPr>
          <a:xfrm>
            <a:off x="442912" y="4975540"/>
            <a:ext cx="360000" cy="360000"/>
          </a:xfrm>
          <a:prstGeom prst="rect">
            <a:avLst/>
          </a:prstGeom>
          <a:solidFill>
            <a:srgbClr val="8497B0"/>
          </a:solidFill>
          <a:ln w="38100">
            <a:solidFill>
              <a:schemeClr val="bg1"/>
            </a:solidFill>
            <a:miter lim="800000"/>
          </a:ln>
        </p:spPr>
        <p:txBody>
          <a:bodyPr wrap="square" lIns="0" tIns="18288" rIns="0" bIns="18288" rtlCol="0" anchor="ctr">
            <a:noAutofit/>
          </a:bodyPr>
          <a:lstStyle/>
          <a:p>
            <a:pPr algn="ctr"/>
            <a:r>
              <a:rPr lang="en-US" sz="1200" b="1">
                <a:solidFill>
                  <a:schemeClr val="bg1"/>
                </a:solidFill>
                <a:latin typeface="Ubuntu" panose="020B0504030602030204" pitchFamily="34" charset="0"/>
              </a:rPr>
              <a:t>C</a:t>
            </a:r>
          </a:p>
        </p:txBody>
      </p:sp>
      <p:sp>
        <p:nvSpPr>
          <p:cNvPr id="3" name="Title 2">
            <a:extLst>
              <a:ext uri="{FF2B5EF4-FFF2-40B4-BE49-F238E27FC236}">
                <a16:creationId xmlns:a16="http://schemas.microsoft.com/office/drawing/2014/main" id="{E4E68D21-A370-F72A-1547-A06623CF08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5156234"/>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racker or table 1">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A69798A6-5A18-E430-FCA4-DBB41E825330}"/>
              </a:ext>
            </a:extLst>
          </p:cNvPr>
          <p:cNvGraphicFramePr>
            <a:graphicFrameLocks noGrp="1"/>
          </p:cNvGraphicFramePr>
          <p:nvPr>
            <p:extLst>
              <p:ext uri="{D42A27DB-BD31-4B8C-83A1-F6EECF244321}">
                <p14:modId xmlns:p14="http://schemas.microsoft.com/office/powerpoint/2010/main" val="377199155"/>
              </p:ext>
            </p:extLst>
          </p:nvPr>
        </p:nvGraphicFramePr>
        <p:xfrm>
          <a:off x="442912" y="1125537"/>
          <a:ext cx="11306175" cy="4751388"/>
        </p:xfrm>
        <a:graphic>
          <a:graphicData uri="http://schemas.openxmlformats.org/drawingml/2006/table">
            <a:tbl>
              <a:tblPr firstRow="1" bandRow="1">
                <a:tableStyleId>{5C22544A-7EE6-4342-B048-85BDC9FD1C3A}</a:tableStyleId>
              </a:tblPr>
              <a:tblGrid>
                <a:gridCol w="2261235">
                  <a:extLst>
                    <a:ext uri="{9D8B030D-6E8A-4147-A177-3AD203B41FA5}">
                      <a16:colId xmlns:a16="http://schemas.microsoft.com/office/drawing/2014/main" val="2838262676"/>
                    </a:ext>
                  </a:extLst>
                </a:gridCol>
                <a:gridCol w="2261235">
                  <a:extLst>
                    <a:ext uri="{9D8B030D-6E8A-4147-A177-3AD203B41FA5}">
                      <a16:colId xmlns:a16="http://schemas.microsoft.com/office/drawing/2014/main" val="1928952234"/>
                    </a:ext>
                  </a:extLst>
                </a:gridCol>
                <a:gridCol w="2261235">
                  <a:extLst>
                    <a:ext uri="{9D8B030D-6E8A-4147-A177-3AD203B41FA5}">
                      <a16:colId xmlns:a16="http://schemas.microsoft.com/office/drawing/2014/main" val="3745021096"/>
                    </a:ext>
                  </a:extLst>
                </a:gridCol>
                <a:gridCol w="2261235">
                  <a:extLst>
                    <a:ext uri="{9D8B030D-6E8A-4147-A177-3AD203B41FA5}">
                      <a16:colId xmlns:a16="http://schemas.microsoft.com/office/drawing/2014/main" val="3002056228"/>
                    </a:ext>
                  </a:extLst>
                </a:gridCol>
                <a:gridCol w="2261235">
                  <a:extLst>
                    <a:ext uri="{9D8B030D-6E8A-4147-A177-3AD203B41FA5}">
                      <a16:colId xmlns:a16="http://schemas.microsoft.com/office/drawing/2014/main" val="2616542543"/>
                    </a:ext>
                  </a:extLst>
                </a:gridCol>
              </a:tblGrid>
              <a:tr h="433051">
                <a:tc gridSpan="5">
                  <a:txBody>
                    <a:bodyPr/>
                    <a:lstStyle/>
                    <a:p>
                      <a:pPr algn="ctr"/>
                      <a:r>
                        <a:rPr lang="nb-NO" sz="1400">
                          <a:latin typeface="Ubuntu" panose="020B0504030602030204" pitchFamily="34" charset="0"/>
                        </a:rPr>
                        <a:t>...</a:t>
                      </a:r>
                      <a:endParaRPr lang="en-US" sz="1400"/>
                    </a:p>
                  </a:txBody>
                  <a:tcPr marL="90535" marR="90535">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solidFill>
                      <a:schemeClr val="tx2"/>
                    </a:solidFill>
                  </a:tcPr>
                </a:tc>
                <a:tc hMerge="1">
                  <a:txBody>
                    <a:bodyPr/>
                    <a:lstStyle/>
                    <a:p>
                      <a:endParaRPr lang="en-US"/>
                    </a:p>
                  </a:txBody>
                  <a:tcPr/>
                </a:tc>
                <a:tc hMerge="1">
                  <a:txBody>
                    <a:bodyPr/>
                    <a:lstStyle/>
                    <a:p>
                      <a:endParaRPr lang="en-US"/>
                    </a:p>
                  </a:txBody>
                  <a:tcPr/>
                </a:tc>
                <a:tc hMerge="1">
                  <a:txBody>
                    <a:bodyPr/>
                    <a:lstStyle/>
                    <a:p>
                      <a:pPr algn="ctr"/>
                      <a:endParaRPr lang="en-US"/>
                    </a:p>
                  </a:txBody>
                  <a:tcPr>
                    <a:solidFill>
                      <a:schemeClr val="tx2"/>
                    </a:solidFill>
                  </a:tcPr>
                </a:tc>
                <a:tc hMerge="1">
                  <a:txBody>
                    <a:bodyPr/>
                    <a:lstStyle/>
                    <a:p>
                      <a:pPr algn="ctr"/>
                      <a:endParaRPr lang="en-US"/>
                    </a:p>
                  </a:txBody>
                  <a:tcPr>
                    <a:solidFill>
                      <a:schemeClr val="tx2"/>
                    </a:solidFill>
                  </a:tcPr>
                </a:tc>
                <a:extLst>
                  <a:ext uri="{0D108BD9-81ED-4DB2-BD59-A6C34878D82A}">
                    <a16:rowId xmlns:a16="http://schemas.microsoft.com/office/drawing/2014/main" val="2194309241"/>
                  </a:ext>
                </a:extLst>
              </a:tr>
              <a:tr h="382712">
                <a:tc>
                  <a:txBody>
                    <a:bodyPr/>
                    <a:lstStyle/>
                    <a:p>
                      <a:pPr algn="ctr"/>
                      <a:r>
                        <a:rPr lang="nb-NO" sz="1200">
                          <a:latin typeface="Ubuntu" panose="020B0504030602030204" pitchFamily="34" charset="0"/>
                        </a:rPr>
                        <a:t>...</a:t>
                      </a:r>
                      <a:endParaRPr lang="en-US" sz="1200"/>
                    </a:p>
                  </a:txBody>
                  <a:tcPr marL="127379" marR="127379" anchor="ctr">
                    <a:lnL w="12700" cap="flat" cmpd="sng" algn="ctr">
                      <a:solidFill>
                        <a:schemeClr val="bg1">
                          <a:lumMod val="75000"/>
                        </a:schemeClr>
                      </a:solidFill>
                      <a:prstDash val="solid"/>
                      <a:round/>
                      <a:headEnd type="none" w="med" len="med"/>
                      <a:tailEnd type="none" w="med" len="med"/>
                    </a:lnL>
                    <a:lnB w="12700" cmpd="sng">
                      <a:noFill/>
                    </a:lnB>
                    <a:solidFill>
                      <a:schemeClr val="tx2">
                        <a:lumMod val="60000"/>
                        <a:lumOff val="40000"/>
                      </a:schemeClr>
                    </a:solidFill>
                  </a:tcPr>
                </a:tc>
                <a:tc>
                  <a:txBody>
                    <a:bodyPr/>
                    <a:lstStyle/>
                    <a:p>
                      <a:pPr algn="ctr"/>
                      <a:r>
                        <a:rPr lang="nb-NO" sz="1200">
                          <a:solidFill>
                            <a:schemeClr val="tx1"/>
                          </a:solidFill>
                          <a:latin typeface="Ubuntu" panose="020B0504030602030204" pitchFamily="34" charset="0"/>
                        </a:rPr>
                        <a:t>...</a:t>
                      </a:r>
                      <a:endParaRPr lang="en-US" sz="1200">
                        <a:solidFill>
                          <a:schemeClr val="tx1"/>
                        </a:solidFill>
                      </a:endParaRPr>
                    </a:p>
                  </a:txBody>
                  <a:tcPr marL="127379" marR="127379" anchor="ctr">
                    <a:lnB w="12700" cmpd="sng">
                      <a:noFill/>
                    </a:lnB>
                    <a:solidFill>
                      <a:schemeClr val="tx2">
                        <a:lumMod val="20000"/>
                        <a:lumOff val="80000"/>
                      </a:schemeClr>
                    </a:solidFill>
                  </a:tcPr>
                </a:tc>
                <a:tc>
                  <a:txBody>
                    <a:bodyPr/>
                    <a:lstStyle/>
                    <a:p>
                      <a:pPr algn="ctr"/>
                      <a:r>
                        <a:rPr lang="nb-NO" sz="1200">
                          <a:solidFill>
                            <a:schemeClr val="tx1"/>
                          </a:solidFill>
                          <a:latin typeface="Ubuntu" panose="020B0504030602030204" pitchFamily="34" charset="0"/>
                        </a:rPr>
                        <a:t>...</a:t>
                      </a:r>
                      <a:endParaRPr lang="en-US" sz="1200">
                        <a:solidFill>
                          <a:schemeClr val="tx1"/>
                        </a:solidFill>
                      </a:endParaRPr>
                    </a:p>
                  </a:txBody>
                  <a:tcPr marL="127379" marR="127379" anchor="ctr">
                    <a:lnB w="12700" cmpd="sng">
                      <a:noFill/>
                    </a:lnB>
                    <a:solidFill>
                      <a:schemeClr val="tx2">
                        <a:lumMod val="20000"/>
                        <a:lumOff val="80000"/>
                      </a:schemeClr>
                    </a:solidFill>
                  </a:tcPr>
                </a:tc>
                <a:tc>
                  <a:txBody>
                    <a:bodyPr/>
                    <a:lstStyle/>
                    <a:p>
                      <a:pPr algn="ctr"/>
                      <a:endParaRPr lang="en-US" sz="1200">
                        <a:solidFill>
                          <a:schemeClr val="tx1"/>
                        </a:solidFill>
                        <a:latin typeface="Ubuntu" panose="020B0504030602030204" pitchFamily="34" charset="0"/>
                      </a:endParaRPr>
                    </a:p>
                  </a:txBody>
                  <a:tcPr marL="127379" marR="127379" anchor="ctr">
                    <a:lnB w="12700" cmpd="sng">
                      <a:noFill/>
                    </a:lnB>
                    <a:solidFill>
                      <a:schemeClr val="tx2">
                        <a:lumMod val="20000"/>
                        <a:lumOff val="80000"/>
                      </a:schemeClr>
                    </a:solidFill>
                  </a:tcPr>
                </a:tc>
                <a:tc>
                  <a:txBody>
                    <a:bodyPr/>
                    <a:lstStyle/>
                    <a:p>
                      <a:pPr algn="ctr"/>
                      <a:endParaRPr lang="en-US" sz="1200">
                        <a:solidFill>
                          <a:schemeClr val="tx1"/>
                        </a:solidFill>
                        <a:latin typeface="Ubuntu" panose="020B0504030602030204" pitchFamily="34" charset="0"/>
                      </a:endParaRPr>
                    </a:p>
                  </a:txBody>
                  <a:tcPr marL="127379" marR="127379" anchor="ctr">
                    <a:lnR w="12700" cap="flat" cmpd="sng" algn="ctr">
                      <a:solidFill>
                        <a:schemeClr val="bg1">
                          <a:lumMod val="75000"/>
                        </a:schemeClr>
                      </a:solidFill>
                      <a:prstDash val="solid"/>
                      <a:round/>
                      <a:headEnd type="none" w="med" len="med"/>
                      <a:tailEnd type="none" w="med" len="med"/>
                    </a:lnR>
                    <a:lnB w="12700" cmpd="sng">
                      <a:noFill/>
                    </a:lnB>
                    <a:solidFill>
                      <a:schemeClr val="tx2">
                        <a:lumMod val="20000"/>
                        <a:lumOff val="80000"/>
                      </a:schemeClr>
                    </a:solidFill>
                  </a:tcPr>
                </a:tc>
                <a:extLst>
                  <a:ext uri="{0D108BD9-81ED-4DB2-BD59-A6C34878D82A}">
                    <a16:rowId xmlns:a16="http://schemas.microsoft.com/office/drawing/2014/main" val="1271815269"/>
                  </a:ext>
                </a:extLst>
              </a:tr>
              <a:tr h="3935625">
                <a:tc gridSpan="5">
                  <a:txBody>
                    <a:bodyPr/>
                    <a:lstStyle/>
                    <a:p>
                      <a:pPr algn="ctr"/>
                      <a:endParaRPr lang="en-US" sz="1200">
                        <a:latin typeface="Ubuntu" panose="020B0504030602030204" pitchFamily="34" charset="0"/>
                      </a:endParaRPr>
                    </a:p>
                  </a:txBody>
                  <a:tcPr marL="127379" marR="127379"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a:solidFill>
                          <a:schemeClr val="tx1"/>
                        </a:solidFill>
                      </a:endParaRPr>
                    </a:p>
                  </a:txBody>
                  <a:tcPr marL="127379" marR="127379"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a:solidFill>
                          <a:schemeClr val="tx1"/>
                        </a:solidFill>
                      </a:endParaRPr>
                    </a:p>
                  </a:txBody>
                  <a:tcPr marL="127379" marR="127379"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a:solidFill>
                          <a:schemeClr val="tx1"/>
                        </a:solidFill>
                      </a:endParaRPr>
                    </a:p>
                  </a:txBody>
                  <a:tcPr marL="127379" marR="127379"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a:solidFill>
                          <a:schemeClr val="tx1"/>
                        </a:solidFill>
                      </a:endParaRPr>
                    </a:p>
                  </a:txBody>
                  <a:tcPr marL="127379" marR="127379" anchor="ctr">
                    <a:lnL w="12700" cap="flat" cmpd="sng" algn="ctr">
                      <a:noFill/>
                      <a:prstDash val="dash"/>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413179"/>
                  </a:ext>
                </a:extLst>
              </a:tr>
            </a:tbl>
          </a:graphicData>
        </a:graphic>
      </p:graphicFrame>
      <p:sp>
        <p:nvSpPr>
          <p:cNvPr id="4" name="Title 1">
            <a:extLst>
              <a:ext uri="{FF2B5EF4-FFF2-40B4-BE49-F238E27FC236}">
                <a16:creationId xmlns:a16="http://schemas.microsoft.com/office/drawing/2014/main" id="{B74A16BB-E173-5F3C-C76D-48B025E657E4}"/>
              </a:ext>
            </a:extLst>
          </p:cNvPr>
          <p:cNvSpPr txBox="1">
            <a:spLocks/>
          </p:cNvSpPr>
          <p:nvPr/>
        </p:nvSpPr>
        <p:spPr>
          <a:xfrm>
            <a:off x="442914" y="441324"/>
            <a:ext cx="11306174" cy="611189"/>
          </a:xfrm>
          <a:prstGeom prst="rect">
            <a:avLst/>
          </a:prstGeom>
        </p:spPr>
        <p:txBody>
          <a:bodyPr vert="horz" lIns="91440" tIns="45720" rIns="91440" bIns="45720" rtlCol="0" anchor="ctr">
            <a:noAutofit/>
          </a:bodyPr>
          <a:lstStyle>
            <a:lvl1pPr algn="l" defTabSz="1125472" rtl="0" eaLnBrk="1" latinLnBrk="0" hangingPunct="1">
              <a:lnSpc>
                <a:spcPct val="90000"/>
              </a:lnSpc>
              <a:spcBef>
                <a:spcPct val="0"/>
              </a:spcBef>
              <a:buNone/>
              <a:defRPr lang="en-US" sz="2200" b="0" i="0" kern="1200" dirty="0">
                <a:solidFill>
                  <a:schemeClr val="tx1"/>
                </a:solidFill>
                <a:latin typeface="+mj-lt"/>
                <a:ea typeface="+mj-ea"/>
                <a:cs typeface="Calibri" panose="020F0502020204030204" pitchFamily="34" charset="0"/>
              </a:defRPr>
            </a:lvl1pPr>
          </a:lstStyle>
          <a:p>
            <a:endParaRPr lang="en-US" b="0">
              <a:latin typeface="Ubuntu" panose="020B0504030602030204" pitchFamily="34" charset="0"/>
            </a:endParaRPr>
          </a:p>
        </p:txBody>
      </p:sp>
    </p:spTree>
    <p:extLst>
      <p:ext uri="{BB962C8B-B14F-4D97-AF65-F5344CB8AC3E}">
        <p14:creationId xmlns:p14="http://schemas.microsoft.com/office/powerpoint/2010/main" val="4106725210"/>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racker or table 2">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32B772C9-769D-D745-C720-5758415C5705}"/>
              </a:ext>
            </a:extLst>
          </p:cNvPr>
          <p:cNvGraphicFramePr>
            <a:graphicFrameLocks noGrp="1"/>
          </p:cNvGraphicFramePr>
          <p:nvPr>
            <p:extLst>
              <p:ext uri="{D42A27DB-BD31-4B8C-83A1-F6EECF244321}">
                <p14:modId xmlns:p14="http://schemas.microsoft.com/office/powerpoint/2010/main" val="792288916"/>
              </p:ext>
            </p:extLst>
          </p:nvPr>
        </p:nvGraphicFramePr>
        <p:xfrm>
          <a:off x="442912" y="1125539"/>
          <a:ext cx="11306173" cy="4751390"/>
        </p:xfrm>
        <a:graphic>
          <a:graphicData uri="http://schemas.openxmlformats.org/drawingml/2006/table">
            <a:tbl>
              <a:tblPr firstRow="1" bandRow="1">
                <a:tableStyleId>{5C22544A-7EE6-4342-B048-85BDC9FD1C3A}</a:tableStyleId>
              </a:tblPr>
              <a:tblGrid>
                <a:gridCol w="1481138">
                  <a:extLst>
                    <a:ext uri="{9D8B030D-6E8A-4147-A177-3AD203B41FA5}">
                      <a16:colId xmlns:a16="http://schemas.microsoft.com/office/drawing/2014/main" val="1017701013"/>
                    </a:ext>
                  </a:extLst>
                </a:gridCol>
                <a:gridCol w="1247775">
                  <a:extLst>
                    <a:ext uri="{9D8B030D-6E8A-4147-A177-3AD203B41FA5}">
                      <a16:colId xmlns:a16="http://schemas.microsoft.com/office/drawing/2014/main" val="1140960759"/>
                    </a:ext>
                  </a:extLst>
                </a:gridCol>
                <a:gridCol w="8577260">
                  <a:extLst>
                    <a:ext uri="{9D8B030D-6E8A-4147-A177-3AD203B41FA5}">
                      <a16:colId xmlns:a16="http://schemas.microsoft.com/office/drawing/2014/main" val="2382298096"/>
                    </a:ext>
                  </a:extLst>
                </a:gridCol>
              </a:tblGrid>
              <a:tr h="950278">
                <a:tc rowSpan="5">
                  <a:txBody>
                    <a:bodyPr/>
                    <a:lstStyle/>
                    <a:p>
                      <a:pPr algn="ctr"/>
                      <a:r>
                        <a:rPr lang="nb-NO" sz="1400" b="1">
                          <a:solidFill>
                            <a:schemeClr val="bg1"/>
                          </a:solidFill>
                          <a:latin typeface="Ubuntu" panose="020B0504030602030204" pitchFamily="34" charset="0"/>
                        </a:rPr>
                        <a:t>...</a:t>
                      </a:r>
                      <a:endParaRPr lang="en-US" sz="1400" b="1">
                        <a:solidFill>
                          <a:schemeClr val="bg1"/>
                        </a:solidFill>
                      </a:endParaRPr>
                    </a:p>
                  </a:txBody>
                  <a:tcPr marT="91440" marB="91440" anchor="ctr">
                    <a:lnL w="12700" cap="flat" cmpd="sng" algn="ctr">
                      <a:solidFill>
                        <a:schemeClr val="bg1">
                          <a:lumMod val="75000"/>
                        </a:schemeClr>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r>
                        <a:rPr lang="en-US" sz="1200" b="1">
                          <a:solidFill>
                            <a:schemeClr val="tx1"/>
                          </a:solidFill>
                          <a:latin typeface="Ubuntu" panose="020B0504030602030204" pitchFamily="34" charset="0"/>
                        </a:rPr>
                        <a:t>…</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lumMod val="60000"/>
                        <a:lumOff val="40000"/>
                      </a:schemeClr>
                    </a:solidFill>
                  </a:tcPr>
                </a:tc>
                <a:tc rowSpan="5">
                  <a:txBody>
                    <a:bodyPr/>
                    <a:lstStyle/>
                    <a:p>
                      <a:pPr algn="ctr"/>
                      <a:endParaRPr lang="en-US" sz="1200" b="1">
                        <a:solidFill>
                          <a:schemeClr val="tx1"/>
                        </a:solidFill>
                        <a:latin typeface="Ubuntu" panose="020B0504030602030204" pitchFamily="34" charset="0"/>
                      </a:endParaRPr>
                    </a:p>
                  </a:txBody>
                  <a:tcPr marT="91440" marB="91440" anchor="ctr">
                    <a:lnL w="38100"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22475"/>
                  </a:ext>
                </a:extLst>
              </a:tr>
              <a:tr h="950278">
                <a:tc vMerge="1">
                  <a:txBody>
                    <a:bodyPr/>
                    <a:lstStyle/>
                    <a:p>
                      <a:endParaRPr lang="en-US" sz="1200" b="1">
                        <a:solidFill>
                          <a:schemeClr val="bg1"/>
                        </a:solidFill>
                      </a:endParaRPr>
                    </a:p>
                  </a:txBody>
                  <a:tcPr marL="43200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pPr algn="ctr"/>
                      <a:r>
                        <a:rPr lang="en-US" sz="1200" b="1">
                          <a:solidFill>
                            <a:schemeClr val="tx1"/>
                          </a:solidFill>
                          <a:latin typeface="Ubuntu" panose="020B0504030602030204" pitchFamily="34" charset="0"/>
                        </a:rPr>
                        <a:t>…</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CE5"/>
                    </a:solidFill>
                  </a:tcPr>
                </a:tc>
                <a:tc vMerge="1">
                  <a:txBody>
                    <a:bodyPr/>
                    <a:lstStyle/>
                    <a:p>
                      <a:pPr algn="ctr"/>
                      <a:endParaRPr lang="en-US" sz="1200" b="1">
                        <a:solidFill>
                          <a:schemeClr val="tx1"/>
                        </a:solidFill>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CE5"/>
                    </a:solidFill>
                  </a:tcPr>
                </a:tc>
                <a:extLst>
                  <a:ext uri="{0D108BD9-81ED-4DB2-BD59-A6C34878D82A}">
                    <a16:rowId xmlns:a16="http://schemas.microsoft.com/office/drawing/2014/main" val="3935156831"/>
                  </a:ext>
                </a:extLst>
              </a:tr>
              <a:tr h="950278">
                <a:tc vMerge="1">
                  <a:txBody>
                    <a:bodyPr/>
                    <a:lstStyle/>
                    <a:p>
                      <a:endParaRPr lang="en-US" sz="1200" b="1">
                        <a:solidFill>
                          <a:schemeClr val="bg1"/>
                        </a:solidFill>
                      </a:endParaRPr>
                    </a:p>
                  </a:txBody>
                  <a:tcPr marL="43200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3"/>
                    </a:solidFill>
                  </a:tcPr>
                </a:tc>
                <a:tc>
                  <a:txBody>
                    <a:bodyPr/>
                    <a:lstStyle/>
                    <a:p>
                      <a:pPr algn="ctr"/>
                      <a:r>
                        <a:rPr lang="en-US" sz="1200" b="1">
                          <a:solidFill>
                            <a:schemeClr val="tx1"/>
                          </a:solidFill>
                          <a:latin typeface="Ubuntu" panose="020B0504030602030204" pitchFamily="34" charset="0"/>
                        </a:rPr>
                        <a:t>…</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CE5"/>
                    </a:solidFill>
                  </a:tcPr>
                </a:tc>
                <a:tc vMerge="1">
                  <a:txBody>
                    <a:bodyPr/>
                    <a:lstStyle/>
                    <a:p>
                      <a:pPr algn="ctr"/>
                      <a:endParaRPr lang="en-US" sz="1200" b="1">
                        <a:solidFill>
                          <a:schemeClr val="tx1"/>
                        </a:solidFill>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CE5"/>
                    </a:solidFill>
                  </a:tcPr>
                </a:tc>
                <a:extLst>
                  <a:ext uri="{0D108BD9-81ED-4DB2-BD59-A6C34878D82A}">
                    <a16:rowId xmlns:a16="http://schemas.microsoft.com/office/drawing/2014/main" val="398529013"/>
                  </a:ext>
                </a:extLst>
              </a:tr>
              <a:tr h="950278">
                <a:tc vMerge="1">
                  <a:txBody>
                    <a:bodyPr/>
                    <a:lstStyle/>
                    <a:p>
                      <a:pPr algn="ctr"/>
                      <a:endParaRPr lang="en-US" sz="1200" b="1">
                        <a:solidFill>
                          <a:schemeClr val="bg1"/>
                        </a:solidFill>
                      </a:endParaRPr>
                    </a:p>
                  </a:txBody>
                  <a:tcPr marT="91440" marB="9144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pPr algn="ctr"/>
                      <a:endParaRPr lang="en-US" sz="1200" b="1">
                        <a:solidFill>
                          <a:schemeClr val="tx1"/>
                        </a:solidFill>
                        <a:latin typeface="Ubuntu" panose="020B0504030602030204" pitchFamily="34" charset="0"/>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CE5"/>
                    </a:solidFill>
                  </a:tcPr>
                </a:tc>
                <a:tc vMerge="1">
                  <a:txBody>
                    <a:bodyPr/>
                    <a:lstStyle/>
                    <a:p>
                      <a:pPr algn="ctr"/>
                      <a:endParaRPr lang="en-US" sz="1200" b="1">
                        <a:solidFill>
                          <a:schemeClr val="tx1"/>
                        </a:solidFill>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CE5"/>
                    </a:solidFill>
                  </a:tcPr>
                </a:tc>
                <a:extLst>
                  <a:ext uri="{0D108BD9-81ED-4DB2-BD59-A6C34878D82A}">
                    <a16:rowId xmlns:a16="http://schemas.microsoft.com/office/drawing/2014/main" val="3579113967"/>
                  </a:ext>
                </a:extLst>
              </a:tr>
              <a:tr h="950278">
                <a:tc vMerge="1">
                  <a:txBody>
                    <a:bodyPr/>
                    <a:lstStyle/>
                    <a:p>
                      <a:pPr algn="ctr"/>
                      <a:endParaRPr lang="en-US" sz="1200" b="1">
                        <a:solidFill>
                          <a:schemeClr val="bg1"/>
                        </a:solidFill>
                      </a:endParaRPr>
                    </a:p>
                  </a:txBody>
                  <a:tcPr marT="91440" marB="91440"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algn="ctr"/>
                      <a:endParaRPr lang="en-US" sz="1200" b="1">
                        <a:solidFill>
                          <a:schemeClr val="tx1"/>
                        </a:solidFill>
                        <a:latin typeface="Ubuntu" panose="020B0504030602030204" pitchFamily="34" charset="0"/>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D6DCE5"/>
                    </a:solidFill>
                  </a:tcPr>
                </a:tc>
                <a:tc vMerge="1">
                  <a:txBody>
                    <a:bodyPr/>
                    <a:lstStyle/>
                    <a:p>
                      <a:pPr algn="ctr"/>
                      <a:endParaRPr lang="en-US" sz="1200" b="1">
                        <a:solidFill>
                          <a:schemeClr val="tx1"/>
                        </a:solidFill>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rgbClr val="D6DCE5"/>
                    </a:solidFill>
                  </a:tcPr>
                </a:tc>
                <a:extLst>
                  <a:ext uri="{0D108BD9-81ED-4DB2-BD59-A6C34878D82A}">
                    <a16:rowId xmlns:a16="http://schemas.microsoft.com/office/drawing/2014/main" val="1168152657"/>
                  </a:ext>
                </a:extLst>
              </a:tr>
            </a:tbl>
          </a:graphicData>
        </a:graphic>
      </p:graphicFrame>
      <p:sp>
        <p:nvSpPr>
          <p:cNvPr id="4" name="Title 1">
            <a:extLst>
              <a:ext uri="{FF2B5EF4-FFF2-40B4-BE49-F238E27FC236}">
                <a16:creationId xmlns:a16="http://schemas.microsoft.com/office/drawing/2014/main" id="{B74A16BB-E173-5F3C-C76D-48B025E657E4}"/>
              </a:ext>
            </a:extLst>
          </p:cNvPr>
          <p:cNvSpPr txBox="1">
            <a:spLocks/>
          </p:cNvSpPr>
          <p:nvPr/>
        </p:nvSpPr>
        <p:spPr>
          <a:xfrm>
            <a:off x="442914" y="441324"/>
            <a:ext cx="11306174" cy="611189"/>
          </a:xfrm>
          <a:prstGeom prst="rect">
            <a:avLst/>
          </a:prstGeom>
        </p:spPr>
        <p:txBody>
          <a:bodyPr vert="horz" lIns="91440" tIns="45720" rIns="91440" bIns="45720" rtlCol="0" anchor="ctr">
            <a:noAutofit/>
          </a:bodyPr>
          <a:lstStyle>
            <a:lvl1pPr algn="l" defTabSz="1125472" rtl="0" eaLnBrk="1" latinLnBrk="0" hangingPunct="1">
              <a:lnSpc>
                <a:spcPct val="90000"/>
              </a:lnSpc>
              <a:spcBef>
                <a:spcPct val="0"/>
              </a:spcBef>
              <a:buNone/>
              <a:defRPr lang="en-US" sz="2200" b="0" i="0" kern="1200" dirty="0">
                <a:solidFill>
                  <a:schemeClr val="tx1"/>
                </a:solidFill>
                <a:latin typeface="+mj-lt"/>
                <a:ea typeface="+mj-ea"/>
                <a:cs typeface="Calibri" panose="020F0502020204030204" pitchFamily="34" charset="0"/>
              </a:defRPr>
            </a:lvl1pPr>
          </a:lstStyle>
          <a:p>
            <a:endParaRPr lang="en-US" b="0">
              <a:latin typeface="Ubuntu" panose="020B0504030602030204" pitchFamily="34" charset="0"/>
            </a:endParaRPr>
          </a:p>
        </p:txBody>
      </p:sp>
    </p:spTree>
    <p:extLst>
      <p:ext uri="{BB962C8B-B14F-4D97-AF65-F5344CB8AC3E}">
        <p14:creationId xmlns:p14="http://schemas.microsoft.com/office/powerpoint/2010/main" val="166404379"/>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ustom layout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69DF845-B0A5-CCEA-D5B2-13BAE38719CD}"/>
              </a:ext>
            </a:extLst>
          </p:cNvPr>
          <p:cNvSpPr>
            <a:spLocks noGrp="1"/>
          </p:cNvSpPr>
          <p:nvPr>
            <p:ph type="title"/>
          </p:nvPr>
        </p:nvSpPr>
        <p:spPr>
          <a:xfrm>
            <a:off x="468108" y="432674"/>
            <a:ext cx="11254154" cy="609600"/>
          </a:xfrm>
          <a:prstGeom prst="rect">
            <a:avLst/>
          </a:prstGeom>
        </p:spPr>
        <p:txBody>
          <a:bodyPr vert="horz" lIns="91440" tIns="45720" rIns="91440" bIns="45720" rtlCol="0" anchor="ctr">
            <a:noAutofit/>
          </a:bodyPr>
          <a:lstStyle>
            <a:lvl1pPr>
              <a:defRPr lang="en-US" sz="2200" dirty="0">
                <a:latin typeface="Ubuntu" panose="020B0504030602030204" pitchFamily="34" charset="0"/>
                <a:cs typeface="Calibri" panose="020F0502020204030204" pitchFamily="34" charset="0"/>
              </a:defRPr>
            </a:lvl1pPr>
          </a:lstStyle>
          <a:p>
            <a:pPr lvl="0"/>
            <a:r>
              <a:rPr lang="en-US"/>
              <a:t>Click to edit Master title style</a:t>
            </a:r>
          </a:p>
        </p:txBody>
      </p:sp>
      <p:sp>
        <p:nvSpPr>
          <p:cNvPr id="4" name="Text Placeholder 12">
            <a:extLst>
              <a:ext uri="{FF2B5EF4-FFF2-40B4-BE49-F238E27FC236}">
                <a16:creationId xmlns:a16="http://schemas.microsoft.com/office/drawing/2014/main" id="{CC7710E7-D9AE-EF94-0D6E-CAFC45761452}"/>
              </a:ext>
            </a:extLst>
          </p:cNvPr>
          <p:cNvSpPr>
            <a:spLocks noGrp="1"/>
          </p:cNvSpPr>
          <p:nvPr>
            <p:ph type="body" sz="quarter" idx="17" hasCustomPrompt="1"/>
          </p:nvPr>
        </p:nvSpPr>
        <p:spPr>
          <a:xfrm>
            <a:off x="468923" y="5974440"/>
            <a:ext cx="11254154" cy="24363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2" name="Isosceles Triangle 1">
            <a:extLst>
              <a:ext uri="{FF2B5EF4-FFF2-40B4-BE49-F238E27FC236}">
                <a16:creationId xmlns:a16="http://schemas.microsoft.com/office/drawing/2014/main" id="{FD6F9CB7-F464-59E3-C35E-4B99B68E9493}"/>
              </a:ext>
            </a:extLst>
          </p:cNvPr>
          <p:cNvSpPr/>
          <p:nvPr/>
        </p:nvSpPr>
        <p:spPr>
          <a:xfrm rot="16200000">
            <a:off x="1844237" y="2827319"/>
            <a:ext cx="1515352" cy="1362076"/>
          </a:xfrm>
          <a:prstGeom prst="triangle">
            <a:avLst/>
          </a:prstGeom>
          <a:gradFill>
            <a:gsLst>
              <a:gs pos="100000">
                <a:schemeClr val="bg1"/>
              </a:gs>
              <a:gs pos="61000">
                <a:schemeClr val="accent3">
                  <a:lumMod val="40000"/>
                  <a:lumOff val="60000"/>
                </a:schemeClr>
              </a:gs>
              <a:gs pos="0">
                <a:srgbClr val="7A8798"/>
              </a:gs>
            </a:gsLst>
            <a:lin ang="5400000" scaled="1"/>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5" name="TextBox 4">
            <a:extLst>
              <a:ext uri="{FF2B5EF4-FFF2-40B4-BE49-F238E27FC236}">
                <a16:creationId xmlns:a16="http://schemas.microsoft.com/office/drawing/2014/main" id="{25D08895-7216-358C-85AD-7F0EF5CC068E}"/>
              </a:ext>
            </a:extLst>
          </p:cNvPr>
          <p:cNvSpPr txBox="1"/>
          <p:nvPr/>
        </p:nvSpPr>
        <p:spPr>
          <a:xfrm>
            <a:off x="3537886" y="2758679"/>
            <a:ext cx="1886790" cy="731520"/>
          </a:xfrm>
          <a:prstGeom prst="rect">
            <a:avLst/>
          </a:prstGeom>
          <a:solidFill>
            <a:srgbClr val="C4C8DE"/>
          </a:solidFill>
        </p:spPr>
        <p:txBody>
          <a:bodyPr wrap="square" lIns="91440" rIns="9144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prstClr val="black"/>
                </a:solidFill>
                <a:effectLst/>
                <a:uLnTx/>
                <a:uFillTx/>
                <a:latin typeface="Ubuntu" panose="020B0504030602030204" pitchFamily="34" charset="0"/>
                <a:ea typeface="+mn-ea"/>
                <a:cs typeface="+mn-cs"/>
              </a:rPr>
              <a:t>Investering i flere prosjekter</a:t>
            </a:r>
            <a:endParaRPr kumimoji="0" lang="nb-NO" sz="12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6" name="TextBox 5">
            <a:extLst>
              <a:ext uri="{FF2B5EF4-FFF2-40B4-BE49-F238E27FC236}">
                <a16:creationId xmlns:a16="http://schemas.microsoft.com/office/drawing/2014/main" id="{9E9794DD-6305-F40E-60C2-A03B14E22073}"/>
              </a:ext>
            </a:extLst>
          </p:cNvPr>
          <p:cNvSpPr txBox="1"/>
          <p:nvPr/>
        </p:nvSpPr>
        <p:spPr>
          <a:xfrm>
            <a:off x="3681268" y="2758679"/>
            <a:ext cx="8061558" cy="731520"/>
          </a:xfrm>
          <a:prstGeom prst="rect">
            <a:avLst/>
          </a:prstGeom>
          <a:solidFill>
            <a:schemeClr val="accent3">
              <a:lumMod val="40000"/>
              <a:lumOff val="60000"/>
            </a:schemeClr>
          </a:solidFill>
        </p:spPr>
        <p:txBody>
          <a:bodyPr wrap="square" lIns="320040" rIns="9144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a:t>
            </a:r>
            <a:endParaRPr kumimoji="0" lang="nb-NO" sz="1400" b="1"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7" name="Oval 6">
            <a:extLst>
              <a:ext uri="{FF2B5EF4-FFF2-40B4-BE49-F238E27FC236}">
                <a16:creationId xmlns:a16="http://schemas.microsoft.com/office/drawing/2014/main" id="{5365317B-B644-61D4-A406-443B99AFB50F}"/>
              </a:ext>
            </a:extLst>
          </p:cNvPr>
          <p:cNvSpPr/>
          <p:nvPr/>
        </p:nvSpPr>
        <p:spPr>
          <a:xfrm>
            <a:off x="3175588" y="2758679"/>
            <a:ext cx="731520" cy="731520"/>
          </a:xfrm>
          <a:prstGeom prst="ellipse">
            <a:avLst/>
          </a:prstGeom>
          <a:solidFill>
            <a:srgbClr val="7A879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Ubuntu" panose="020B0504030602030204" pitchFamily="34" charset="0"/>
                <a:ea typeface="+mn-ea"/>
                <a:cs typeface="+mn-cs"/>
              </a:rPr>
              <a:t>3</a:t>
            </a:r>
          </a:p>
        </p:txBody>
      </p:sp>
      <p:sp>
        <p:nvSpPr>
          <p:cNvPr id="8" name="TextBox 7">
            <a:extLst>
              <a:ext uri="{FF2B5EF4-FFF2-40B4-BE49-F238E27FC236}">
                <a16:creationId xmlns:a16="http://schemas.microsoft.com/office/drawing/2014/main" id="{741915EB-A386-8B07-B028-D7F8B2071565}"/>
              </a:ext>
            </a:extLst>
          </p:cNvPr>
          <p:cNvSpPr txBox="1"/>
          <p:nvPr/>
        </p:nvSpPr>
        <p:spPr>
          <a:xfrm>
            <a:off x="3537887" y="3526513"/>
            <a:ext cx="1886789" cy="731520"/>
          </a:xfrm>
          <a:prstGeom prst="rect">
            <a:avLst/>
          </a:prstGeom>
          <a:solidFill>
            <a:srgbClr val="C4C8DE"/>
          </a:solidFill>
        </p:spPr>
        <p:txBody>
          <a:bodyPr wrap="square" lIns="91440" rIns="9144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prstClr val="black"/>
                </a:solidFill>
                <a:effectLst/>
                <a:uLnTx/>
                <a:uFillTx/>
                <a:latin typeface="Ubuntu" panose="020B0504030602030204" pitchFamily="34" charset="0"/>
                <a:ea typeface="+mn-ea"/>
                <a:cs typeface="+mn-cs"/>
              </a:rPr>
              <a:t>Oppkjøp av selskap</a:t>
            </a:r>
            <a:endParaRPr kumimoji="0" lang="nb-NO" sz="12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9" name="TextBox 8">
            <a:extLst>
              <a:ext uri="{FF2B5EF4-FFF2-40B4-BE49-F238E27FC236}">
                <a16:creationId xmlns:a16="http://schemas.microsoft.com/office/drawing/2014/main" id="{66182D92-9EB9-6B01-11D4-3B509B11B428}"/>
              </a:ext>
            </a:extLst>
          </p:cNvPr>
          <p:cNvSpPr txBox="1"/>
          <p:nvPr/>
        </p:nvSpPr>
        <p:spPr>
          <a:xfrm>
            <a:off x="3690794" y="3526513"/>
            <a:ext cx="8058294" cy="731520"/>
          </a:xfrm>
          <a:prstGeom prst="rect">
            <a:avLst/>
          </a:prstGeom>
          <a:solidFill>
            <a:schemeClr val="accent3">
              <a:lumMod val="40000"/>
              <a:lumOff val="60000"/>
            </a:schemeClr>
          </a:solidFill>
        </p:spPr>
        <p:txBody>
          <a:bodyPr wrap="square" lIns="320040" rIns="9144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a:t>
            </a:r>
            <a:endParaRPr kumimoji="0" lang="nb-NO" sz="1400" b="1"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10" name="Oval 9">
            <a:extLst>
              <a:ext uri="{FF2B5EF4-FFF2-40B4-BE49-F238E27FC236}">
                <a16:creationId xmlns:a16="http://schemas.microsoft.com/office/drawing/2014/main" id="{1EC808CF-7C42-22EB-13A1-6D25EAD39DD8}"/>
              </a:ext>
            </a:extLst>
          </p:cNvPr>
          <p:cNvSpPr/>
          <p:nvPr/>
        </p:nvSpPr>
        <p:spPr>
          <a:xfrm>
            <a:off x="3175588" y="3526513"/>
            <a:ext cx="731520" cy="731520"/>
          </a:xfrm>
          <a:prstGeom prst="ellipse">
            <a:avLst/>
          </a:prstGeom>
          <a:solidFill>
            <a:srgbClr val="7A8798"/>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Ubuntu" panose="020B0504030602030204" pitchFamily="34" charset="0"/>
                <a:ea typeface="+mn-ea"/>
                <a:cs typeface="+mn-cs"/>
              </a:rPr>
              <a:t>4</a:t>
            </a:r>
          </a:p>
        </p:txBody>
      </p:sp>
      <p:sp>
        <p:nvSpPr>
          <p:cNvPr id="11" name="Isosceles Triangle 10">
            <a:extLst>
              <a:ext uri="{FF2B5EF4-FFF2-40B4-BE49-F238E27FC236}">
                <a16:creationId xmlns:a16="http://schemas.microsoft.com/office/drawing/2014/main" id="{64544B99-40F4-C874-6871-BEC1ADCB0725}"/>
              </a:ext>
            </a:extLst>
          </p:cNvPr>
          <p:cNvSpPr/>
          <p:nvPr/>
        </p:nvSpPr>
        <p:spPr>
          <a:xfrm rot="16200000">
            <a:off x="1844237" y="4417994"/>
            <a:ext cx="1515352" cy="1362076"/>
          </a:xfrm>
          <a:prstGeom prst="triangle">
            <a:avLst/>
          </a:prstGeom>
          <a:gradFill>
            <a:gsLst>
              <a:gs pos="68000">
                <a:schemeClr val="bg2">
                  <a:lumMod val="90000"/>
                </a:schemeClr>
              </a:gs>
              <a:gs pos="100000">
                <a:schemeClr val="bg1">
                  <a:lumMod val="95000"/>
                </a:schemeClr>
              </a:gs>
              <a:gs pos="0">
                <a:schemeClr val="bg2">
                  <a:lumMod val="50000"/>
                </a:schemeClr>
              </a:gs>
            </a:gsLst>
            <a:lin ang="5400000" scaled="1"/>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12" name="TextBox 11">
            <a:extLst>
              <a:ext uri="{FF2B5EF4-FFF2-40B4-BE49-F238E27FC236}">
                <a16:creationId xmlns:a16="http://schemas.microsoft.com/office/drawing/2014/main" id="{7F68EFE1-8B3E-30A7-3B11-FA2C40681429}"/>
              </a:ext>
            </a:extLst>
          </p:cNvPr>
          <p:cNvSpPr txBox="1"/>
          <p:nvPr/>
        </p:nvSpPr>
        <p:spPr>
          <a:xfrm>
            <a:off x="3537886" y="4349354"/>
            <a:ext cx="1886790" cy="731520"/>
          </a:xfrm>
          <a:prstGeom prst="rect">
            <a:avLst/>
          </a:prstGeom>
          <a:solidFill>
            <a:srgbClr val="E6E6E6"/>
          </a:solidFill>
        </p:spPr>
        <p:txBody>
          <a:bodyPr wrap="square" lIns="91440" rIns="9144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prstClr val="black"/>
                </a:solidFill>
                <a:effectLst/>
                <a:uLnTx/>
                <a:uFillTx/>
                <a:latin typeface="Ubuntu" panose="020B0504030602030204" pitchFamily="34" charset="0"/>
                <a:ea typeface="+mn-ea"/>
                <a:cs typeface="+mn-cs"/>
              </a:rPr>
              <a:t>Investering i flere prosjekter</a:t>
            </a:r>
            <a:endParaRPr kumimoji="0" lang="nb-NO" sz="12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13" name="TextBox 12">
            <a:extLst>
              <a:ext uri="{FF2B5EF4-FFF2-40B4-BE49-F238E27FC236}">
                <a16:creationId xmlns:a16="http://schemas.microsoft.com/office/drawing/2014/main" id="{53B47823-3772-48ED-FAE8-E104331CD28F}"/>
              </a:ext>
            </a:extLst>
          </p:cNvPr>
          <p:cNvSpPr txBox="1"/>
          <p:nvPr/>
        </p:nvSpPr>
        <p:spPr>
          <a:xfrm>
            <a:off x="3690794" y="4349354"/>
            <a:ext cx="8058294" cy="731520"/>
          </a:xfrm>
          <a:prstGeom prst="rect">
            <a:avLst/>
          </a:prstGeom>
          <a:solidFill>
            <a:schemeClr val="bg2"/>
          </a:solidFill>
        </p:spPr>
        <p:txBody>
          <a:bodyPr wrap="square" lIns="320040" rIns="9144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a:t>
            </a:r>
            <a:endParaRPr kumimoji="0" lang="nb-NO" sz="1400" b="1"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15" name="TextBox 14">
            <a:extLst>
              <a:ext uri="{FF2B5EF4-FFF2-40B4-BE49-F238E27FC236}">
                <a16:creationId xmlns:a16="http://schemas.microsoft.com/office/drawing/2014/main" id="{8F7AC4F9-E6B9-DF32-F9EF-DB8BCBF2D3B9}"/>
              </a:ext>
            </a:extLst>
          </p:cNvPr>
          <p:cNvSpPr txBox="1"/>
          <p:nvPr/>
        </p:nvSpPr>
        <p:spPr>
          <a:xfrm>
            <a:off x="3537887" y="5117188"/>
            <a:ext cx="1886789" cy="731520"/>
          </a:xfrm>
          <a:prstGeom prst="rect">
            <a:avLst/>
          </a:prstGeom>
          <a:solidFill>
            <a:srgbClr val="E6E6E6"/>
          </a:solidFill>
        </p:spPr>
        <p:txBody>
          <a:bodyPr wrap="square" lIns="91440" rIns="9144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prstClr val="black"/>
                </a:solidFill>
                <a:effectLst/>
                <a:uLnTx/>
                <a:uFillTx/>
                <a:latin typeface="Ubuntu" panose="020B0504030602030204" pitchFamily="34" charset="0"/>
                <a:ea typeface="+mn-ea"/>
                <a:cs typeface="+mn-cs"/>
              </a:rPr>
              <a:t>Oppkjøp av selskap</a:t>
            </a:r>
            <a:endParaRPr kumimoji="0" lang="nb-NO" sz="12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16" name="TextBox 15">
            <a:extLst>
              <a:ext uri="{FF2B5EF4-FFF2-40B4-BE49-F238E27FC236}">
                <a16:creationId xmlns:a16="http://schemas.microsoft.com/office/drawing/2014/main" id="{8C7513C6-C1B9-983A-4FA7-D5EE27E0B6E3}"/>
              </a:ext>
            </a:extLst>
          </p:cNvPr>
          <p:cNvSpPr txBox="1"/>
          <p:nvPr/>
        </p:nvSpPr>
        <p:spPr>
          <a:xfrm>
            <a:off x="3690794" y="5117188"/>
            <a:ext cx="8058294" cy="731520"/>
          </a:xfrm>
          <a:prstGeom prst="rect">
            <a:avLst/>
          </a:prstGeom>
          <a:solidFill>
            <a:schemeClr val="bg2"/>
          </a:solidFill>
        </p:spPr>
        <p:txBody>
          <a:bodyPr wrap="square" lIns="320040" rIns="9144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a:t>
            </a:r>
          </a:p>
        </p:txBody>
      </p:sp>
      <p:sp>
        <p:nvSpPr>
          <p:cNvPr id="19" name="Isosceles Triangle 18">
            <a:extLst>
              <a:ext uri="{FF2B5EF4-FFF2-40B4-BE49-F238E27FC236}">
                <a16:creationId xmlns:a16="http://schemas.microsoft.com/office/drawing/2014/main" id="{523A2A5E-163A-8E15-C5E9-DDE2B0EA2A22}"/>
              </a:ext>
            </a:extLst>
          </p:cNvPr>
          <p:cNvSpPr/>
          <p:nvPr/>
        </p:nvSpPr>
        <p:spPr>
          <a:xfrm rot="16200000">
            <a:off x="1844237" y="1236644"/>
            <a:ext cx="1515352" cy="1362076"/>
          </a:xfrm>
          <a:prstGeom prst="triangle">
            <a:avLst/>
          </a:prstGeom>
          <a:gradFill>
            <a:gsLst>
              <a:gs pos="100000">
                <a:schemeClr val="bg1"/>
              </a:gs>
              <a:gs pos="70000">
                <a:schemeClr val="accent2">
                  <a:lumMod val="10000"/>
                  <a:lumOff val="90000"/>
                </a:schemeClr>
              </a:gs>
              <a:gs pos="0">
                <a:schemeClr val="accent2"/>
              </a:gs>
            </a:gsLst>
            <a:lin ang="5400000" scaled="1"/>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20" name="TextBox 19">
            <a:extLst>
              <a:ext uri="{FF2B5EF4-FFF2-40B4-BE49-F238E27FC236}">
                <a16:creationId xmlns:a16="http://schemas.microsoft.com/office/drawing/2014/main" id="{5567EC28-0EE7-79AB-1828-356C95677AC7}"/>
              </a:ext>
            </a:extLst>
          </p:cNvPr>
          <p:cNvSpPr txBox="1"/>
          <p:nvPr/>
        </p:nvSpPr>
        <p:spPr>
          <a:xfrm>
            <a:off x="3537886" y="1168004"/>
            <a:ext cx="1886790" cy="731520"/>
          </a:xfrm>
          <a:prstGeom prst="rect">
            <a:avLst/>
          </a:prstGeom>
          <a:solidFill>
            <a:srgbClr val="C4C8DE"/>
          </a:solidFill>
        </p:spPr>
        <p:txBody>
          <a:bodyPr wrap="square" lIns="91440" rIns="9144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prstClr val="black"/>
                </a:solidFill>
                <a:effectLst/>
                <a:uLnTx/>
                <a:uFillTx/>
                <a:latin typeface="Ubuntu" panose="020B0504030602030204" pitchFamily="34" charset="0"/>
                <a:ea typeface="+mn-ea"/>
                <a:cs typeface="+mn-cs"/>
              </a:rPr>
              <a:t>Investering i flere prosjekter</a:t>
            </a:r>
            <a:endParaRPr kumimoji="0" lang="nb-NO" sz="12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21" name="TextBox 20">
            <a:extLst>
              <a:ext uri="{FF2B5EF4-FFF2-40B4-BE49-F238E27FC236}">
                <a16:creationId xmlns:a16="http://schemas.microsoft.com/office/drawing/2014/main" id="{8B4E6903-D349-D4F8-E37B-A8F76464C4D1}"/>
              </a:ext>
            </a:extLst>
          </p:cNvPr>
          <p:cNvSpPr txBox="1"/>
          <p:nvPr/>
        </p:nvSpPr>
        <p:spPr>
          <a:xfrm>
            <a:off x="3681268" y="1168004"/>
            <a:ext cx="8061558" cy="731520"/>
          </a:xfrm>
          <a:prstGeom prst="rect">
            <a:avLst/>
          </a:prstGeom>
          <a:solidFill>
            <a:schemeClr val="tx2">
              <a:lumMod val="40000"/>
              <a:lumOff val="60000"/>
            </a:schemeClr>
          </a:solidFill>
        </p:spPr>
        <p:txBody>
          <a:bodyPr wrap="square" lIns="320040" rIns="9144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a:t>
            </a:r>
            <a:endParaRPr kumimoji="0" lang="nb-NO" sz="1400" b="1"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22" name="Oval 21">
            <a:extLst>
              <a:ext uri="{FF2B5EF4-FFF2-40B4-BE49-F238E27FC236}">
                <a16:creationId xmlns:a16="http://schemas.microsoft.com/office/drawing/2014/main" id="{50AC6474-03D1-B17E-D205-84773989B718}"/>
              </a:ext>
            </a:extLst>
          </p:cNvPr>
          <p:cNvSpPr/>
          <p:nvPr/>
        </p:nvSpPr>
        <p:spPr>
          <a:xfrm>
            <a:off x="3175588" y="1168004"/>
            <a:ext cx="731520" cy="73152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Ubuntu" panose="020B0504030602030204" pitchFamily="34" charset="0"/>
                <a:ea typeface="+mn-ea"/>
                <a:cs typeface="+mn-cs"/>
              </a:rPr>
              <a:t>1</a:t>
            </a:r>
          </a:p>
        </p:txBody>
      </p:sp>
      <p:sp>
        <p:nvSpPr>
          <p:cNvPr id="23" name="TextBox 22">
            <a:extLst>
              <a:ext uri="{FF2B5EF4-FFF2-40B4-BE49-F238E27FC236}">
                <a16:creationId xmlns:a16="http://schemas.microsoft.com/office/drawing/2014/main" id="{AB8E61C0-1F12-FE8D-A965-20531C2E8977}"/>
              </a:ext>
            </a:extLst>
          </p:cNvPr>
          <p:cNvSpPr txBox="1"/>
          <p:nvPr/>
        </p:nvSpPr>
        <p:spPr>
          <a:xfrm>
            <a:off x="3537887" y="1935838"/>
            <a:ext cx="1886789" cy="731520"/>
          </a:xfrm>
          <a:prstGeom prst="rect">
            <a:avLst/>
          </a:prstGeom>
          <a:solidFill>
            <a:srgbClr val="C4C8DE"/>
          </a:solidFill>
        </p:spPr>
        <p:txBody>
          <a:bodyPr wrap="square" lIns="91440" rIns="91440" rtlCol="0"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prstClr val="black"/>
                </a:solidFill>
                <a:effectLst/>
                <a:uLnTx/>
                <a:uFillTx/>
                <a:latin typeface="Ubuntu" panose="020B0504030602030204" pitchFamily="34" charset="0"/>
                <a:ea typeface="+mn-ea"/>
                <a:cs typeface="+mn-cs"/>
              </a:rPr>
              <a:t>Oppkjøp av selskap</a:t>
            </a:r>
            <a:endParaRPr kumimoji="0" lang="nb-NO" sz="12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24" name="TextBox 23">
            <a:extLst>
              <a:ext uri="{FF2B5EF4-FFF2-40B4-BE49-F238E27FC236}">
                <a16:creationId xmlns:a16="http://schemas.microsoft.com/office/drawing/2014/main" id="{6A7117FD-3CF0-7F12-0544-67E84ACB5AA1}"/>
              </a:ext>
            </a:extLst>
          </p:cNvPr>
          <p:cNvSpPr txBox="1"/>
          <p:nvPr/>
        </p:nvSpPr>
        <p:spPr>
          <a:xfrm>
            <a:off x="3742565" y="1935838"/>
            <a:ext cx="8001077" cy="731520"/>
          </a:xfrm>
          <a:prstGeom prst="rect">
            <a:avLst/>
          </a:prstGeom>
          <a:solidFill>
            <a:schemeClr val="tx2">
              <a:lumMod val="40000"/>
              <a:lumOff val="60000"/>
            </a:schemeClr>
          </a:solidFill>
        </p:spPr>
        <p:txBody>
          <a:bodyPr wrap="square" lIns="320040" rIns="9144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Ubuntu" panose="020B0504030602030204" pitchFamily="34" charset="0"/>
                <a:ea typeface="+mn-ea"/>
                <a:cs typeface="Arial" panose="020B0604020202020204" pitchFamily="34" charset="0"/>
              </a:rPr>
              <a:t>…</a:t>
            </a:r>
            <a:endParaRPr kumimoji="0" lang="nb-NO" sz="1400" b="1"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25" name="Oval 24">
            <a:extLst>
              <a:ext uri="{FF2B5EF4-FFF2-40B4-BE49-F238E27FC236}">
                <a16:creationId xmlns:a16="http://schemas.microsoft.com/office/drawing/2014/main" id="{F89C872B-6E17-6520-BCB5-79242C2CE9F3}"/>
              </a:ext>
            </a:extLst>
          </p:cNvPr>
          <p:cNvSpPr/>
          <p:nvPr/>
        </p:nvSpPr>
        <p:spPr>
          <a:xfrm>
            <a:off x="3175588" y="1935838"/>
            <a:ext cx="731520" cy="73152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Ubuntu" panose="020B0504030602030204" pitchFamily="34" charset="0"/>
                <a:ea typeface="+mn-ea"/>
                <a:cs typeface="+mn-cs"/>
              </a:rPr>
              <a:t>2</a:t>
            </a:r>
          </a:p>
        </p:txBody>
      </p:sp>
      <p:sp>
        <p:nvSpPr>
          <p:cNvPr id="30" name="Rectangle: Rounded Corners 29">
            <a:extLst>
              <a:ext uri="{FF2B5EF4-FFF2-40B4-BE49-F238E27FC236}">
                <a16:creationId xmlns:a16="http://schemas.microsoft.com/office/drawing/2014/main" id="{285505E8-F4D9-E248-30AA-B8AA9B20F25F}"/>
              </a:ext>
            </a:extLst>
          </p:cNvPr>
          <p:cNvSpPr/>
          <p:nvPr/>
        </p:nvSpPr>
        <p:spPr>
          <a:xfrm>
            <a:off x="448358" y="1194814"/>
            <a:ext cx="2022353" cy="1495964"/>
          </a:xfrm>
          <a:prstGeom prst="round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400" b="1" i="0" u="none" strike="noStrike" kern="1200" cap="none" spc="0" normalizeH="0" baseline="0" noProof="0">
              <a:ln>
                <a:noFill/>
              </a:ln>
              <a:solidFill>
                <a:prstClr val="white"/>
              </a:solidFill>
              <a:effectLst/>
              <a:uLnTx/>
              <a:uFillTx/>
              <a:latin typeface="Ubuntu" panose="020B0504030602030204" pitchFamily="34"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prstClr val="white"/>
                </a:solidFill>
                <a:effectLst/>
                <a:uLnTx/>
                <a:uFillTx/>
                <a:latin typeface="Ubuntu" panose="020B0504030602030204" pitchFamily="34" charset="0"/>
                <a:ea typeface="+mn-ea"/>
                <a:cs typeface="+mn-cs"/>
              </a:rPr>
              <a:t>...</a:t>
            </a:r>
          </a:p>
        </p:txBody>
      </p:sp>
      <p:sp>
        <p:nvSpPr>
          <p:cNvPr id="31" name="Rectangle: Rounded Corners 30">
            <a:extLst>
              <a:ext uri="{FF2B5EF4-FFF2-40B4-BE49-F238E27FC236}">
                <a16:creationId xmlns:a16="http://schemas.microsoft.com/office/drawing/2014/main" id="{149B73FA-9CE4-F502-C68D-F7F01BD09524}"/>
              </a:ext>
            </a:extLst>
          </p:cNvPr>
          <p:cNvSpPr/>
          <p:nvPr/>
        </p:nvSpPr>
        <p:spPr>
          <a:xfrm>
            <a:off x="448358" y="4308623"/>
            <a:ext cx="2022353" cy="1495964"/>
          </a:xfrm>
          <a:prstGeom prst="round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400" b="1" i="0" u="none" strike="noStrike" kern="1200" cap="none" spc="0" normalizeH="0" baseline="0" noProof="0">
              <a:ln>
                <a:noFill/>
              </a:ln>
              <a:solidFill>
                <a:prstClr val="white"/>
              </a:solidFill>
              <a:effectLst/>
              <a:uLnTx/>
              <a:uFillTx/>
              <a:latin typeface="Ubuntu" panose="020B0504030602030204" pitchFamily="34"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prstClr val="white"/>
                </a:solidFill>
                <a:effectLst/>
                <a:uLnTx/>
                <a:uFillTx/>
                <a:latin typeface="Ubuntu" panose="020B0504030602030204" pitchFamily="34" charset="0"/>
                <a:ea typeface="+mn-ea"/>
                <a:cs typeface="+mn-cs"/>
              </a:rPr>
              <a:t>...</a:t>
            </a:r>
          </a:p>
        </p:txBody>
      </p:sp>
      <p:sp>
        <p:nvSpPr>
          <p:cNvPr id="32" name="Rectangle: Rounded Corners 31">
            <a:extLst>
              <a:ext uri="{FF2B5EF4-FFF2-40B4-BE49-F238E27FC236}">
                <a16:creationId xmlns:a16="http://schemas.microsoft.com/office/drawing/2014/main" id="{7D61402D-B3F5-E6CF-0819-5D0E92BC2A47}"/>
              </a:ext>
            </a:extLst>
          </p:cNvPr>
          <p:cNvSpPr/>
          <p:nvPr/>
        </p:nvSpPr>
        <p:spPr>
          <a:xfrm>
            <a:off x="448358" y="2756048"/>
            <a:ext cx="2022353" cy="1495964"/>
          </a:xfrm>
          <a:prstGeom prst="roundRect">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400" b="1" i="0" u="none" strike="noStrike" kern="1200" cap="none" spc="0" normalizeH="0" baseline="0" noProof="0">
              <a:ln>
                <a:noFill/>
              </a:ln>
              <a:solidFill>
                <a:prstClr val="white"/>
              </a:solidFill>
              <a:effectLst/>
              <a:uLnTx/>
              <a:uFillTx/>
              <a:latin typeface="Ubuntu" panose="020B0504030602030204" pitchFamily="34"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prstClr val="white"/>
                </a:solidFill>
                <a:effectLst/>
                <a:uLnTx/>
                <a:uFillTx/>
                <a:latin typeface="Ubuntu" panose="020B0504030602030204" pitchFamily="34" charset="0"/>
                <a:ea typeface="+mn-ea"/>
                <a:cs typeface="+mn-cs"/>
              </a:rPr>
              <a:t>…</a:t>
            </a:r>
          </a:p>
        </p:txBody>
      </p:sp>
      <p:sp>
        <p:nvSpPr>
          <p:cNvPr id="18" name="Oval 17">
            <a:extLst>
              <a:ext uri="{FF2B5EF4-FFF2-40B4-BE49-F238E27FC236}">
                <a16:creationId xmlns:a16="http://schemas.microsoft.com/office/drawing/2014/main" id="{0B7FCE70-924A-CE5B-49FF-2259B1467294}"/>
              </a:ext>
            </a:extLst>
          </p:cNvPr>
          <p:cNvSpPr/>
          <p:nvPr/>
        </p:nvSpPr>
        <p:spPr>
          <a:xfrm>
            <a:off x="3175588" y="4349354"/>
            <a:ext cx="731520" cy="731520"/>
          </a:xfrm>
          <a:prstGeom prst="ellipse">
            <a:avLst/>
          </a:prstGeom>
          <a:solidFill>
            <a:srgbClr val="7F7F7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Ubuntu" panose="020B0504030602030204" pitchFamily="34" charset="0"/>
                <a:ea typeface="+mn-ea"/>
                <a:cs typeface="+mn-cs"/>
              </a:rPr>
              <a:t>5</a:t>
            </a:r>
          </a:p>
        </p:txBody>
      </p:sp>
      <p:sp>
        <p:nvSpPr>
          <p:cNvPr id="26" name="Oval 25">
            <a:extLst>
              <a:ext uri="{FF2B5EF4-FFF2-40B4-BE49-F238E27FC236}">
                <a16:creationId xmlns:a16="http://schemas.microsoft.com/office/drawing/2014/main" id="{E64EC851-5844-BC7A-09F2-7B28BC680222}"/>
              </a:ext>
            </a:extLst>
          </p:cNvPr>
          <p:cNvSpPr/>
          <p:nvPr/>
        </p:nvSpPr>
        <p:spPr>
          <a:xfrm>
            <a:off x="3175588" y="5117188"/>
            <a:ext cx="731520" cy="731520"/>
          </a:xfrm>
          <a:prstGeom prst="ellipse">
            <a:avLst/>
          </a:prstGeom>
          <a:solidFill>
            <a:srgbClr val="7F7F7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Ubuntu" panose="020B0504030602030204" pitchFamily="34" charset="0"/>
                <a:ea typeface="+mn-ea"/>
                <a:cs typeface="+mn-cs"/>
              </a:rPr>
              <a:t>6</a:t>
            </a:r>
          </a:p>
        </p:txBody>
      </p:sp>
    </p:spTree>
    <p:extLst>
      <p:ext uri="{BB962C8B-B14F-4D97-AF65-F5344CB8AC3E}">
        <p14:creationId xmlns:p14="http://schemas.microsoft.com/office/powerpoint/2010/main" val="1123151243"/>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ustom layou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69DF845-B0A5-CCEA-D5B2-13BAE38719CD}"/>
              </a:ext>
            </a:extLst>
          </p:cNvPr>
          <p:cNvSpPr>
            <a:spLocks noGrp="1"/>
          </p:cNvSpPr>
          <p:nvPr>
            <p:ph type="title"/>
          </p:nvPr>
        </p:nvSpPr>
        <p:spPr>
          <a:xfrm>
            <a:off x="468108" y="432674"/>
            <a:ext cx="11254154" cy="609600"/>
          </a:xfrm>
          <a:prstGeom prst="rect">
            <a:avLst/>
          </a:prstGeom>
        </p:spPr>
        <p:txBody>
          <a:bodyPr vert="horz" lIns="91440" tIns="45720" rIns="91440" bIns="45720" rtlCol="0" anchor="ctr">
            <a:noAutofit/>
          </a:bodyPr>
          <a:lstStyle>
            <a:lvl1pPr>
              <a:defRPr lang="en-US" sz="2200" dirty="0">
                <a:latin typeface="Ubuntu" panose="020B0504030602030204" pitchFamily="34" charset="0"/>
                <a:cs typeface="Calibri" panose="020F0502020204030204" pitchFamily="34" charset="0"/>
              </a:defRPr>
            </a:lvl1pPr>
          </a:lstStyle>
          <a:p>
            <a:pPr lvl="0"/>
            <a:r>
              <a:rPr lang="en-US"/>
              <a:t>Click to edit Master title style</a:t>
            </a:r>
          </a:p>
        </p:txBody>
      </p:sp>
      <p:sp>
        <p:nvSpPr>
          <p:cNvPr id="4" name="Text Placeholder 12">
            <a:extLst>
              <a:ext uri="{FF2B5EF4-FFF2-40B4-BE49-F238E27FC236}">
                <a16:creationId xmlns:a16="http://schemas.microsoft.com/office/drawing/2014/main" id="{CC7710E7-D9AE-EF94-0D6E-CAFC45761452}"/>
              </a:ext>
            </a:extLst>
          </p:cNvPr>
          <p:cNvSpPr>
            <a:spLocks noGrp="1"/>
          </p:cNvSpPr>
          <p:nvPr>
            <p:ph type="body" sz="quarter" idx="17" hasCustomPrompt="1"/>
          </p:nvPr>
        </p:nvSpPr>
        <p:spPr>
          <a:xfrm>
            <a:off x="468923" y="5974440"/>
            <a:ext cx="11254154" cy="24363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2" name="Isosceles Triangle 1">
            <a:extLst>
              <a:ext uri="{FF2B5EF4-FFF2-40B4-BE49-F238E27FC236}">
                <a16:creationId xmlns:a16="http://schemas.microsoft.com/office/drawing/2014/main" id="{AB2DEAC7-D625-AF32-D739-A3C8BCA9A07A}"/>
              </a:ext>
            </a:extLst>
          </p:cNvPr>
          <p:cNvSpPr/>
          <p:nvPr/>
        </p:nvSpPr>
        <p:spPr>
          <a:xfrm rot="16200000">
            <a:off x="169647" y="1697588"/>
            <a:ext cx="4374359" cy="3585796"/>
          </a:xfrm>
          <a:prstGeom prst="triangle">
            <a:avLst/>
          </a:prstGeom>
          <a:gradFill>
            <a:gsLst>
              <a:gs pos="100000">
                <a:schemeClr val="bg1"/>
              </a:gs>
              <a:gs pos="70000">
                <a:schemeClr val="tx2">
                  <a:lumMod val="40000"/>
                  <a:lumOff val="60000"/>
                </a:schemeClr>
              </a:gs>
              <a:gs pos="0">
                <a:schemeClr val="tx2"/>
              </a:gs>
            </a:gsLst>
            <a:lin ang="5400000" scaled="1"/>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0000"/>
              </a:solidFill>
              <a:latin typeface="Ubuntu" panose="020B0504030602030204" pitchFamily="34" charset="0"/>
            </a:endParaRPr>
          </a:p>
        </p:txBody>
      </p:sp>
      <p:sp>
        <p:nvSpPr>
          <p:cNvPr id="11" name="Oval 10">
            <a:extLst>
              <a:ext uri="{FF2B5EF4-FFF2-40B4-BE49-F238E27FC236}">
                <a16:creationId xmlns:a16="http://schemas.microsoft.com/office/drawing/2014/main" id="{42ACACCC-76E4-F671-FBD7-DA224A3C0A80}"/>
              </a:ext>
            </a:extLst>
          </p:cNvPr>
          <p:cNvSpPr/>
          <p:nvPr/>
        </p:nvSpPr>
        <p:spPr>
          <a:xfrm>
            <a:off x="449981" y="2416208"/>
            <a:ext cx="2160000" cy="2160000"/>
          </a:xfrm>
          <a:prstGeom prst="ellipse">
            <a:avLst/>
          </a:prstGeom>
          <a:solidFill>
            <a:schemeClr val="bg1"/>
          </a:solidFill>
          <a:ln w="349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00">
              <a:solidFill>
                <a:srgbClr val="000000"/>
              </a:solidFill>
              <a:latin typeface="Ubuntu" panose="020B0504030602030204" pitchFamily="34" charset="0"/>
            </a:endParaRPr>
          </a:p>
        </p:txBody>
      </p:sp>
      <p:sp>
        <p:nvSpPr>
          <p:cNvPr id="12" name="TextBox 11">
            <a:extLst>
              <a:ext uri="{FF2B5EF4-FFF2-40B4-BE49-F238E27FC236}">
                <a16:creationId xmlns:a16="http://schemas.microsoft.com/office/drawing/2014/main" id="{38F6BF1A-76D7-C9E7-F17B-E49C1ACA3DEB}"/>
              </a:ext>
            </a:extLst>
          </p:cNvPr>
          <p:cNvSpPr txBox="1"/>
          <p:nvPr/>
        </p:nvSpPr>
        <p:spPr>
          <a:xfrm>
            <a:off x="634819" y="3336597"/>
            <a:ext cx="1790324" cy="307777"/>
          </a:xfrm>
          <a:prstGeom prst="rect">
            <a:avLst/>
          </a:prstGeom>
          <a:noFill/>
        </p:spPr>
        <p:txBody>
          <a:bodyPr wrap="square">
            <a:spAutoFit/>
          </a:bodyPr>
          <a:lstStyle/>
          <a:p>
            <a:pPr algn="ctr"/>
            <a:r>
              <a:rPr lang="nb-NO" sz="1400" b="1">
                <a:solidFill>
                  <a:schemeClr val="tx2"/>
                </a:solidFill>
                <a:latin typeface="Ubuntu" panose="020B0504030602030204" pitchFamily="34" charset="0"/>
              </a:rPr>
              <a:t>...</a:t>
            </a:r>
          </a:p>
        </p:txBody>
      </p:sp>
      <p:graphicFrame>
        <p:nvGraphicFramePr>
          <p:cNvPr id="44" name="Table 27">
            <a:extLst>
              <a:ext uri="{FF2B5EF4-FFF2-40B4-BE49-F238E27FC236}">
                <a16:creationId xmlns:a16="http://schemas.microsoft.com/office/drawing/2014/main" id="{047C2915-1B5E-E68A-4945-C4184246EFCF}"/>
              </a:ext>
            </a:extLst>
          </p:cNvPr>
          <p:cNvGraphicFramePr>
            <a:graphicFrameLocks noGrp="1"/>
          </p:cNvGraphicFramePr>
          <p:nvPr>
            <p:extLst>
              <p:ext uri="{D42A27DB-BD31-4B8C-83A1-F6EECF244321}">
                <p14:modId xmlns:p14="http://schemas.microsoft.com/office/powerpoint/2010/main" val="2015876450"/>
              </p:ext>
            </p:extLst>
          </p:nvPr>
        </p:nvGraphicFramePr>
        <p:xfrm>
          <a:off x="4220617" y="1293677"/>
          <a:ext cx="7528472" cy="4380680"/>
        </p:xfrm>
        <a:graphic>
          <a:graphicData uri="http://schemas.openxmlformats.org/drawingml/2006/table">
            <a:tbl>
              <a:tblPr>
                <a:tableStyleId>{5C22544A-7EE6-4342-B048-85BDC9FD1C3A}</a:tableStyleId>
              </a:tblPr>
              <a:tblGrid>
                <a:gridCol w="2187223">
                  <a:extLst>
                    <a:ext uri="{9D8B030D-6E8A-4147-A177-3AD203B41FA5}">
                      <a16:colId xmlns:a16="http://schemas.microsoft.com/office/drawing/2014/main" val="3364242077"/>
                    </a:ext>
                  </a:extLst>
                </a:gridCol>
                <a:gridCol w="5341249">
                  <a:extLst>
                    <a:ext uri="{9D8B030D-6E8A-4147-A177-3AD203B41FA5}">
                      <a16:colId xmlns:a16="http://schemas.microsoft.com/office/drawing/2014/main" val="2831362180"/>
                    </a:ext>
                  </a:extLst>
                </a:gridCol>
              </a:tblGrid>
              <a:tr h="876136">
                <a:tc>
                  <a:txBody>
                    <a:bodyPr/>
                    <a:lstStyle/>
                    <a:p>
                      <a:pPr algn="ctr"/>
                      <a:r>
                        <a:rPr lang="nb-NO" sz="1400">
                          <a:latin typeface="Ubuntu" panose="020B0504030602030204" pitchFamily="34" charset="0"/>
                        </a:rPr>
                        <a:t>...</a:t>
                      </a:r>
                      <a:endParaRPr lang="en-US" sz="1400">
                        <a:latin typeface="Ubuntu" panose="020B0504030602030204" pitchFamily="34" charset="0"/>
                      </a:endParaRPr>
                    </a:p>
                  </a:txBody>
                  <a:tcPr anchor="ct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endParaRPr lang="en-US" sz="1200">
                        <a:solidFill>
                          <a:schemeClr val="tx1"/>
                        </a:solidFill>
                        <a:latin typeface="Ubuntu" panose="020B0504030602030204" pitchFamily="34" charset="0"/>
                      </a:endParaRPr>
                    </a:p>
                  </a:txBody>
                  <a:tcP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3622354226"/>
                  </a:ext>
                </a:extLst>
              </a:tr>
              <a:tr h="876136">
                <a:tc>
                  <a:txBody>
                    <a:bodyPr/>
                    <a:lstStyle/>
                    <a:p>
                      <a:pPr algn="ctr"/>
                      <a:endParaRPr lang="en-US" sz="1400">
                        <a:latin typeface="Ubuntu" panose="020B0504030602030204" pitchFamily="34" charset="0"/>
                      </a:endParaRPr>
                    </a:p>
                  </a:txBody>
                  <a:tcPr anchor="ct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endParaRPr lang="en-US" sz="1200">
                        <a:solidFill>
                          <a:schemeClr val="tx1"/>
                        </a:solidFill>
                        <a:latin typeface="Ubuntu" panose="020B0504030602030204" pitchFamily="34" charset="0"/>
                      </a:endParaRPr>
                    </a:p>
                  </a:txBody>
                  <a:tcP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4111953350"/>
                  </a:ext>
                </a:extLst>
              </a:tr>
              <a:tr h="876136">
                <a:tc>
                  <a:txBody>
                    <a:bodyPr/>
                    <a:lstStyle/>
                    <a:p>
                      <a:pPr algn="ctr"/>
                      <a:r>
                        <a:rPr lang="nb-NO" sz="1400" kern="1200">
                          <a:solidFill>
                            <a:schemeClr val="dk1"/>
                          </a:solidFill>
                          <a:latin typeface="Ubuntu" panose="020B0504030602030204" pitchFamily="34" charset="0"/>
                          <a:ea typeface="+mn-ea"/>
                          <a:cs typeface="+mn-cs"/>
                        </a:rPr>
                        <a:t>...</a:t>
                      </a:r>
                      <a:endParaRPr lang="en-US" sz="1400">
                        <a:latin typeface="Ubuntu" panose="020B0504030602030204" pitchFamily="34" charset="0"/>
                      </a:endParaRPr>
                    </a:p>
                  </a:txBody>
                  <a:tcPr anchor="ct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endParaRPr lang="en-US" sz="1200">
                        <a:solidFill>
                          <a:schemeClr val="tx1"/>
                        </a:solidFill>
                        <a:latin typeface="Ubuntu" panose="020B0504030602030204" pitchFamily="34" charset="0"/>
                      </a:endParaRPr>
                    </a:p>
                  </a:txBody>
                  <a:tcP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2236995110"/>
                  </a:ext>
                </a:extLst>
              </a:tr>
              <a:tr h="876136">
                <a:tc>
                  <a:txBody>
                    <a:bodyPr/>
                    <a:lstStyle/>
                    <a:p>
                      <a:pPr algn="ctr"/>
                      <a:r>
                        <a:rPr lang="nb-NO" sz="1400" kern="1200">
                          <a:solidFill>
                            <a:schemeClr val="dk1"/>
                          </a:solidFill>
                          <a:latin typeface="Ubuntu" panose="020B0504030602030204" pitchFamily="34" charset="0"/>
                          <a:ea typeface="+mn-ea"/>
                          <a:cs typeface="+mn-cs"/>
                        </a:rPr>
                        <a:t>...</a:t>
                      </a:r>
                      <a:endParaRPr lang="en-US" sz="1400">
                        <a:latin typeface="Ubuntu" panose="020B0504030602030204" pitchFamily="34" charset="0"/>
                      </a:endParaRPr>
                    </a:p>
                  </a:txBody>
                  <a:tcPr anchor="ct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endParaRPr lang="en-US" sz="1200">
                        <a:solidFill>
                          <a:schemeClr val="tx1"/>
                        </a:solidFill>
                        <a:latin typeface="Ubuntu" panose="020B0504030602030204" pitchFamily="34" charset="0"/>
                      </a:endParaRPr>
                    </a:p>
                  </a:txBody>
                  <a:tcP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3375250590"/>
                  </a:ext>
                </a:extLst>
              </a:tr>
              <a:tr h="876136">
                <a:tc>
                  <a:txBody>
                    <a:bodyPr/>
                    <a:lstStyle/>
                    <a:p>
                      <a:pPr algn="ctr"/>
                      <a:endParaRPr lang="en-US" sz="1400">
                        <a:latin typeface="Ubuntu" panose="020B0504030602030204" pitchFamily="34" charset="0"/>
                      </a:endParaRPr>
                    </a:p>
                  </a:txBody>
                  <a:tcPr anchor="ct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endParaRPr lang="en-US" sz="1200">
                        <a:solidFill>
                          <a:schemeClr val="tx1"/>
                        </a:solidFill>
                        <a:latin typeface="Ubuntu" panose="020B0504030602030204" pitchFamily="34" charset="0"/>
                      </a:endParaRPr>
                    </a:p>
                  </a:txBody>
                  <a:tcP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1921179397"/>
                  </a:ext>
                </a:extLst>
              </a:tr>
            </a:tbl>
          </a:graphicData>
        </a:graphic>
      </p:graphicFrame>
      <p:sp>
        <p:nvSpPr>
          <p:cNvPr id="45" name="Oval 44">
            <a:extLst>
              <a:ext uri="{FF2B5EF4-FFF2-40B4-BE49-F238E27FC236}">
                <a16:creationId xmlns:a16="http://schemas.microsoft.com/office/drawing/2014/main" id="{00DA85B6-4903-C4EC-A137-D9BB75DA6EBE}"/>
              </a:ext>
            </a:extLst>
          </p:cNvPr>
          <p:cNvSpPr/>
          <p:nvPr/>
        </p:nvSpPr>
        <p:spPr>
          <a:xfrm>
            <a:off x="3804716" y="1330349"/>
            <a:ext cx="801997" cy="801997"/>
          </a:xfrm>
          <a:prstGeom prst="ellipse">
            <a:avLst/>
          </a:prstGeom>
          <a:solidFill>
            <a:schemeClr val="tx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Ubuntu" panose="020B0504030602030204" pitchFamily="34" charset="0"/>
              </a:rPr>
              <a:t>1</a:t>
            </a:r>
          </a:p>
        </p:txBody>
      </p:sp>
      <p:sp>
        <p:nvSpPr>
          <p:cNvPr id="46" name="Oval 45">
            <a:extLst>
              <a:ext uri="{FF2B5EF4-FFF2-40B4-BE49-F238E27FC236}">
                <a16:creationId xmlns:a16="http://schemas.microsoft.com/office/drawing/2014/main" id="{0181A846-1A0A-71E2-9DBC-96F6174301FD}"/>
              </a:ext>
            </a:extLst>
          </p:cNvPr>
          <p:cNvSpPr/>
          <p:nvPr/>
        </p:nvSpPr>
        <p:spPr>
          <a:xfrm>
            <a:off x="3804716" y="2208302"/>
            <a:ext cx="801997" cy="801997"/>
          </a:xfrm>
          <a:prstGeom prst="ellipse">
            <a:avLst/>
          </a:prstGeom>
          <a:solidFill>
            <a:schemeClr val="tx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Ubuntu" panose="020B0504030602030204" pitchFamily="34" charset="0"/>
              </a:rPr>
              <a:t>2</a:t>
            </a:r>
          </a:p>
        </p:txBody>
      </p:sp>
      <p:sp>
        <p:nvSpPr>
          <p:cNvPr id="47" name="Oval 46">
            <a:extLst>
              <a:ext uri="{FF2B5EF4-FFF2-40B4-BE49-F238E27FC236}">
                <a16:creationId xmlns:a16="http://schemas.microsoft.com/office/drawing/2014/main" id="{439F60B5-65CD-E885-865C-9DDDF664D147}"/>
              </a:ext>
            </a:extLst>
          </p:cNvPr>
          <p:cNvSpPr/>
          <p:nvPr/>
        </p:nvSpPr>
        <p:spPr>
          <a:xfrm>
            <a:off x="3804716" y="3086255"/>
            <a:ext cx="801997" cy="801997"/>
          </a:xfrm>
          <a:prstGeom prst="ellipse">
            <a:avLst/>
          </a:prstGeom>
          <a:solidFill>
            <a:schemeClr val="tx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Ubuntu" panose="020B0504030602030204" pitchFamily="34" charset="0"/>
              </a:rPr>
              <a:t>3</a:t>
            </a:r>
          </a:p>
        </p:txBody>
      </p:sp>
      <p:sp>
        <p:nvSpPr>
          <p:cNvPr id="48" name="Oval 47">
            <a:extLst>
              <a:ext uri="{FF2B5EF4-FFF2-40B4-BE49-F238E27FC236}">
                <a16:creationId xmlns:a16="http://schemas.microsoft.com/office/drawing/2014/main" id="{F0F7A189-8222-CF0C-6BCA-21751C7923AA}"/>
              </a:ext>
            </a:extLst>
          </p:cNvPr>
          <p:cNvSpPr/>
          <p:nvPr/>
        </p:nvSpPr>
        <p:spPr>
          <a:xfrm>
            <a:off x="3804716" y="3964208"/>
            <a:ext cx="801997" cy="801997"/>
          </a:xfrm>
          <a:prstGeom prst="ellipse">
            <a:avLst/>
          </a:prstGeom>
          <a:solidFill>
            <a:schemeClr val="tx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Ubuntu" panose="020B0504030602030204" pitchFamily="34" charset="0"/>
              </a:rPr>
              <a:t>4</a:t>
            </a:r>
          </a:p>
        </p:txBody>
      </p:sp>
      <p:sp>
        <p:nvSpPr>
          <p:cNvPr id="49" name="Oval 48">
            <a:extLst>
              <a:ext uri="{FF2B5EF4-FFF2-40B4-BE49-F238E27FC236}">
                <a16:creationId xmlns:a16="http://schemas.microsoft.com/office/drawing/2014/main" id="{C5D457C2-5C18-8041-DB7A-A85CBACB66A8}"/>
              </a:ext>
            </a:extLst>
          </p:cNvPr>
          <p:cNvSpPr/>
          <p:nvPr/>
        </p:nvSpPr>
        <p:spPr>
          <a:xfrm>
            <a:off x="3804715" y="4842160"/>
            <a:ext cx="801997" cy="801997"/>
          </a:xfrm>
          <a:prstGeom prst="ellipse">
            <a:avLst/>
          </a:prstGeom>
          <a:solidFill>
            <a:schemeClr val="tx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Ubuntu" panose="020B0504030602030204" pitchFamily="34" charset="0"/>
              </a:rPr>
              <a:t>5</a:t>
            </a:r>
          </a:p>
        </p:txBody>
      </p:sp>
    </p:spTree>
    <p:extLst>
      <p:ext uri="{BB962C8B-B14F-4D97-AF65-F5344CB8AC3E}">
        <p14:creationId xmlns:p14="http://schemas.microsoft.com/office/powerpoint/2010/main" val="1467767905"/>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4D0A744-59FD-5DB7-5077-0247D6794B66}"/>
              </a:ext>
            </a:extLst>
          </p:cNvPr>
          <p:cNvSpPr/>
          <p:nvPr/>
        </p:nvSpPr>
        <p:spPr>
          <a:xfrm>
            <a:off x="0" y="0"/>
            <a:ext cx="12192001" cy="6858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pic>
        <p:nvPicPr>
          <p:cNvPr id="2" name="Picture 1" descr="Icon&#10;&#10;Description automatically generated">
            <a:extLst>
              <a:ext uri="{FF2B5EF4-FFF2-40B4-BE49-F238E27FC236}">
                <a16:creationId xmlns:a16="http://schemas.microsoft.com/office/drawing/2014/main" id="{4FFAAC8B-C41C-9EFE-5A5B-5E4169ECAE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19841" y="425013"/>
            <a:ext cx="975532" cy="154260"/>
          </a:xfrm>
          <a:prstGeom prst="rect">
            <a:avLst/>
          </a:prstGeom>
        </p:spPr>
      </p:pic>
      <p:sp>
        <p:nvSpPr>
          <p:cNvPr id="4" name="Title 2">
            <a:extLst>
              <a:ext uri="{FF2B5EF4-FFF2-40B4-BE49-F238E27FC236}">
                <a16:creationId xmlns:a16="http://schemas.microsoft.com/office/drawing/2014/main" id="{A2C780F0-33F2-CE08-EB65-9A0CF93FFF68}"/>
              </a:ext>
            </a:extLst>
          </p:cNvPr>
          <p:cNvSpPr>
            <a:spLocks noGrp="1"/>
          </p:cNvSpPr>
          <p:nvPr>
            <p:ph type="title" hasCustomPrompt="1"/>
          </p:nvPr>
        </p:nvSpPr>
        <p:spPr>
          <a:xfrm>
            <a:off x="442913" y="1007966"/>
            <a:ext cx="11306175" cy="611188"/>
          </a:xfrm>
        </p:spPr>
        <p:txBody>
          <a:bodyPr/>
          <a:lstStyle>
            <a:lvl1pPr>
              <a:defRPr/>
            </a:lvl1pPr>
          </a:lstStyle>
          <a:p>
            <a:r>
              <a:rPr lang="en-US"/>
              <a:t>Contents</a:t>
            </a:r>
          </a:p>
        </p:txBody>
      </p:sp>
      <p:sp>
        <p:nvSpPr>
          <p:cNvPr id="10" name="Content Placeholder 8">
            <a:extLst>
              <a:ext uri="{FF2B5EF4-FFF2-40B4-BE49-F238E27FC236}">
                <a16:creationId xmlns:a16="http://schemas.microsoft.com/office/drawing/2014/main" id="{C99D7534-D616-6E62-1113-9C1FCCF7792B}"/>
              </a:ext>
            </a:extLst>
          </p:cNvPr>
          <p:cNvSpPr>
            <a:spLocks noGrp="1"/>
          </p:cNvSpPr>
          <p:nvPr>
            <p:ph sz="quarter" idx="14" hasCustomPrompt="1"/>
          </p:nvPr>
        </p:nvSpPr>
        <p:spPr>
          <a:xfrm>
            <a:off x="442908" y="1758621"/>
            <a:ext cx="10501317" cy="278535"/>
          </a:xfrm>
          <a:solidFill>
            <a:schemeClr val="accent4"/>
          </a:solidFill>
        </p:spPr>
        <p:txBody>
          <a:bodyPr/>
          <a:lstStyle>
            <a:lvl1pPr marL="0" indent="0">
              <a:buNone/>
              <a:defRPr/>
            </a:lvl1pPr>
          </a:lstStyle>
          <a:p>
            <a:pPr lvl="0"/>
            <a:r>
              <a:rPr lang="nb-NO"/>
              <a:t> </a:t>
            </a:r>
            <a:endParaRPr lang="en-US"/>
          </a:p>
        </p:txBody>
      </p:sp>
      <p:sp>
        <p:nvSpPr>
          <p:cNvPr id="7" name="Text Placeholder 9">
            <a:extLst>
              <a:ext uri="{FF2B5EF4-FFF2-40B4-BE49-F238E27FC236}">
                <a16:creationId xmlns:a16="http://schemas.microsoft.com/office/drawing/2014/main" id="{DF1028FF-8775-4F49-A438-953D2D8124B5}"/>
              </a:ext>
            </a:extLst>
          </p:cNvPr>
          <p:cNvSpPr>
            <a:spLocks noGrp="1"/>
          </p:cNvSpPr>
          <p:nvPr>
            <p:ph type="body" sz="quarter" idx="13" hasCustomPrompt="1"/>
          </p:nvPr>
        </p:nvSpPr>
        <p:spPr>
          <a:xfrm>
            <a:off x="442913" y="1665288"/>
            <a:ext cx="9147706" cy="4211637"/>
          </a:xfrm>
          <a:prstGeom prst="rect">
            <a:avLst/>
          </a:prstGeom>
        </p:spPr>
        <p:txBody>
          <a:bodyPr wrap="none" tIns="90000" bIns="90000">
            <a:noAutofit/>
          </a:bodyPr>
          <a:lstStyle>
            <a:lvl1pPr marL="0" indent="0" defTabSz="540000">
              <a:lnSpc>
                <a:spcPct val="100000"/>
              </a:lnSpc>
              <a:spcBef>
                <a:spcPts val="600"/>
              </a:spcBef>
              <a:buNone/>
              <a:defRPr sz="1800">
                <a:latin typeface="Ubuntu" panose="020B0504030602030204" pitchFamily="34" charset="0"/>
              </a:defRPr>
            </a:lvl1pPr>
          </a:lstStyle>
          <a:p>
            <a:pPr lvl="0"/>
            <a:r>
              <a:rPr lang="en-US"/>
              <a:t>Section 1</a:t>
            </a:r>
          </a:p>
          <a:p>
            <a:pPr lvl="0"/>
            <a:r>
              <a:rPr lang="en-US"/>
              <a:t>	Subsection 1a</a:t>
            </a:r>
          </a:p>
          <a:p>
            <a:pPr lvl="0"/>
            <a:r>
              <a:rPr lang="en-US"/>
              <a:t>Section 2</a:t>
            </a:r>
          </a:p>
          <a:p>
            <a:pPr lvl="0"/>
            <a:r>
              <a:rPr lang="en-US"/>
              <a:t>…</a:t>
            </a:r>
          </a:p>
        </p:txBody>
      </p:sp>
      <p:sp>
        <p:nvSpPr>
          <p:cNvPr id="15" name="Text Placeholder 9">
            <a:extLst>
              <a:ext uri="{FF2B5EF4-FFF2-40B4-BE49-F238E27FC236}">
                <a16:creationId xmlns:a16="http://schemas.microsoft.com/office/drawing/2014/main" id="{2B75ACBE-D339-D4C3-3ADA-578C3F015826}"/>
              </a:ext>
            </a:extLst>
          </p:cNvPr>
          <p:cNvSpPr>
            <a:spLocks noGrp="1"/>
          </p:cNvSpPr>
          <p:nvPr>
            <p:ph type="body" sz="quarter" idx="15" hasCustomPrompt="1"/>
          </p:nvPr>
        </p:nvSpPr>
        <p:spPr>
          <a:xfrm>
            <a:off x="9590619" y="1665288"/>
            <a:ext cx="1047750" cy="4211637"/>
          </a:xfrm>
          <a:prstGeom prst="rect">
            <a:avLst/>
          </a:prstGeom>
        </p:spPr>
        <p:txBody>
          <a:bodyPr wrap="none" tIns="90000" bIns="90000">
            <a:noAutofit/>
          </a:bodyPr>
          <a:lstStyle>
            <a:lvl1pPr marL="0" indent="0" algn="ctr" defTabSz="540000">
              <a:lnSpc>
                <a:spcPct val="100000"/>
              </a:lnSpc>
              <a:spcBef>
                <a:spcPts val="600"/>
              </a:spcBef>
              <a:buNone/>
              <a:defRPr sz="1800">
                <a:latin typeface="Ubuntu" panose="020B0504030602030204" pitchFamily="34" charset="0"/>
              </a:defRPr>
            </a:lvl1pPr>
          </a:lstStyle>
          <a:p>
            <a:pPr lvl="0"/>
            <a:r>
              <a:rPr lang="en-US"/>
              <a:t>Page no. </a:t>
            </a:r>
          </a:p>
        </p:txBody>
      </p:sp>
      <p:pic>
        <p:nvPicPr>
          <p:cNvPr id="6" name="Graphic 5">
            <a:extLst>
              <a:ext uri="{FF2B5EF4-FFF2-40B4-BE49-F238E27FC236}">
                <a16:creationId xmlns:a16="http://schemas.microsoft.com/office/drawing/2014/main" id="{A0CE7477-6E6A-126B-3991-9069B492B770}"/>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35937" b="35938"/>
          <a:stretch/>
        </p:blipFill>
        <p:spPr>
          <a:xfrm>
            <a:off x="0" y="0"/>
            <a:ext cx="12192000" cy="6858000"/>
          </a:xfrm>
          <a:prstGeom prst="rect">
            <a:avLst/>
          </a:prstGeom>
        </p:spPr>
      </p:pic>
    </p:spTree>
    <p:extLst>
      <p:ext uri="{BB962C8B-B14F-4D97-AF65-F5344CB8AC3E}">
        <p14:creationId xmlns:p14="http://schemas.microsoft.com/office/powerpoint/2010/main" val="1762130359"/>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ustom layout 3">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69DF845-B0A5-CCEA-D5B2-13BAE38719CD}"/>
              </a:ext>
            </a:extLst>
          </p:cNvPr>
          <p:cNvSpPr>
            <a:spLocks noGrp="1"/>
          </p:cNvSpPr>
          <p:nvPr>
            <p:ph type="title"/>
          </p:nvPr>
        </p:nvSpPr>
        <p:spPr>
          <a:xfrm>
            <a:off x="468108" y="432674"/>
            <a:ext cx="11254154" cy="609600"/>
          </a:xfrm>
          <a:prstGeom prst="rect">
            <a:avLst/>
          </a:prstGeom>
        </p:spPr>
        <p:txBody>
          <a:bodyPr vert="horz" lIns="91440" tIns="45720" rIns="91440" bIns="45720" rtlCol="0" anchor="ctr">
            <a:noAutofit/>
          </a:bodyPr>
          <a:lstStyle>
            <a:lvl1pPr>
              <a:defRPr lang="en-US" sz="2200" dirty="0">
                <a:latin typeface="Ubuntu" panose="020B0504030602030204" pitchFamily="34" charset="0"/>
                <a:cs typeface="Calibri" panose="020F0502020204030204" pitchFamily="34" charset="0"/>
              </a:defRPr>
            </a:lvl1pPr>
          </a:lstStyle>
          <a:p>
            <a:pPr lvl="0"/>
            <a:r>
              <a:rPr lang="en-US"/>
              <a:t>Click to edit Master title style</a:t>
            </a:r>
          </a:p>
        </p:txBody>
      </p:sp>
      <p:sp>
        <p:nvSpPr>
          <p:cNvPr id="4" name="Text Placeholder 12">
            <a:extLst>
              <a:ext uri="{FF2B5EF4-FFF2-40B4-BE49-F238E27FC236}">
                <a16:creationId xmlns:a16="http://schemas.microsoft.com/office/drawing/2014/main" id="{CC7710E7-D9AE-EF94-0D6E-CAFC45761452}"/>
              </a:ext>
            </a:extLst>
          </p:cNvPr>
          <p:cNvSpPr>
            <a:spLocks noGrp="1"/>
          </p:cNvSpPr>
          <p:nvPr>
            <p:ph type="body" sz="quarter" idx="17" hasCustomPrompt="1"/>
          </p:nvPr>
        </p:nvSpPr>
        <p:spPr>
          <a:xfrm>
            <a:off x="468923" y="5974440"/>
            <a:ext cx="11254154" cy="24363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graphicFrame>
        <p:nvGraphicFramePr>
          <p:cNvPr id="43" name="Table 27">
            <a:extLst>
              <a:ext uri="{FF2B5EF4-FFF2-40B4-BE49-F238E27FC236}">
                <a16:creationId xmlns:a16="http://schemas.microsoft.com/office/drawing/2014/main" id="{C526F750-3BCF-F5A3-2408-5A515606899A}"/>
              </a:ext>
            </a:extLst>
          </p:cNvPr>
          <p:cNvGraphicFramePr>
            <a:graphicFrameLocks noGrp="1"/>
          </p:cNvGraphicFramePr>
          <p:nvPr>
            <p:extLst>
              <p:ext uri="{D42A27DB-BD31-4B8C-83A1-F6EECF244321}">
                <p14:modId xmlns:p14="http://schemas.microsoft.com/office/powerpoint/2010/main" val="2452914069"/>
              </p:ext>
            </p:extLst>
          </p:nvPr>
        </p:nvGraphicFramePr>
        <p:xfrm>
          <a:off x="856211" y="1537520"/>
          <a:ext cx="10892877" cy="4380680"/>
        </p:xfrm>
        <a:graphic>
          <a:graphicData uri="http://schemas.openxmlformats.org/drawingml/2006/table">
            <a:tbl>
              <a:tblPr>
                <a:tableStyleId>{5C22544A-7EE6-4342-B048-85BDC9FD1C3A}</a:tableStyleId>
              </a:tblPr>
              <a:tblGrid>
                <a:gridCol w="5063635">
                  <a:extLst>
                    <a:ext uri="{9D8B030D-6E8A-4147-A177-3AD203B41FA5}">
                      <a16:colId xmlns:a16="http://schemas.microsoft.com/office/drawing/2014/main" val="3364242077"/>
                    </a:ext>
                  </a:extLst>
                </a:gridCol>
                <a:gridCol w="5829242">
                  <a:extLst>
                    <a:ext uri="{9D8B030D-6E8A-4147-A177-3AD203B41FA5}">
                      <a16:colId xmlns:a16="http://schemas.microsoft.com/office/drawing/2014/main" val="2831362180"/>
                    </a:ext>
                  </a:extLst>
                </a:gridCol>
              </a:tblGrid>
              <a:tr h="876136">
                <a:tc>
                  <a:txBody>
                    <a:bodyPr/>
                    <a:lstStyle/>
                    <a:p>
                      <a:pPr algn="ctr"/>
                      <a:r>
                        <a:rPr lang="nb-NO" sz="1400">
                          <a:latin typeface="Ubuntu" panose="020B0504030602030204" pitchFamily="34" charset="0"/>
                        </a:rPr>
                        <a:t>...</a:t>
                      </a:r>
                      <a:endParaRPr lang="en-US" sz="1400">
                        <a:latin typeface="Ubuntu" panose="020B0504030602030204" pitchFamily="34" charset="0"/>
                      </a:endParaRPr>
                    </a:p>
                  </a:txBody>
                  <a:tcPr anchor="ct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endParaRPr lang="en-US" sz="1400">
                        <a:latin typeface="Ubuntu" panose="020B0504030602030204" pitchFamily="34" charset="0"/>
                      </a:endParaRPr>
                    </a:p>
                  </a:txBody>
                  <a:tcPr anchor="ct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3622354226"/>
                  </a:ext>
                </a:extLst>
              </a:tr>
              <a:tr h="876136">
                <a:tc>
                  <a:txBody>
                    <a:bodyPr/>
                    <a:lstStyle/>
                    <a:p>
                      <a:pPr algn="ctr"/>
                      <a:r>
                        <a:rPr lang="nb-NO" sz="1400">
                          <a:latin typeface="Ubuntu" panose="020B0504030602030204" pitchFamily="34" charset="0"/>
                        </a:rPr>
                        <a:t>...</a:t>
                      </a:r>
                      <a:endParaRPr lang="en-US" sz="1400">
                        <a:latin typeface="Ubuntu" panose="020B0504030602030204" pitchFamily="34" charset="0"/>
                      </a:endParaRPr>
                    </a:p>
                  </a:txBody>
                  <a:tcPr anchor="ct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endParaRPr lang="en-US" sz="1400">
                        <a:latin typeface="Ubuntu" panose="020B0504030602030204" pitchFamily="34" charset="0"/>
                      </a:endParaRPr>
                    </a:p>
                  </a:txBody>
                  <a:tcPr anchor="ct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4111953350"/>
                  </a:ext>
                </a:extLst>
              </a:tr>
              <a:tr h="876136">
                <a:tc>
                  <a:txBody>
                    <a:bodyPr/>
                    <a:lstStyle/>
                    <a:p>
                      <a:pPr algn="ctr"/>
                      <a:r>
                        <a:rPr lang="nb-NO" sz="1400" kern="1200">
                          <a:solidFill>
                            <a:schemeClr val="dk1"/>
                          </a:solidFill>
                          <a:latin typeface="Ubuntu" panose="020B0504030602030204" pitchFamily="34" charset="0"/>
                          <a:ea typeface="+mn-ea"/>
                          <a:cs typeface="+mn-cs"/>
                        </a:rPr>
                        <a:t>...</a:t>
                      </a:r>
                      <a:endParaRPr lang="en-US" sz="1400">
                        <a:latin typeface="Ubuntu" panose="020B0504030602030204" pitchFamily="34" charset="0"/>
                      </a:endParaRPr>
                    </a:p>
                  </a:txBody>
                  <a:tcPr anchor="ct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endParaRPr lang="en-US" sz="1400">
                        <a:latin typeface="Ubuntu" panose="020B0504030602030204" pitchFamily="34" charset="0"/>
                      </a:endParaRPr>
                    </a:p>
                  </a:txBody>
                  <a:tcPr anchor="ct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2236995110"/>
                  </a:ext>
                </a:extLst>
              </a:tr>
              <a:tr h="876136">
                <a:tc>
                  <a:txBody>
                    <a:bodyPr/>
                    <a:lstStyle/>
                    <a:p>
                      <a:pPr algn="ctr"/>
                      <a:r>
                        <a:rPr lang="nb-NO" sz="1400" kern="1200">
                          <a:solidFill>
                            <a:schemeClr val="dk1"/>
                          </a:solidFill>
                          <a:latin typeface="Ubuntu" panose="020B0504030602030204" pitchFamily="34" charset="0"/>
                          <a:ea typeface="+mn-ea"/>
                          <a:cs typeface="+mn-cs"/>
                        </a:rPr>
                        <a:t>...</a:t>
                      </a:r>
                      <a:endParaRPr lang="en-US" sz="1400">
                        <a:latin typeface="Ubuntu" panose="020B0504030602030204" pitchFamily="34" charset="0"/>
                      </a:endParaRPr>
                    </a:p>
                  </a:txBody>
                  <a:tcPr anchor="ct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endParaRPr lang="en-US" sz="1400">
                        <a:latin typeface="Ubuntu" panose="020B0504030602030204" pitchFamily="34" charset="0"/>
                      </a:endParaRPr>
                    </a:p>
                  </a:txBody>
                  <a:tcPr anchor="ct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3375250590"/>
                  </a:ext>
                </a:extLst>
              </a:tr>
              <a:tr h="876136">
                <a:tc>
                  <a:txBody>
                    <a:bodyPr/>
                    <a:lstStyle/>
                    <a:p>
                      <a:pPr algn="ctr"/>
                      <a:r>
                        <a:rPr lang="nb-NO" sz="1400">
                          <a:latin typeface="Ubuntu" panose="020B0504030602030204" pitchFamily="34" charset="0"/>
                        </a:rPr>
                        <a:t>...</a:t>
                      </a:r>
                      <a:endParaRPr lang="en-US" sz="1400">
                        <a:latin typeface="Ubuntu" panose="020B0504030602030204" pitchFamily="34" charset="0"/>
                      </a:endParaRPr>
                    </a:p>
                  </a:txBody>
                  <a:tcPr anchor="ct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DB9CA"/>
                    </a:solidFill>
                  </a:tcPr>
                </a:tc>
                <a:tc>
                  <a:txBody>
                    <a:bodyPr/>
                    <a:lstStyle/>
                    <a:p>
                      <a:endParaRPr lang="en-US" sz="1400">
                        <a:latin typeface="Ubuntu" panose="020B0504030602030204" pitchFamily="34" charset="0"/>
                      </a:endParaRPr>
                    </a:p>
                  </a:txBody>
                  <a:tcPr anchor="ct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6DCE5"/>
                    </a:solidFill>
                  </a:tcPr>
                </a:tc>
                <a:extLst>
                  <a:ext uri="{0D108BD9-81ED-4DB2-BD59-A6C34878D82A}">
                    <a16:rowId xmlns:a16="http://schemas.microsoft.com/office/drawing/2014/main" val="1921179397"/>
                  </a:ext>
                </a:extLst>
              </a:tr>
            </a:tbl>
          </a:graphicData>
        </a:graphic>
      </p:graphicFrame>
      <p:sp>
        <p:nvSpPr>
          <p:cNvPr id="7" name="Oval 6">
            <a:extLst>
              <a:ext uri="{FF2B5EF4-FFF2-40B4-BE49-F238E27FC236}">
                <a16:creationId xmlns:a16="http://schemas.microsoft.com/office/drawing/2014/main" id="{674CA493-1511-0C40-45D1-C6A1322EB65D}"/>
              </a:ext>
            </a:extLst>
          </p:cNvPr>
          <p:cNvSpPr/>
          <p:nvPr/>
        </p:nvSpPr>
        <p:spPr>
          <a:xfrm>
            <a:off x="445734" y="1576258"/>
            <a:ext cx="801997" cy="801997"/>
          </a:xfrm>
          <a:prstGeom prst="ellipse">
            <a:avLst/>
          </a:prstGeom>
          <a:solidFill>
            <a:schemeClr val="tx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a:solidFill>
                  <a:prstClr val="white"/>
                </a:solidFill>
                <a:latin typeface="Ubuntu" panose="020B0504030602030204" pitchFamily="34" charset="0"/>
              </a:rPr>
              <a:t>1</a:t>
            </a:r>
            <a:endParaRPr lang="en-US" b="1">
              <a:solidFill>
                <a:prstClr val="white"/>
              </a:solidFill>
              <a:latin typeface="Ubuntu" panose="020B0504030602030204" pitchFamily="34" charset="0"/>
            </a:endParaRPr>
          </a:p>
        </p:txBody>
      </p:sp>
      <p:sp>
        <p:nvSpPr>
          <p:cNvPr id="8" name="Oval 7">
            <a:extLst>
              <a:ext uri="{FF2B5EF4-FFF2-40B4-BE49-F238E27FC236}">
                <a16:creationId xmlns:a16="http://schemas.microsoft.com/office/drawing/2014/main" id="{012CB7BA-BA92-A504-C8D1-E2AB345149DD}"/>
              </a:ext>
            </a:extLst>
          </p:cNvPr>
          <p:cNvSpPr/>
          <p:nvPr/>
        </p:nvSpPr>
        <p:spPr>
          <a:xfrm>
            <a:off x="445734" y="2451796"/>
            <a:ext cx="801997" cy="801997"/>
          </a:xfrm>
          <a:prstGeom prst="ellipse">
            <a:avLst/>
          </a:prstGeom>
          <a:solidFill>
            <a:schemeClr val="tx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a:solidFill>
                  <a:prstClr val="white"/>
                </a:solidFill>
                <a:latin typeface="Ubuntu" panose="020B0504030602030204" pitchFamily="34" charset="0"/>
              </a:rPr>
              <a:t>2</a:t>
            </a:r>
            <a:endParaRPr lang="en-US" b="1">
              <a:solidFill>
                <a:prstClr val="white"/>
              </a:solidFill>
              <a:latin typeface="Ubuntu" panose="020B0504030602030204" pitchFamily="34" charset="0"/>
            </a:endParaRPr>
          </a:p>
        </p:txBody>
      </p:sp>
      <p:sp>
        <p:nvSpPr>
          <p:cNvPr id="9" name="Oval 8">
            <a:extLst>
              <a:ext uri="{FF2B5EF4-FFF2-40B4-BE49-F238E27FC236}">
                <a16:creationId xmlns:a16="http://schemas.microsoft.com/office/drawing/2014/main" id="{4F3656DA-5B4C-8B91-2D6A-7F8B2972D90B}"/>
              </a:ext>
            </a:extLst>
          </p:cNvPr>
          <p:cNvSpPr/>
          <p:nvPr/>
        </p:nvSpPr>
        <p:spPr>
          <a:xfrm>
            <a:off x="445734" y="3327334"/>
            <a:ext cx="801997" cy="801997"/>
          </a:xfrm>
          <a:prstGeom prst="ellipse">
            <a:avLst/>
          </a:prstGeom>
          <a:solidFill>
            <a:schemeClr val="tx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a:solidFill>
                  <a:prstClr val="white"/>
                </a:solidFill>
                <a:latin typeface="Ubuntu" panose="020B0504030602030204" pitchFamily="34" charset="0"/>
              </a:rPr>
              <a:t>3</a:t>
            </a:r>
            <a:endParaRPr lang="en-US" b="1">
              <a:solidFill>
                <a:prstClr val="white"/>
              </a:solidFill>
              <a:latin typeface="Ubuntu" panose="020B0504030602030204" pitchFamily="34" charset="0"/>
            </a:endParaRPr>
          </a:p>
        </p:txBody>
      </p:sp>
      <p:sp>
        <p:nvSpPr>
          <p:cNvPr id="11" name="Oval 10">
            <a:extLst>
              <a:ext uri="{FF2B5EF4-FFF2-40B4-BE49-F238E27FC236}">
                <a16:creationId xmlns:a16="http://schemas.microsoft.com/office/drawing/2014/main" id="{ED6AD5D3-10AC-4758-10D9-8DCD0B6DF707}"/>
              </a:ext>
            </a:extLst>
          </p:cNvPr>
          <p:cNvSpPr/>
          <p:nvPr/>
        </p:nvSpPr>
        <p:spPr>
          <a:xfrm>
            <a:off x="445734" y="4202872"/>
            <a:ext cx="801997" cy="801997"/>
          </a:xfrm>
          <a:prstGeom prst="ellipse">
            <a:avLst/>
          </a:prstGeom>
          <a:solidFill>
            <a:schemeClr val="tx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Ubuntu" panose="020B0504030602030204" pitchFamily="34" charset="0"/>
              </a:rPr>
              <a:t>4</a:t>
            </a:r>
          </a:p>
        </p:txBody>
      </p:sp>
      <p:sp>
        <p:nvSpPr>
          <p:cNvPr id="12" name="Oval 11">
            <a:extLst>
              <a:ext uri="{FF2B5EF4-FFF2-40B4-BE49-F238E27FC236}">
                <a16:creationId xmlns:a16="http://schemas.microsoft.com/office/drawing/2014/main" id="{C35D9732-FB03-1B78-3535-CDB14018DDBF}"/>
              </a:ext>
            </a:extLst>
          </p:cNvPr>
          <p:cNvSpPr/>
          <p:nvPr/>
        </p:nvSpPr>
        <p:spPr>
          <a:xfrm>
            <a:off x="445734" y="5078411"/>
            <a:ext cx="801997" cy="801997"/>
          </a:xfrm>
          <a:prstGeom prst="ellipse">
            <a:avLst/>
          </a:prstGeom>
          <a:solidFill>
            <a:schemeClr val="tx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Ubuntu" panose="020B0504030602030204" pitchFamily="34" charset="0"/>
              </a:rPr>
              <a:t>5</a:t>
            </a:r>
          </a:p>
        </p:txBody>
      </p:sp>
      <p:sp>
        <p:nvSpPr>
          <p:cNvPr id="2" name="Text Placeholder 7">
            <a:extLst>
              <a:ext uri="{FF2B5EF4-FFF2-40B4-BE49-F238E27FC236}">
                <a16:creationId xmlns:a16="http://schemas.microsoft.com/office/drawing/2014/main" id="{4A2AC6B3-79B2-7D0B-7427-0FC2374CA595}"/>
              </a:ext>
            </a:extLst>
          </p:cNvPr>
          <p:cNvSpPr txBox="1">
            <a:spLocks/>
          </p:cNvSpPr>
          <p:nvPr/>
        </p:nvSpPr>
        <p:spPr>
          <a:xfrm>
            <a:off x="442913" y="1125538"/>
            <a:ext cx="11306175" cy="409445"/>
          </a:xfrm>
          <a:prstGeom prst="rect">
            <a:avLst/>
          </a:prstGeom>
          <a:solidFill>
            <a:schemeClr val="tx2"/>
          </a:solidFill>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457200">
              <a:buNone/>
            </a:pPr>
            <a:r>
              <a:rPr lang="en-US" sz="1600">
                <a:solidFill>
                  <a:schemeClr val="bg1"/>
                </a:solidFill>
                <a:latin typeface="Ubuntu" panose="020B0504030602030204" pitchFamily="34" charset="0"/>
                <a:cs typeface="Arial" pitchFamily="34" charset="0"/>
              </a:rPr>
              <a:t>…</a:t>
            </a:r>
          </a:p>
        </p:txBody>
      </p:sp>
    </p:spTree>
    <p:extLst>
      <p:ext uri="{BB962C8B-B14F-4D97-AF65-F5344CB8AC3E}">
        <p14:creationId xmlns:p14="http://schemas.microsoft.com/office/powerpoint/2010/main" val="3542984834"/>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ustom layou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F084B-A887-4972-923C-E6623CCA2850}"/>
              </a:ext>
            </a:extLst>
          </p:cNvPr>
          <p:cNvSpPr>
            <a:spLocks noGrp="1"/>
          </p:cNvSpPr>
          <p:nvPr>
            <p:ph type="title"/>
          </p:nvPr>
        </p:nvSpPr>
        <p:spPr/>
        <p:txBody>
          <a:bodyPr/>
          <a:lstStyle/>
          <a:p>
            <a:r>
              <a:rPr lang="en-US"/>
              <a:t>Click to edit Master title style</a:t>
            </a:r>
          </a:p>
        </p:txBody>
      </p:sp>
      <p:sp>
        <p:nvSpPr>
          <p:cNvPr id="3" name="Isosceles Triangle 2">
            <a:extLst>
              <a:ext uri="{FF2B5EF4-FFF2-40B4-BE49-F238E27FC236}">
                <a16:creationId xmlns:a16="http://schemas.microsoft.com/office/drawing/2014/main" id="{22E56078-E884-EABC-E064-9559C280344D}"/>
              </a:ext>
            </a:extLst>
          </p:cNvPr>
          <p:cNvSpPr/>
          <p:nvPr/>
        </p:nvSpPr>
        <p:spPr>
          <a:xfrm>
            <a:off x="1698457" y="1719455"/>
            <a:ext cx="8795088" cy="1778060"/>
          </a:xfrm>
          <a:prstGeom prst="triangle">
            <a:avLst>
              <a:gd name="adj" fmla="val 50098"/>
            </a:avLst>
          </a:prstGeom>
          <a:solidFill>
            <a:schemeClr val="tx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0000"/>
              </a:solidFill>
              <a:latin typeface="Ubuntu" panose="020B0504030602030204" pitchFamily="34" charset="0"/>
            </a:endParaRPr>
          </a:p>
        </p:txBody>
      </p:sp>
      <p:sp>
        <p:nvSpPr>
          <p:cNvPr id="4" name="Rectangle: Rounded Corners 3">
            <a:extLst>
              <a:ext uri="{FF2B5EF4-FFF2-40B4-BE49-F238E27FC236}">
                <a16:creationId xmlns:a16="http://schemas.microsoft.com/office/drawing/2014/main" id="{82B91CF8-6394-0891-65B3-AAFBFEBD08D1}"/>
              </a:ext>
            </a:extLst>
          </p:cNvPr>
          <p:cNvSpPr/>
          <p:nvPr/>
        </p:nvSpPr>
        <p:spPr>
          <a:xfrm>
            <a:off x="4179360" y="1132636"/>
            <a:ext cx="3833280" cy="1569150"/>
          </a:xfrm>
          <a:prstGeom prst="roundRect">
            <a:avLst/>
          </a:prstGeom>
          <a:solidFill>
            <a:schemeClr val="tx2"/>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a:solidFill>
                  <a:schemeClr val="bg1"/>
                </a:solidFill>
                <a:latin typeface="Ubuntu" panose="020B0504030602030204" pitchFamily="34" charset="0"/>
              </a:rPr>
              <a:t>…</a:t>
            </a:r>
          </a:p>
          <a:p>
            <a:pPr marL="285750" indent="-285750">
              <a:buFont typeface="Arial" panose="020B0604020202020204" pitchFamily="34" charset="0"/>
              <a:buChar char="•"/>
            </a:pPr>
            <a:r>
              <a:rPr lang="en-US" sz="1400">
                <a:solidFill>
                  <a:schemeClr val="bg1"/>
                </a:solidFill>
                <a:latin typeface="Ubuntu" panose="020B0504030602030204" pitchFamily="34" charset="0"/>
              </a:rPr>
              <a:t>…</a:t>
            </a:r>
          </a:p>
          <a:p>
            <a:pPr marL="285750" indent="-285750">
              <a:buFont typeface="Arial" panose="020B0604020202020204" pitchFamily="34" charset="0"/>
              <a:buChar char="•"/>
            </a:pPr>
            <a:r>
              <a:rPr lang="en-US" sz="1400">
                <a:solidFill>
                  <a:schemeClr val="bg1"/>
                </a:solidFill>
                <a:latin typeface="Ubuntu" panose="020B0504030602030204" pitchFamily="34" charset="0"/>
              </a:rPr>
              <a:t>…</a:t>
            </a:r>
          </a:p>
        </p:txBody>
      </p:sp>
      <p:graphicFrame>
        <p:nvGraphicFramePr>
          <p:cNvPr id="12" name="Table 12">
            <a:extLst>
              <a:ext uri="{FF2B5EF4-FFF2-40B4-BE49-F238E27FC236}">
                <a16:creationId xmlns:a16="http://schemas.microsoft.com/office/drawing/2014/main" id="{E060EA17-FF59-DE63-F528-2EA3C110953C}"/>
              </a:ext>
            </a:extLst>
          </p:cNvPr>
          <p:cNvGraphicFramePr>
            <a:graphicFrameLocks noGrp="1"/>
          </p:cNvGraphicFramePr>
          <p:nvPr>
            <p:extLst>
              <p:ext uri="{D42A27DB-BD31-4B8C-83A1-F6EECF244321}">
                <p14:modId xmlns:p14="http://schemas.microsoft.com/office/powerpoint/2010/main" val="1839392504"/>
              </p:ext>
            </p:extLst>
          </p:nvPr>
        </p:nvGraphicFramePr>
        <p:xfrm>
          <a:off x="1698456" y="3532846"/>
          <a:ext cx="8795088" cy="2344079"/>
        </p:xfrm>
        <a:graphic>
          <a:graphicData uri="http://schemas.openxmlformats.org/drawingml/2006/table">
            <a:tbl>
              <a:tblPr firstRow="1" bandRow="1">
                <a:tableStyleId>{5C22544A-7EE6-4342-B048-85BDC9FD1C3A}</a:tableStyleId>
              </a:tblPr>
              <a:tblGrid>
                <a:gridCol w="2931696">
                  <a:extLst>
                    <a:ext uri="{9D8B030D-6E8A-4147-A177-3AD203B41FA5}">
                      <a16:colId xmlns:a16="http://schemas.microsoft.com/office/drawing/2014/main" val="1005213551"/>
                    </a:ext>
                  </a:extLst>
                </a:gridCol>
                <a:gridCol w="2931696">
                  <a:extLst>
                    <a:ext uri="{9D8B030D-6E8A-4147-A177-3AD203B41FA5}">
                      <a16:colId xmlns:a16="http://schemas.microsoft.com/office/drawing/2014/main" val="2445099581"/>
                    </a:ext>
                  </a:extLst>
                </a:gridCol>
                <a:gridCol w="2931696">
                  <a:extLst>
                    <a:ext uri="{9D8B030D-6E8A-4147-A177-3AD203B41FA5}">
                      <a16:colId xmlns:a16="http://schemas.microsoft.com/office/drawing/2014/main" val="709773875"/>
                    </a:ext>
                  </a:extLst>
                </a:gridCol>
              </a:tblGrid>
              <a:tr h="466952">
                <a:tc>
                  <a:txBody>
                    <a:bodyPr/>
                    <a:lstStyle/>
                    <a:p>
                      <a:pPr algn="ctr"/>
                      <a:r>
                        <a:rPr lang="nb-NO" sz="1600">
                          <a:latin typeface="Ubuntu" panose="020B0504030602030204" pitchFamily="34" charset="0"/>
                        </a:rPr>
                        <a:t>1...</a:t>
                      </a:r>
                      <a:endParaRPr lang="en-US" sz="1600"/>
                    </a:p>
                  </a:txBody>
                  <a:tcPr anchor="ctr">
                    <a:lnR w="38100" cap="flat" cmpd="sng" algn="ctr">
                      <a:solidFill>
                        <a:schemeClr val="bg1"/>
                      </a:solidFill>
                      <a:prstDash val="solid"/>
                      <a:round/>
                      <a:headEnd type="none" w="med" len="med"/>
                      <a:tailEnd type="none" w="med" len="med"/>
                    </a:lnR>
                    <a:solidFill>
                      <a:srgbClr val="ADB9CA"/>
                    </a:solidFill>
                  </a:tcPr>
                </a:tc>
                <a:tc>
                  <a:txBody>
                    <a:bodyPr/>
                    <a:lstStyle/>
                    <a:p>
                      <a:pPr algn="ctr"/>
                      <a:r>
                        <a:rPr lang="nb-NO" sz="1600">
                          <a:latin typeface="Ubuntu" panose="020B0504030602030204" pitchFamily="34" charset="0"/>
                        </a:rPr>
                        <a:t>2...</a:t>
                      </a:r>
                      <a:endParaRPr lang="en-US" sz="1600"/>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ADB9CA"/>
                    </a:solidFill>
                  </a:tcPr>
                </a:tc>
                <a:tc>
                  <a:txBody>
                    <a:bodyPr/>
                    <a:lstStyle/>
                    <a:p>
                      <a:pPr algn="ctr"/>
                      <a:r>
                        <a:rPr lang="nb-NO" sz="1600">
                          <a:latin typeface="Ubuntu" panose="020B0504030602030204" pitchFamily="34" charset="0"/>
                        </a:rPr>
                        <a:t>3...</a:t>
                      </a:r>
                      <a:endParaRPr lang="en-US" sz="1600"/>
                    </a:p>
                  </a:txBody>
                  <a:tcPr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rgbClr val="ADB9CA"/>
                    </a:solidFill>
                  </a:tcPr>
                </a:tc>
                <a:extLst>
                  <a:ext uri="{0D108BD9-81ED-4DB2-BD59-A6C34878D82A}">
                    <a16:rowId xmlns:a16="http://schemas.microsoft.com/office/drawing/2014/main" val="1154988582"/>
                  </a:ext>
                </a:extLst>
              </a:tr>
              <a:tr h="1877127">
                <a:tc>
                  <a:txBody>
                    <a:bodyPr/>
                    <a:lstStyle/>
                    <a:p>
                      <a:endParaRPr lang="en-US" sz="1400">
                        <a:latin typeface="Ubuntu" panose="020B0504030602030204" pitchFamily="34" charset="0"/>
                      </a:endParaRPr>
                    </a:p>
                  </a:txBody>
                  <a:tcPr>
                    <a:lnR w="38100" cap="flat" cmpd="sng" algn="ctr">
                      <a:solidFill>
                        <a:schemeClr val="bg1"/>
                      </a:solidFill>
                      <a:prstDash val="solid"/>
                      <a:round/>
                      <a:headEnd type="none" w="med" len="med"/>
                      <a:tailEnd type="none" w="med" len="med"/>
                    </a:lnR>
                    <a:solidFill>
                      <a:srgbClr val="D6DCE5"/>
                    </a:solidFill>
                  </a:tcPr>
                </a:tc>
                <a:tc>
                  <a:txBody>
                    <a:bodyPr/>
                    <a:lstStyle/>
                    <a:p>
                      <a:endParaRPr lang="en-US" sz="1400">
                        <a:latin typeface="Ubuntu" panose="020B0504030602030204" pitchFamily="34" charset="0"/>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rgbClr val="D6DCE5"/>
                    </a:solidFill>
                  </a:tcPr>
                </a:tc>
                <a:tc>
                  <a:txBody>
                    <a:bodyPr/>
                    <a:lstStyle/>
                    <a:p>
                      <a:endParaRPr lang="en-US" sz="1400">
                        <a:latin typeface="Ubuntu" panose="020B0504030602030204" pitchFamily="34"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rgbClr val="D6DCE5"/>
                    </a:solidFill>
                  </a:tcPr>
                </a:tc>
                <a:extLst>
                  <a:ext uri="{0D108BD9-81ED-4DB2-BD59-A6C34878D82A}">
                    <a16:rowId xmlns:a16="http://schemas.microsoft.com/office/drawing/2014/main" val="4117819280"/>
                  </a:ext>
                </a:extLst>
              </a:tr>
            </a:tbl>
          </a:graphicData>
        </a:graphic>
      </p:graphicFrame>
    </p:spTree>
    <p:extLst>
      <p:ext uri="{BB962C8B-B14F-4D97-AF65-F5344CB8AC3E}">
        <p14:creationId xmlns:p14="http://schemas.microsoft.com/office/powerpoint/2010/main" val="3115153761"/>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ustom layout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F084B-A887-4972-923C-E6623CCA2850}"/>
              </a:ext>
            </a:extLst>
          </p:cNvPr>
          <p:cNvSpPr>
            <a:spLocks noGrp="1"/>
          </p:cNvSpPr>
          <p:nvPr>
            <p:ph type="title"/>
          </p:nvPr>
        </p:nvSpPr>
        <p:spPr/>
        <p:txBody>
          <a:bodyPr/>
          <a:lstStyle/>
          <a:p>
            <a:r>
              <a:rPr lang="en-US"/>
              <a:t>Click to edit Master title style</a:t>
            </a:r>
          </a:p>
        </p:txBody>
      </p:sp>
      <p:sp>
        <p:nvSpPr>
          <p:cNvPr id="3" name="Isosceles Triangle 2">
            <a:extLst>
              <a:ext uri="{FF2B5EF4-FFF2-40B4-BE49-F238E27FC236}">
                <a16:creationId xmlns:a16="http://schemas.microsoft.com/office/drawing/2014/main" id="{22E56078-E884-EABC-E064-9559C280344D}"/>
              </a:ext>
            </a:extLst>
          </p:cNvPr>
          <p:cNvSpPr/>
          <p:nvPr/>
        </p:nvSpPr>
        <p:spPr>
          <a:xfrm rot="16200000">
            <a:off x="2100457" y="2838941"/>
            <a:ext cx="3835510" cy="1826123"/>
          </a:xfrm>
          <a:prstGeom prst="triangle">
            <a:avLst/>
          </a:prstGeom>
          <a:solidFill>
            <a:schemeClr val="tx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0000"/>
              </a:solidFill>
              <a:latin typeface="Ubuntu" panose="020B0504030602030204" pitchFamily="34" charset="0"/>
            </a:endParaRPr>
          </a:p>
        </p:txBody>
      </p:sp>
      <p:sp>
        <p:nvSpPr>
          <p:cNvPr id="4" name="Oval 3">
            <a:extLst>
              <a:ext uri="{FF2B5EF4-FFF2-40B4-BE49-F238E27FC236}">
                <a16:creationId xmlns:a16="http://schemas.microsoft.com/office/drawing/2014/main" id="{82B91CF8-6394-0891-65B3-AAFBFEBD08D1}"/>
              </a:ext>
            </a:extLst>
          </p:cNvPr>
          <p:cNvSpPr/>
          <p:nvPr/>
        </p:nvSpPr>
        <p:spPr>
          <a:xfrm>
            <a:off x="1073009" y="2371918"/>
            <a:ext cx="3182439" cy="2270470"/>
          </a:xfrm>
          <a:prstGeom prst="ellipse">
            <a:avLst/>
          </a:prstGeom>
          <a:solidFill>
            <a:schemeClr val="tx2"/>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600" b="1">
              <a:solidFill>
                <a:schemeClr val="bg1"/>
              </a:solidFill>
              <a:latin typeface="Ubuntu" panose="020B0504030602030204" pitchFamily="34" charset="0"/>
            </a:endParaRPr>
          </a:p>
          <a:p>
            <a:pPr algn="ctr"/>
            <a:endParaRPr lang="en-US" sz="1600" b="1">
              <a:solidFill>
                <a:schemeClr val="bg1"/>
              </a:solidFill>
              <a:latin typeface="Ubuntu" panose="020B0504030602030204" pitchFamily="34" charset="0"/>
            </a:endParaRPr>
          </a:p>
          <a:p>
            <a:pPr marL="285750" indent="-285750">
              <a:buFont typeface="Arial" panose="020B0604020202020204" pitchFamily="34" charset="0"/>
              <a:buChar char="•"/>
            </a:pPr>
            <a:r>
              <a:rPr lang="en-US" sz="1400">
                <a:solidFill>
                  <a:schemeClr val="bg1"/>
                </a:solidFill>
                <a:latin typeface="Ubuntu" panose="020B0504030602030204" pitchFamily="34" charset="0"/>
              </a:rPr>
              <a:t>…</a:t>
            </a:r>
          </a:p>
          <a:p>
            <a:pPr marL="285750" indent="-285750">
              <a:buFont typeface="Arial" panose="020B0604020202020204" pitchFamily="34" charset="0"/>
              <a:buChar char="•"/>
            </a:pPr>
            <a:r>
              <a:rPr lang="en-US" sz="1400">
                <a:solidFill>
                  <a:schemeClr val="bg1"/>
                </a:solidFill>
                <a:latin typeface="Ubuntu" panose="020B0504030602030204" pitchFamily="34" charset="0"/>
              </a:rPr>
              <a:t>…</a:t>
            </a:r>
          </a:p>
          <a:p>
            <a:pPr marL="285750" indent="-285750">
              <a:buFont typeface="Arial" panose="020B0604020202020204" pitchFamily="34" charset="0"/>
              <a:buChar char="•"/>
            </a:pPr>
            <a:r>
              <a:rPr lang="en-US" sz="1400">
                <a:solidFill>
                  <a:schemeClr val="bg1"/>
                </a:solidFill>
                <a:latin typeface="Ubuntu" panose="020B0504030602030204" pitchFamily="34" charset="0"/>
              </a:rPr>
              <a:t>…</a:t>
            </a:r>
          </a:p>
          <a:p>
            <a:pPr algn="ctr"/>
            <a:endParaRPr lang="en-US" sz="1600" b="1" i="1">
              <a:solidFill>
                <a:schemeClr val="bg1"/>
              </a:solidFill>
              <a:latin typeface="Ubuntu" panose="020B0504030602030204" pitchFamily="34" charset="0"/>
            </a:endParaRPr>
          </a:p>
          <a:p>
            <a:endParaRPr lang="en-US" sz="1600" b="1" i="1">
              <a:solidFill>
                <a:schemeClr val="bg1"/>
              </a:solidFill>
              <a:latin typeface="Ubuntu" panose="020B0504030602030204" pitchFamily="34" charset="0"/>
            </a:endParaRPr>
          </a:p>
        </p:txBody>
      </p:sp>
      <p:graphicFrame>
        <p:nvGraphicFramePr>
          <p:cNvPr id="27" name="Table 27">
            <a:extLst>
              <a:ext uri="{FF2B5EF4-FFF2-40B4-BE49-F238E27FC236}">
                <a16:creationId xmlns:a16="http://schemas.microsoft.com/office/drawing/2014/main" id="{B536EFC5-BCD6-8AEC-7D21-18D5145EE3AD}"/>
              </a:ext>
            </a:extLst>
          </p:cNvPr>
          <p:cNvGraphicFramePr>
            <a:graphicFrameLocks noGrp="1"/>
          </p:cNvGraphicFramePr>
          <p:nvPr>
            <p:extLst>
              <p:ext uri="{D42A27DB-BD31-4B8C-83A1-F6EECF244321}">
                <p14:modId xmlns:p14="http://schemas.microsoft.com/office/powerpoint/2010/main" val="1671661123"/>
              </p:ext>
            </p:extLst>
          </p:nvPr>
        </p:nvGraphicFramePr>
        <p:xfrm>
          <a:off x="4977453" y="1834246"/>
          <a:ext cx="6145506" cy="3835512"/>
        </p:xfrm>
        <a:graphic>
          <a:graphicData uri="http://schemas.openxmlformats.org/drawingml/2006/table">
            <a:tbl>
              <a:tblPr>
                <a:tableStyleId>{5C22544A-7EE6-4342-B048-85BDC9FD1C3A}</a:tableStyleId>
              </a:tblPr>
              <a:tblGrid>
                <a:gridCol w="973431">
                  <a:extLst>
                    <a:ext uri="{9D8B030D-6E8A-4147-A177-3AD203B41FA5}">
                      <a16:colId xmlns:a16="http://schemas.microsoft.com/office/drawing/2014/main" val="3364242077"/>
                    </a:ext>
                  </a:extLst>
                </a:gridCol>
                <a:gridCol w="5172075">
                  <a:extLst>
                    <a:ext uri="{9D8B030D-6E8A-4147-A177-3AD203B41FA5}">
                      <a16:colId xmlns:a16="http://schemas.microsoft.com/office/drawing/2014/main" val="2831362180"/>
                    </a:ext>
                  </a:extLst>
                </a:gridCol>
              </a:tblGrid>
              <a:tr h="958878">
                <a:tc>
                  <a:txBody>
                    <a:bodyPr/>
                    <a:lstStyle/>
                    <a:p>
                      <a:pPr algn="ctr"/>
                      <a:r>
                        <a:rPr lang="nb-NO" sz="1400">
                          <a:latin typeface="Ubuntu" panose="020B0504030602030204" pitchFamily="34" charset="0"/>
                        </a:rPr>
                        <a:t>...</a:t>
                      </a:r>
                      <a:endParaRPr lang="en-US" sz="1400">
                        <a:latin typeface="Ubuntu" panose="020B0504030602030204" pitchFamily="34" charset="0"/>
                      </a:endParaRPr>
                    </a:p>
                  </a:txBody>
                  <a:tcPr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rgbClr val="ADB9CA"/>
                    </a:solidFill>
                  </a:tcPr>
                </a:tc>
                <a:tc>
                  <a:txBody>
                    <a:bodyPr/>
                    <a:lstStyle/>
                    <a:p>
                      <a:endParaRPr lang="en-US" sz="1400">
                        <a:latin typeface="Ubuntu" panose="020B0504030602030204" pitchFamily="34" charset="0"/>
                      </a:endParaRPr>
                    </a:p>
                  </a:txBody>
                  <a:tcP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rgbClr val="D6DCE5"/>
                    </a:solidFill>
                  </a:tcPr>
                </a:tc>
                <a:extLst>
                  <a:ext uri="{0D108BD9-81ED-4DB2-BD59-A6C34878D82A}">
                    <a16:rowId xmlns:a16="http://schemas.microsoft.com/office/drawing/2014/main" val="2617700172"/>
                  </a:ext>
                </a:extLst>
              </a:tr>
              <a:tr h="958878">
                <a:tc>
                  <a:txBody>
                    <a:bodyPr/>
                    <a:lstStyle/>
                    <a:p>
                      <a:pPr algn="ctr"/>
                      <a:r>
                        <a:rPr lang="nb-NO" sz="1400">
                          <a:latin typeface="Ubuntu" panose="020B0504030602030204" pitchFamily="34" charset="0"/>
                        </a:rPr>
                        <a:t>...</a:t>
                      </a:r>
                      <a:endParaRPr lang="en-US" sz="1400">
                        <a:latin typeface="Ubuntu" panose="020B0504030602030204" pitchFamily="34" charset="0"/>
                      </a:endParaRPr>
                    </a:p>
                  </a:txBody>
                  <a:tcPr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ADB9CA"/>
                    </a:solidFill>
                  </a:tcPr>
                </a:tc>
                <a:tc>
                  <a:txBody>
                    <a:bodyPr/>
                    <a:lstStyle/>
                    <a:p>
                      <a:endParaRPr lang="en-US" sz="1400">
                        <a:latin typeface="Ubuntu" panose="020B0504030602030204" pitchFamily="34"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CE5"/>
                    </a:solidFill>
                  </a:tcPr>
                </a:tc>
                <a:extLst>
                  <a:ext uri="{0D108BD9-81ED-4DB2-BD59-A6C34878D82A}">
                    <a16:rowId xmlns:a16="http://schemas.microsoft.com/office/drawing/2014/main" val="3622354226"/>
                  </a:ext>
                </a:extLst>
              </a:tr>
              <a:tr h="958878">
                <a:tc>
                  <a:txBody>
                    <a:bodyPr/>
                    <a:lstStyle/>
                    <a:p>
                      <a:pPr algn="ctr"/>
                      <a:r>
                        <a:rPr lang="nb-NO" sz="1400" kern="1200">
                          <a:solidFill>
                            <a:schemeClr val="dk1"/>
                          </a:solidFill>
                          <a:latin typeface="Ubuntu" panose="020B0504030602030204" pitchFamily="34" charset="0"/>
                          <a:ea typeface="+mn-ea"/>
                          <a:cs typeface="+mn-cs"/>
                        </a:rPr>
                        <a:t>...</a:t>
                      </a:r>
                      <a:endParaRPr lang="en-US" sz="1400">
                        <a:latin typeface="Ubuntu" panose="020B0504030602030204" pitchFamily="34" charset="0"/>
                      </a:endParaRPr>
                    </a:p>
                  </a:txBody>
                  <a:tcPr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ADB9CA"/>
                    </a:solidFill>
                  </a:tcPr>
                </a:tc>
                <a:tc>
                  <a:txBody>
                    <a:bodyPr/>
                    <a:lstStyle/>
                    <a:p>
                      <a:endParaRPr lang="en-US" sz="1400">
                        <a:latin typeface="Ubuntu" panose="020B0504030602030204" pitchFamily="34"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CE5"/>
                    </a:solidFill>
                  </a:tcPr>
                </a:tc>
                <a:extLst>
                  <a:ext uri="{0D108BD9-81ED-4DB2-BD59-A6C34878D82A}">
                    <a16:rowId xmlns:a16="http://schemas.microsoft.com/office/drawing/2014/main" val="2236995110"/>
                  </a:ext>
                </a:extLst>
              </a:tr>
              <a:tr h="958878">
                <a:tc>
                  <a:txBody>
                    <a:bodyPr/>
                    <a:lstStyle/>
                    <a:p>
                      <a:pPr algn="ctr"/>
                      <a:r>
                        <a:rPr lang="nb-NO" sz="1400" kern="1200">
                          <a:solidFill>
                            <a:schemeClr val="dk1"/>
                          </a:solidFill>
                          <a:latin typeface="Ubuntu" panose="020B0504030602030204" pitchFamily="34" charset="0"/>
                          <a:ea typeface="+mn-ea"/>
                          <a:cs typeface="+mn-cs"/>
                        </a:rPr>
                        <a:t>...</a:t>
                      </a:r>
                      <a:endParaRPr lang="en-US" sz="1400">
                        <a:latin typeface="Ubuntu" panose="020B0504030602030204" pitchFamily="34" charset="0"/>
                      </a:endParaRPr>
                    </a:p>
                  </a:txBody>
                  <a:tcPr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ADB9CA"/>
                    </a:solidFill>
                  </a:tcPr>
                </a:tc>
                <a:tc>
                  <a:txBody>
                    <a:bodyPr/>
                    <a:lstStyle/>
                    <a:p>
                      <a:endParaRPr lang="en-US" sz="1400">
                        <a:latin typeface="Ubuntu" panose="020B0504030602030204" pitchFamily="34" charset="0"/>
                      </a:endParaRPr>
                    </a:p>
                  </a:txBody>
                  <a:tcP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6DCE5"/>
                    </a:solidFill>
                  </a:tcPr>
                </a:tc>
                <a:extLst>
                  <a:ext uri="{0D108BD9-81ED-4DB2-BD59-A6C34878D82A}">
                    <a16:rowId xmlns:a16="http://schemas.microsoft.com/office/drawing/2014/main" val="3375250590"/>
                  </a:ext>
                </a:extLst>
              </a:tr>
            </a:tbl>
          </a:graphicData>
        </a:graphic>
      </p:graphicFrame>
    </p:spTree>
    <p:extLst>
      <p:ext uri="{BB962C8B-B14F-4D97-AF65-F5344CB8AC3E}">
        <p14:creationId xmlns:p14="http://schemas.microsoft.com/office/powerpoint/2010/main" val="2663527303"/>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ustom layou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0722F-D5CB-5E03-E75A-66C8A00A97F1}"/>
              </a:ext>
            </a:extLst>
          </p:cNvPr>
          <p:cNvSpPr>
            <a:spLocks noGrp="1"/>
          </p:cNvSpPr>
          <p:nvPr>
            <p:ph type="title"/>
          </p:nvPr>
        </p:nvSpPr>
        <p:spPr/>
        <p:txBody>
          <a:bodyPr/>
          <a:lstStyle/>
          <a:p>
            <a:r>
              <a:rPr lang="en-US"/>
              <a:t>Click to edit Master title style</a:t>
            </a:r>
          </a:p>
        </p:txBody>
      </p:sp>
      <p:graphicFrame>
        <p:nvGraphicFramePr>
          <p:cNvPr id="3" name="Table 5">
            <a:extLst>
              <a:ext uri="{FF2B5EF4-FFF2-40B4-BE49-F238E27FC236}">
                <a16:creationId xmlns:a16="http://schemas.microsoft.com/office/drawing/2014/main" id="{1AD1E4EB-25E9-FC63-15F2-D27010A7BC70}"/>
              </a:ext>
            </a:extLst>
          </p:cNvPr>
          <p:cNvGraphicFramePr>
            <a:graphicFrameLocks noGrp="1"/>
          </p:cNvGraphicFramePr>
          <p:nvPr>
            <p:extLst>
              <p:ext uri="{D42A27DB-BD31-4B8C-83A1-F6EECF244321}">
                <p14:modId xmlns:p14="http://schemas.microsoft.com/office/powerpoint/2010/main" val="267231647"/>
              </p:ext>
            </p:extLst>
          </p:nvPr>
        </p:nvGraphicFramePr>
        <p:xfrm>
          <a:off x="1628770" y="1323105"/>
          <a:ext cx="2875805" cy="2952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875805">
                  <a:extLst>
                    <a:ext uri="{9D8B030D-6E8A-4147-A177-3AD203B41FA5}">
                      <a16:colId xmlns:a16="http://schemas.microsoft.com/office/drawing/2014/main" val="3547775969"/>
                    </a:ext>
                  </a:extLst>
                </a:gridCol>
              </a:tblGrid>
              <a:tr h="612000">
                <a:tc>
                  <a:txBody>
                    <a:bodyPr/>
                    <a:lstStyle/>
                    <a:p>
                      <a:pPr algn="ctr"/>
                      <a:r>
                        <a:rPr lang="en-US" sz="900" b="0">
                          <a:solidFill>
                            <a:schemeClr val="bg1"/>
                          </a:solidFill>
                          <a:latin typeface="Ubuntu" panose="020B0504030602030204" pitchFamily="34" charset="0"/>
                        </a:rPr>
                        <a:t>…</a:t>
                      </a:r>
                      <a:endParaRPr lang="en-US" sz="1000" b="0">
                        <a:solidFill>
                          <a:schemeClr val="bg1"/>
                        </a:solidFill>
                      </a:endParaRPr>
                    </a:p>
                  </a:txBody>
                  <a:tcPr marL="108000" marR="108000" marT="41564" marB="4156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2088916160"/>
                  </a:ext>
                </a:extLst>
              </a:tr>
              <a:tr h="2340000">
                <a:tc>
                  <a:txBody>
                    <a:bodyPr/>
                    <a:lstStyle/>
                    <a:p>
                      <a:pPr algn="ctr"/>
                      <a:r>
                        <a:rPr lang="en-US" sz="900">
                          <a:latin typeface="Ubuntu" panose="020B0504030602030204" pitchFamily="34" charset="0"/>
                        </a:rPr>
                        <a:t>…</a:t>
                      </a:r>
                    </a:p>
                  </a:txBody>
                  <a:tcPr marL="137160" marR="137160" marT="137160" marB="13716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3793215416"/>
                  </a:ext>
                </a:extLst>
              </a:tr>
            </a:tbl>
          </a:graphicData>
        </a:graphic>
      </p:graphicFrame>
      <p:graphicFrame>
        <p:nvGraphicFramePr>
          <p:cNvPr id="4" name="Table 3">
            <a:extLst>
              <a:ext uri="{FF2B5EF4-FFF2-40B4-BE49-F238E27FC236}">
                <a16:creationId xmlns:a16="http://schemas.microsoft.com/office/drawing/2014/main" id="{2D3F6236-745D-B41E-E3AF-0D6CD493D4A9}"/>
              </a:ext>
            </a:extLst>
          </p:cNvPr>
          <p:cNvGraphicFramePr>
            <a:graphicFrameLocks noGrp="1"/>
          </p:cNvGraphicFramePr>
          <p:nvPr>
            <p:extLst>
              <p:ext uri="{D42A27DB-BD31-4B8C-83A1-F6EECF244321}">
                <p14:modId xmlns:p14="http://schemas.microsoft.com/office/powerpoint/2010/main" val="4107532456"/>
              </p:ext>
            </p:extLst>
          </p:nvPr>
        </p:nvGraphicFramePr>
        <p:xfrm>
          <a:off x="4662924" y="1323105"/>
          <a:ext cx="2875805" cy="2952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875805">
                  <a:extLst>
                    <a:ext uri="{9D8B030D-6E8A-4147-A177-3AD203B41FA5}">
                      <a16:colId xmlns:a16="http://schemas.microsoft.com/office/drawing/2014/main" val="3547775969"/>
                    </a:ext>
                  </a:extLst>
                </a:gridCol>
              </a:tblGrid>
              <a:tr h="612000">
                <a:tc>
                  <a:txBody>
                    <a:bodyPr/>
                    <a:lstStyle/>
                    <a:p>
                      <a:pPr algn="ctr"/>
                      <a:r>
                        <a:rPr lang="en-US" sz="900" b="0">
                          <a:solidFill>
                            <a:schemeClr val="bg1"/>
                          </a:solidFill>
                          <a:latin typeface="Ubuntu" panose="020B0504030602030204" pitchFamily="34" charset="0"/>
                        </a:rPr>
                        <a:t>…</a:t>
                      </a:r>
                      <a:endParaRPr lang="en-US" sz="1100" b="0">
                        <a:solidFill>
                          <a:schemeClr val="bg1"/>
                        </a:solidFill>
                      </a:endParaRPr>
                    </a:p>
                  </a:txBody>
                  <a:tcPr marL="108000" marR="108000" marT="41564" marB="4156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2088916160"/>
                  </a:ext>
                </a:extLst>
              </a:tr>
              <a:tr h="2340000">
                <a:tc>
                  <a:txBody>
                    <a:bodyPr/>
                    <a:lstStyle/>
                    <a:p>
                      <a:pPr algn="ctr"/>
                      <a:r>
                        <a:rPr lang="en-US" sz="900">
                          <a:latin typeface="Ubuntu" panose="020B0504030602030204" pitchFamily="34" charset="0"/>
                        </a:rPr>
                        <a:t>…</a:t>
                      </a:r>
                    </a:p>
                  </a:txBody>
                  <a:tcPr marL="137160" marR="137160" marT="137160" marB="13716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3793215416"/>
                  </a:ext>
                </a:extLst>
              </a:tr>
            </a:tbl>
          </a:graphicData>
        </a:graphic>
      </p:graphicFrame>
      <p:graphicFrame>
        <p:nvGraphicFramePr>
          <p:cNvPr id="5" name="Table 5">
            <a:extLst>
              <a:ext uri="{FF2B5EF4-FFF2-40B4-BE49-F238E27FC236}">
                <a16:creationId xmlns:a16="http://schemas.microsoft.com/office/drawing/2014/main" id="{1BFC38C8-C2D3-7125-A7F0-6CBFFED7A89C}"/>
              </a:ext>
            </a:extLst>
          </p:cNvPr>
          <p:cNvGraphicFramePr>
            <a:graphicFrameLocks noGrp="1"/>
          </p:cNvGraphicFramePr>
          <p:nvPr>
            <p:extLst>
              <p:ext uri="{D42A27DB-BD31-4B8C-83A1-F6EECF244321}">
                <p14:modId xmlns:p14="http://schemas.microsoft.com/office/powerpoint/2010/main" val="1596560752"/>
              </p:ext>
            </p:extLst>
          </p:nvPr>
        </p:nvGraphicFramePr>
        <p:xfrm>
          <a:off x="7697077" y="1323105"/>
          <a:ext cx="2875805" cy="29520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875805">
                  <a:extLst>
                    <a:ext uri="{9D8B030D-6E8A-4147-A177-3AD203B41FA5}">
                      <a16:colId xmlns:a16="http://schemas.microsoft.com/office/drawing/2014/main" val="3547775969"/>
                    </a:ext>
                  </a:extLst>
                </a:gridCol>
              </a:tblGrid>
              <a:tr h="612000">
                <a:tc>
                  <a:txBody>
                    <a:bodyPr/>
                    <a:lstStyle/>
                    <a:p>
                      <a:pPr algn="ctr"/>
                      <a:r>
                        <a:rPr lang="en-US" sz="900" b="0">
                          <a:latin typeface="Ubuntu" panose="020B0504030602030204" pitchFamily="34" charset="0"/>
                        </a:rPr>
                        <a:t>…</a:t>
                      </a:r>
                      <a:endParaRPr lang="en-US" sz="1050" b="0"/>
                    </a:p>
                  </a:txBody>
                  <a:tcPr marL="108000" marR="108000" marT="41564" marB="4156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val="2088916160"/>
                  </a:ext>
                </a:extLst>
              </a:tr>
              <a:tr h="2340000">
                <a:tc>
                  <a:txBody>
                    <a:bodyPr/>
                    <a:lstStyle/>
                    <a:p>
                      <a:pPr algn="ctr"/>
                      <a:r>
                        <a:rPr lang="en-US" sz="900">
                          <a:latin typeface="Ubuntu" panose="020B0504030602030204" pitchFamily="34" charset="0"/>
                        </a:rPr>
                        <a:t>…</a:t>
                      </a:r>
                    </a:p>
                  </a:txBody>
                  <a:tcPr marL="137160" marR="137160" marT="137160" marB="13716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3793215416"/>
                  </a:ext>
                </a:extLst>
              </a:tr>
            </a:tbl>
          </a:graphicData>
        </a:graphic>
      </p:graphicFrame>
      <p:sp>
        <p:nvSpPr>
          <p:cNvPr id="6" name="Isosceles Triangle 5">
            <a:extLst>
              <a:ext uri="{FF2B5EF4-FFF2-40B4-BE49-F238E27FC236}">
                <a16:creationId xmlns:a16="http://schemas.microsoft.com/office/drawing/2014/main" id="{1462C9CB-3CC8-1E02-1E26-C77D8A8B43B4}"/>
              </a:ext>
            </a:extLst>
          </p:cNvPr>
          <p:cNvSpPr/>
          <p:nvPr/>
        </p:nvSpPr>
        <p:spPr>
          <a:xfrm rot="10800000">
            <a:off x="1628770" y="4545696"/>
            <a:ext cx="8944112" cy="381113"/>
          </a:xfrm>
          <a:prstGeom prst="triangle">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accent6"/>
              </a:solidFill>
              <a:latin typeface="Ubuntu" panose="020B0504030602030204" pitchFamily="34" charset="0"/>
            </a:endParaRPr>
          </a:p>
        </p:txBody>
      </p:sp>
      <p:sp>
        <p:nvSpPr>
          <p:cNvPr id="7" name="Oval 6">
            <a:extLst>
              <a:ext uri="{FF2B5EF4-FFF2-40B4-BE49-F238E27FC236}">
                <a16:creationId xmlns:a16="http://schemas.microsoft.com/office/drawing/2014/main" id="{BA8BFBBF-BEE5-BF0F-70A6-EFD0D29441C9}"/>
              </a:ext>
            </a:extLst>
          </p:cNvPr>
          <p:cNvSpPr/>
          <p:nvPr/>
        </p:nvSpPr>
        <p:spPr>
          <a:xfrm>
            <a:off x="4542386" y="1175202"/>
            <a:ext cx="426575" cy="264869"/>
          </a:xfrm>
          <a:prstGeom prst="ellipse">
            <a:avLst/>
          </a:prstGeom>
          <a:solidFill>
            <a:srgbClr val="44546A"/>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Ubuntu" panose="020B0504030602030204" pitchFamily="34" charset="0"/>
              </a:rPr>
              <a:t>2</a:t>
            </a:r>
          </a:p>
        </p:txBody>
      </p:sp>
      <p:sp>
        <p:nvSpPr>
          <p:cNvPr id="8" name="Oval 7">
            <a:extLst>
              <a:ext uri="{FF2B5EF4-FFF2-40B4-BE49-F238E27FC236}">
                <a16:creationId xmlns:a16="http://schemas.microsoft.com/office/drawing/2014/main" id="{143796A0-F390-98EB-8902-DE68E29C8A9F}"/>
              </a:ext>
            </a:extLst>
          </p:cNvPr>
          <p:cNvSpPr/>
          <p:nvPr/>
        </p:nvSpPr>
        <p:spPr>
          <a:xfrm>
            <a:off x="7577229" y="1175202"/>
            <a:ext cx="426575" cy="264869"/>
          </a:xfrm>
          <a:prstGeom prst="ellipse">
            <a:avLst/>
          </a:prstGeom>
          <a:solidFill>
            <a:srgbClr val="44546A"/>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FFFFFF"/>
                </a:solidFill>
                <a:latin typeface="Ubuntu" panose="020B0504030602030204" pitchFamily="34" charset="0"/>
              </a:rPr>
              <a:t>3</a:t>
            </a:r>
          </a:p>
        </p:txBody>
      </p:sp>
      <p:sp>
        <p:nvSpPr>
          <p:cNvPr id="9" name="Oval 8">
            <a:extLst>
              <a:ext uri="{FF2B5EF4-FFF2-40B4-BE49-F238E27FC236}">
                <a16:creationId xmlns:a16="http://schemas.microsoft.com/office/drawing/2014/main" id="{F7C42C16-E943-D200-6A73-EF24CC7B40F6}"/>
              </a:ext>
            </a:extLst>
          </p:cNvPr>
          <p:cNvSpPr/>
          <p:nvPr/>
        </p:nvSpPr>
        <p:spPr>
          <a:xfrm>
            <a:off x="1482857" y="1175202"/>
            <a:ext cx="426575" cy="264869"/>
          </a:xfrm>
          <a:prstGeom prst="ellipse">
            <a:avLst/>
          </a:prstGeom>
          <a:solidFill>
            <a:schemeClr val="tx2"/>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Ubuntu" panose="020B0504030602030204" pitchFamily="34" charset="0"/>
              </a:rPr>
              <a:t>1</a:t>
            </a:r>
          </a:p>
        </p:txBody>
      </p:sp>
      <p:sp>
        <p:nvSpPr>
          <p:cNvPr id="10" name="Rectangle 9">
            <a:extLst>
              <a:ext uri="{FF2B5EF4-FFF2-40B4-BE49-F238E27FC236}">
                <a16:creationId xmlns:a16="http://schemas.microsoft.com/office/drawing/2014/main" id="{9883C564-69DC-8CDE-3E1B-6E0C18BEACB3}"/>
              </a:ext>
            </a:extLst>
          </p:cNvPr>
          <p:cNvSpPr/>
          <p:nvPr/>
        </p:nvSpPr>
        <p:spPr>
          <a:xfrm>
            <a:off x="1628770" y="5082723"/>
            <a:ext cx="8944112" cy="781050"/>
          </a:xfrm>
          <a:prstGeom prst="rect">
            <a:avLst/>
          </a:prstGeom>
          <a:no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latin typeface="Ubuntu" panose="020B0504030602030204" pitchFamily="34" charset="0"/>
            </a:endParaRPr>
          </a:p>
        </p:txBody>
      </p:sp>
    </p:spTree>
    <p:extLst>
      <p:ext uri="{BB962C8B-B14F-4D97-AF65-F5344CB8AC3E}">
        <p14:creationId xmlns:p14="http://schemas.microsoft.com/office/powerpoint/2010/main" val="4067322588"/>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ustom layout 7">
    <p:spTree>
      <p:nvGrpSpPr>
        <p:cNvPr id="1" name=""/>
        <p:cNvGrpSpPr/>
        <p:nvPr/>
      </p:nvGrpSpPr>
      <p:grpSpPr>
        <a:xfrm>
          <a:off x="0" y="0"/>
          <a:ext cx="0" cy="0"/>
          <a:chOff x="0" y="0"/>
          <a:chExt cx="0" cy="0"/>
        </a:xfrm>
      </p:grpSpPr>
      <p:sp>
        <p:nvSpPr>
          <p:cNvPr id="20" name="Text Placeholder 12">
            <a:extLst>
              <a:ext uri="{FF2B5EF4-FFF2-40B4-BE49-F238E27FC236}">
                <a16:creationId xmlns:a16="http://schemas.microsoft.com/office/drawing/2014/main" id="{E7562BF7-B6F2-44EE-A788-FA723912C454}"/>
              </a:ext>
            </a:extLst>
          </p:cNvPr>
          <p:cNvSpPr>
            <a:spLocks noGrp="1"/>
          </p:cNvSpPr>
          <p:nvPr>
            <p:ph type="body" sz="quarter" idx="39" hasCustomPrompt="1"/>
          </p:nvPr>
        </p:nvSpPr>
        <p:spPr>
          <a:xfrm>
            <a:off x="442912" y="1125537"/>
            <a:ext cx="5862397" cy="395287"/>
          </a:xfrm>
          <a:prstGeom prst="rect">
            <a:avLst/>
          </a:prstGeom>
          <a:solidFill>
            <a:schemeClr val="tx2"/>
          </a:solidFill>
          <a:ln>
            <a:noFill/>
          </a:ln>
        </p:spPr>
        <p:txBody>
          <a:bodyPr anchor="ctr">
            <a:noAutofit/>
          </a:bodyPr>
          <a:lstStyle>
            <a:lvl1pPr>
              <a:spcBef>
                <a:spcPts val="0"/>
              </a:spcBef>
              <a:buNone/>
              <a:defRPr sz="1400" b="1">
                <a:solidFill>
                  <a:schemeClr val="bg1"/>
                </a:solidFill>
                <a:latin typeface="Ubuntu" panose="020B0504030602030204" pitchFamily="34" charset="0"/>
                <a:cs typeface="Calibri Light" panose="020F0302020204030204" pitchFamily="34" charset="0"/>
              </a:defRPr>
            </a:lvl1pPr>
            <a:lvl2pPr marL="0" indent="0">
              <a:spcBef>
                <a:spcPts val="0"/>
              </a:spcBef>
              <a:buFont typeface="Arial" pitchFamily="34" charset="0"/>
              <a:buNone/>
              <a:defRPr sz="1200" baseline="0">
                <a:solidFill>
                  <a:schemeClr val="bg1"/>
                </a:solidFill>
                <a:latin typeface="Ubuntu" panose="020B0504030602030204" pitchFamily="34" charset="0"/>
                <a:cs typeface="Calibri Light" panose="020F0302020204030204" pitchFamily="34" charset="0"/>
              </a:defRPr>
            </a:lvl2pPr>
            <a:lvl3pPr marL="140683" indent="-140683">
              <a:spcBef>
                <a:spcPts val="0"/>
              </a:spcBef>
              <a:defRPr sz="1354">
                <a:solidFill>
                  <a:schemeClr val="accent6">
                    <a:lumMod val="75000"/>
                  </a:schemeClr>
                </a:solidFill>
              </a:defRPr>
            </a:lvl3pPr>
            <a:lvl4pPr marL="418141" indent="-134822">
              <a:spcBef>
                <a:spcPts val="0"/>
              </a:spcBef>
              <a:defRPr sz="1354">
                <a:solidFill>
                  <a:schemeClr val="accent6">
                    <a:lumMod val="75000"/>
                  </a:schemeClr>
                </a:solidFill>
              </a:defRPr>
            </a:lvl4pPr>
            <a:lvl5pPr marL="846053" indent="-140683">
              <a:spcBef>
                <a:spcPts val="0"/>
              </a:spcBef>
              <a:defRPr sz="1354">
                <a:solidFill>
                  <a:schemeClr val="accent6">
                    <a:lumMod val="75000"/>
                  </a:schemeClr>
                </a:solidFill>
              </a:defRPr>
            </a:lvl5pPr>
          </a:lstStyle>
          <a:p>
            <a:pPr lvl="0"/>
            <a:r>
              <a:rPr lang="en-US"/>
              <a:t>Click to enter heading</a:t>
            </a:r>
          </a:p>
          <a:p>
            <a:pPr lvl="1"/>
            <a:r>
              <a:rPr lang="en-US"/>
              <a:t>Second level (for units)</a:t>
            </a:r>
            <a:endParaRPr lang="en-US" noProof="0"/>
          </a:p>
        </p:txBody>
      </p:sp>
      <p:sp>
        <p:nvSpPr>
          <p:cNvPr id="2" name="Title 1">
            <a:extLst>
              <a:ext uri="{FF2B5EF4-FFF2-40B4-BE49-F238E27FC236}">
                <a16:creationId xmlns:a16="http://schemas.microsoft.com/office/drawing/2014/main" id="{C8D42DE3-C51C-0B54-F245-8D2DFF2B71F2}"/>
              </a:ext>
            </a:extLst>
          </p:cNvPr>
          <p:cNvSpPr>
            <a:spLocks noGrp="1"/>
          </p:cNvSpPr>
          <p:nvPr>
            <p:ph type="title"/>
          </p:nvPr>
        </p:nvSpPr>
        <p:spPr/>
        <p:txBody>
          <a:bodyPr/>
          <a:lstStyle/>
          <a:p>
            <a:r>
              <a:rPr lang="en-US"/>
              <a:t>Click to edit Master title style</a:t>
            </a:r>
          </a:p>
        </p:txBody>
      </p:sp>
      <p:sp>
        <p:nvSpPr>
          <p:cNvPr id="8" name="Text Placeholder 12">
            <a:extLst>
              <a:ext uri="{FF2B5EF4-FFF2-40B4-BE49-F238E27FC236}">
                <a16:creationId xmlns:a16="http://schemas.microsoft.com/office/drawing/2014/main" id="{4A609D49-0095-024E-5BB2-9038836A093E}"/>
              </a:ext>
            </a:extLst>
          </p:cNvPr>
          <p:cNvSpPr>
            <a:spLocks noGrp="1"/>
          </p:cNvSpPr>
          <p:nvPr>
            <p:ph type="body" sz="quarter" idx="18" hasCustomPrompt="1"/>
          </p:nvPr>
        </p:nvSpPr>
        <p:spPr>
          <a:xfrm>
            <a:off x="442912" y="5949950"/>
            <a:ext cx="11306175" cy="268128"/>
          </a:xfrm>
          <a:prstGeom prst="rect">
            <a:avLst/>
          </a:prstGeom>
          <a:noFill/>
        </p:spPr>
        <p:txBody>
          <a:bodyPr lIns="91440" tIns="0" rIns="0" bIns="0" anchor="b" anchorCtr="0">
            <a:noAutofit/>
          </a:bodyPr>
          <a:lstStyle>
            <a:lvl1pPr marL="0" indent="0">
              <a:spcBef>
                <a:spcPts val="0"/>
              </a:spcBef>
              <a:buNone/>
              <a:defRPr sz="900" baseline="0">
                <a:latin typeface="Ubuntu" panose="020B0504030602030204" pitchFamily="34" charset="0"/>
                <a:cs typeface="Calibri Light" panose="020F0302020204030204" pitchFamily="34" charset="0"/>
              </a:defRPr>
            </a:lvl1pPr>
            <a:lvl2pPr>
              <a:buNone/>
              <a:defRPr sz="1723"/>
            </a:lvl2pPr>
            <a:lvl3pPr>
              <a:buNone/>
              <a:defRPr sz="1477"/>
            </a:lvl3pPr>
            <a:lvl4pPr>
              <a:buNone/>
              <a:defRPr sz="1354"/>
            </a:lvl4pPr>
            <a:lvl5pPr>
              <a:buNone/>
              <a:defRPr sz="1354"/>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
        <p:nvSpPr>
          <p:cNvPr id="3" name="Rectangle 2">
            <a:extLst>
              <a:ext uri="{FF2B5EF4-FFF2-40B4-BE49-F238E27FC236}">
                <a16:creationId xmlns:a16="http://schemas.microsoft.com/office/drawing/2014/main" id="{E2F499A7-B1D9-2D0B-968D-0208A42079D1}"/>
              </a:ext>
            </a:extLst>
          </p:cNvPr>
          <p:cNvSpPr/>
          <p:nvPr/>
        </p:nvSpPr>
        <p:spPr>
          <a:xfrm>
            <a:off x="442913" y="1515349"/>
            <a:ext cx="5862398" cy="4361576"/>
          </a:xfrm>
          <a:prstGeom prst="rect">
            <a:avLst/>
          </a:prstGeom>
          <a:solidFill>
            <a:schemeClr val="tx2">
              <a:lumMod val="40000"/>
              <a:lumOff val="60000"/>
              <a:alpha val="7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accent6"/>
              </a:solidFill>
              <a:latin typeface="Ubuntu" panose="020B0504030602030204" pitchFamily="34" charset="0"/>
            </a:endParaRPr>
          </a:p>
        </p:txBody>
      </p:sp>
      <p:sp>
        <p:nvSpPr>
          <p:cNvPr id="6" name="Isosceles Triangle 5">
            <a:extLst>
              <a:ext uri="{FF2B5EF4-FFF2-40B4-BE49-F238E27FC236}">
                <a16:creationId xmlns:a16="http://schemas.microsoft.com/office/drawing/2014/main" id="{02DD8F7D-75E6-F5DD-1B74-215AFB504EFD}"/>
              </a:ext>
            </a:extLst>
          </p:cNvPr>
          <p:cNvSpPr/>
          <p:nvPr/>
        </p:nvSpPr>
        <p:spPr>
          <a:xfrm rot="5400000">
            <a:off x="6486506" y="944339"/>
            <a:ext cx="4751387" cy="5113785"/>
          </a:xfrm>
          <a:prstGeom prst="triangle">
            <a:avLst>
              <a:gd name="adj" fmla="val 51983"/>
            </a:avLst>
          </a:prstGeom>
          <a:gradFill>
            <a:gsLst>
              <a:gs pos="52000">
                <a:schemeClr val="bg1">
                  <a:alpha val="70000"/>
                </a:schemeClr>
              </a:gs>
              <a:gs pos="100000">
                <a:srgbClr val="C5CEDA"/>
              </a:gs>
            </a:gsLst>
            <a:lin ang="5400000" scaled="1"/>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accent6"/>
              </a:solidFill>
              <a:latin typeface="Ubuntu" panose="020B0504030602030204" pitchFamily="34" charset="0"/>
            </a:endParaRPr>
          </a:p>
        </p:txBody>
      </p:sp>
      <p:sp>
        <p:nvSpPr>
          <p:cNvPr id="7" name="Rectangle 6">
            <a:extLst>
              <a:ext uri="{FF2B5EF4-FFF2-40B4-BE49-F238E27FC236}">
                <a16:creationId xmlns:a16="http://schemas.microsoft.com/office/drawing/2014/main" id="{7FB83C02-C003-D10E-3290-1DC0F0DEB601}"/>
              </a:ext>
            </a:extLst>
          </p:cNvPr>
          <p:cNvSpPr/>
          <p:nvPr/>
        </p:nvSpPr>
        <p:spPr>
          <a:xfrm>
            <a:off x="7953375" y="1520824"/>
            <a:ext cx="3795712" cy="43560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buFont typeface="Arial" panose="020B0604020202020204" pitchFamily="34" charset="0"/>
              <a:buChar char="•"/>
            </a:pPr>
            <a:r>
              <a:rPr lang="en-US" sz="1600" b="0">
                <a:solidFill>
                  <a:schemeClr val="tx1"/>
                </a:solidFill>
                <a:latin typeface="Ubuntu" panose="020B0504030602030204" pitchFamily="34" charset="0"/>
              </a:rPr>
              <a:t>Comments</a:t>
            </a:r>
          </a:p>
          <a:p>
            <a:pPr marL="285750" indent="-285750" algn="l">
              <a:buFont typeface="Arial" panose="020B0604020202020204" pitchFamily="34" charset="0"/>
              <a:buChar char="•"/>
            </a:pPr>
            <a:r>
              <a:rPr lang="en-US" sz="1600" b="0">
                <a:solidFill>
                  <a:schemeClr val="tx1"/>
                </a:solidFill>
                <a:latin typeface="Ubuntu" panose="020B0504030602030204" pitchFamily="34" charset="0"/>
              </a:rPr>
              <a:t>…</a:t>
            </a:r>
          </a:p>
          <a:p>
            <a:pPr marL="0" indent="0" algn="l">
              <a:buFont typeface="Arial" panose="020B0604020202020204" pitchFamily="34" charset="0"/>
              <a:buNone/>
            </a:pPr>
            <a:endParaRPr lang="en-US" sz="1600" b="0">
              <a:solidFill>
                <a:schemeClr val="tx1"/>
              </a:solidFill>
              <a:latin typeface="Ubuntu" panose="020B0504030602030204" pitchFamily="34" charset="0"/>
            </a:endParaRPr>
          </a:p>
          <a:p>
            <a:pPr marL="0" indent="0" algn="l">
              <a:buFont typeface="Arial" panose="020B0604020202020204" pitchFamily="34" charset="0"/>
              <a:buNone/>
            </a:pPr>
            <a:endParaRPr lang="en-US" sz="1600" b="0">
              <a:solidFill>
                <a:schemeClr val="tx1"/>
              </a:solidFill>
              <a:latin typeface="Ubuntu" panose="020B0504030602030204" pitchFamily="34" charset="0"/>
            </a:endParaRPr>
          </a:p>
          <a:p>
            <a:pPr marL="0" indent="0" algn="l">
              <a:buFont typeface="Arial" panose="020B0604020202020204" pitchFamily="34" charset="0"/>
              <a:buNone/>
            </a:pPr>
            <a:endParaRPr lang="en-US" sz="1600" b="0">
              <a:solidFill>
                <a:schemeClr val="tx1"/>
              </a:solidFill>
              <a:latin typeface="Ubuntu" panose="020B0504030602030204" pitchFamily="34" charset="0"/>
            </a:endParaRPr>
          </a:p>
          <a:p>
            <a:pPr marL="0" indent="0" algn="l">
              <a:buFont typeface="Arial" panose="020B0604020202020204" pitchFamily="34" charset="0"/>
              <a:buNone/>
            </a:pPr>
            <a:endParaRPr lang="en-US" sz="1600" b="0">
              <a:solidFill>
                <a:schemeClr val="tx1"/>
              </a:solidFill>
              <a:latin typeface="Ubuntu" panose="020B0504030602030204" pitchFamily="34" charset="0"/>
            </a:endParaRPr>
          </a:p>
          <a:p>
            <a:pPr marL="0" indent="0" algn="l">
              <a:buFont typeface="Arial" panose="020B0604020202020204" pitchFamily="34" charset="0"/>
              <a:buNone/>
            </a:pPr>
            <a:endParaRPr lang="en-US" sz="1600" b="0">
              <a:solidFill>
                <a:schemeClr val="tx1"/>
              </a:solidFill>
              <a:latin typeface="Ubuntu" panose="020B0504030602030204" pitchFamily="34" charset="0"/>
            </a:endParaRPr>
          </a:p>
          <a:p>
            <a:pPr marL="0" indent="0" algn="l">
              <a:buFont typeface="Arial" panose="020B0604020202020204" pitchFamily="34" charset="0"/>
              <a:buNone/>
            </a:pPr>
            <a:endParaRPr lang="en-US" sz="1600" b="0">
              <a:solidFill>
                <a:schemeClr val="tx1"/>
              </a:solidFill>
              <a:latin typeface="Ubuntu" panose="020B0504030602030204" pitchFamily="34" charset="0"/>
            </a:endParaRPr>
          </a:p>
          <a:p>
            <a:pPr marL="0" indent="0" algn="l">
              <a:buFont typeface="Arial" panose="020B0604020202020204" pitchFamily="34" charset="0"/>
              <a:buNone/>
            </a:pPr>
            <a:endParaRPr lang="en-US" sz="1600" b="0">
              <a:solidFill>
                <a:schemeClr val="tx1"/>
              </a:solidFill>
              <a:latin typeface="Ubuntu" panose="020B0504030602030204" pitchFamily="34" charset="0"/>
            </a:endParaRPr>
          </a:p>
          <a:p>
            <a:pPr marL="0" indent="0" algn="l">
              <a:buFont typeface="Arial" panose="020B0604020202020204" pitchFamily="34" charset="0"/>
              <a:buNone/>
            </a:pPr>
            <a:endParaRPr lang="en-US" sz="1600" b="0">
              <a:solidFill>
                <a:schemeClr val="tx1"/>
              </a:solidFill>
              <a:latin typeface="Ubuntu" panose="020B0504030602030204" pitchFamily="34" charset="0"/>
            </a:endParaRPr>
          </a:p>
        </p:txBody>
      </p:sp>
    </p:spTree>
    <p:extLst>
      <p:ext uri="{BB962C8B-B14F-4D97-AF65-F5344CB8AC3E}">
        <p14:creationId xmlns:p14="http://schemas.microsoft.com/office/powerpoint/2010/main" val="4144151748"/>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ustom layout 8">
    <p:spTree>
      <p:nvGrpSpPr>
        <p:cNvPr id="1" name=""/>
        <p:cNvGrpSpPr/>
        <p:nvPr/>
      </p:nvGrpSpPr>
      <p:grpSpPr>
        <a:xfrm>
          <a:off x="0" y="0"/>
          <a:ext cx="0" cy="0"/>
          <a:chOff x="0" y="0"/>
          <a:chExt cx="0" cy="0"/>
        </a:xfrm>
      </p:grpSpPr>
      <p:sp>
        <p:nvSpPr>
          <p:cNvPr id="16" name="Isosceles Triangle 15">
            <a:extLst>
              <a:ext uri="{FF2B5EF4-FFF2-40B4-BE49-F238E27FC236}">
                <a16:creationId xmlns:a16="http://schemas.microsoft.com/office/drawing/2014/main" id="{AA863A52-BE62-827B-C105-DEDA05C82CC7}"/>
              </a:ext>
            </a:extLst>
          </p:cNvPr>
          <p:cNvSpPr/>
          <p:nvPr/>
        </p:nvSpPr>
        <p:spPr>
          <a:xfrm rot="17720174">
            <a:off x="3578850" y="1225948"/>
            <a:ext cx="1378053" cy="3081582"/>
          </a:xfrm>
          <a:prstGeom prst="triangle">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2" name="Title 1">
            <a:extLst>
              <a:ext uri="{FF2B5EF4-FFF2-40B4-BE49-F238E27FC236}">
                <a16:creationId xmlns:a16="http://schemas.microsoft.com/office/drawing/2014/main" id="{4344EEA5-4B69-6B31-CE2E-F1E35A82833E}"/>
              </a:ext>
            </a:extLst>
          </p:cNvPr>
          <p:cNvSpPr>
            <a:spLocks noGrp="1"/>
          </p:cNvSpPr>
          <p:nvPr>
            <p:ph type="title"/>
          </p:nvPr>
        </p:nvSpPr>
        <p:spPr/>
        <p:txBody>
          <a:bodyPr/>
          <a:lstStyle/>
          <a:p>
            <a:r>
              <a:rPr lang="en-US"/>
              <a:t>Click to edit Master title style</a:t>
            </a:r>
          </a:p>
        </p:txBody>
      </p:sp>
      <p:sp>
        <p:nvSpPr>
          <p:cNvPr id="3" name="Isosceles Triangle 2">
            <a:extLst>
              <a:ext uri="{FF2B5EF4-FFF2-40B4-BE49-F238E27FC236}">
                <a16:creationId xmlns:a16="http://schemas.microsoft.com/office/drawing/2014/main" id="{3054BBC8-AD13-AA14-0FC1-3CA08B4ADAC6}"/>
              </a:ext>
            </a:extLst>
          </p:cNvPr>
          <p:cNvSpPr/>
          <p:nvPr/>
        </p:nvSpPr>
        <p:spPr>
          <a:xfrm rot="14689948">
            <a:off x="3882725" y="2864079"/>
            <a:ext cx="1378053" cy="3081581"/>
          </a:xfrm>
          <a:prstGeom prst="triangle">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4" name="Isosceles Triangle 3">
            <a:extLst>
              <a:ext uri="{FF2B5EF4-FFF2-40B4-BE49-F238E27FC236}">
                <a16:creationId xmlns:a16="http://schemas.microsoft.com/office/drawing/2014/main" id="{4CD3D31C-8B76-3956-2A16-6DC4684CBDCB}"/>
              </a:ext>
            </a:extLst>
          </p:cNvPr>
          <p:cNvSpPr/>
          <p:nvPr/>
        </p:nvSpPr>
        <p:spPr>
          <a:xfrm rot="5400000">
            <a:off x="6709264" y="2036622"/>
            <a:ext cx="1536443" cy="3081582"/>
          </a:xfrm>
          <a:prstGeom prst="triangle">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5" name="Oval 4">
            <a:extLst>
              <a:ext uri="{FF2B5EF4-FFF2-40B4-BE49-F238E27FC236}">
                <a16:creationId xmlns:a16="http://schemas.microsoft.com/office/drawing/2014/main" id="{33FE6EB6-629A-D217-EC2E-78A6270778D2}"/>
              </a:ext>
            </a:extLst>
          </p:cNvPr>
          <p:cNvSpPr/>
          <p:nvPr/>
        </p:nvSpPr>
        <p:spPr>
          <a:xfrm>
            <a:off x="5141289" y="2678329"/>
            <a:ext cx="1828800" cy="1828800"/>
          </a:xfrm>
          <a:prstGeom prst="ellipse">
            <a:avLst/>
          </a:prstGeom>
          <a:solidFill>
            <a:schemeClr val="tx2">
              <a:lumMod val="20000"/>
              <a:lumOff val="8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6" name="Rectangle 5">
            <a:extLst>
              <a:ext uri="{FF2B5EF4-FFF2-40B4-BE49-F238E27FC236}">
                <a16:creationId xmlns:a16="http://schemas.microsoft.com/office/drawing/2014/main" id="{8B32D5F1-CDC5-F4D4-390F-8EB00DD3590F}"/>
              </a:ext>
            </a:extLst>
          </p:cNvPr>
          <p:cNvSpPr/>
          <p:nvPr/>
        </p:nvSpPr>
        <p:spPr>
          <a:xfrm>
            <a:off x="5277801" y="3452658"/>
            <a:ext cx="1555774" cy="9144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333F50"/>
              </a:solidFill>
              <a:effectLst/>
              <a:uLnTx/>
              <a:uFillTx/>
              <a:latin typeface="Ubuntu" panose="020B0504030602030204" pitchFamily="34" charset="0"/>
              <a:ea typeface="+mn-ea"/>
              <a:cs typeface="+mn-cs"/>
            </a:endParaRPr>
          </a:p>
        </p:txBody>
      </p:sp>
      <p:sp>
        <p:nvSpPr>
          <p:cNvPr id="13" name="Rectangle 12">
            <a:extLst>
              <a:ext uri="{FF2B5EF4-FFF2-40B4-BE49-F238E27FC236}">
                <a16:creationId xmlns:a16="http://schemas.microsoft.com/office/drawing/2014/main" id="{2596096B-1C34-20D8-B94B-A52450688E21}"/>
              </a:ext>
            </a:extLst>
          </p:cNvPr>
          <p:cNvSpPr/>
          <p:nvPr/>
        </p:nvSpPr>
        <p:spPr>
          <a:xfrm>
            <a:off x="5229225" y="3281208"/>
            <a:ext cx="1699600" cy="9144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333F50"/>
                </a:solidFill>
                <a:effectLst/>
                <a:uLnTx/>
                <a:uFillTx/>
                <a:latin typeface="Ubuntu" panose="020B0504030602030204" pitchFamily="34" charset="0"/>
                <a:ea typeface="+mn-ea"/>
                <a:cs typeface="+mn-cs"/>
              </a:rPr>
              <a:t>...</a:t>
            </a:r>
            <a:endParaRPr kumimoji="0" lang="en-US" sz="1600" b="0" i="0" u="none" strike="noStrike" kern="1200" cap="none" spc="0" normalizeH="0" baseline="0" noProof="0">
              <a:ln>
                <a:noFill/>
              </a:ln>
              <a:solidFill>
                <a:srgbClr val="333F50"/>
              </a:solidFill>
              <a:effectLst/>
              <a:uLnTx/>
              <a:uFillTx/>
              <a:latin typeface="Ubuntu" panose="020B0504030602030204" pitchFamily="34" charset="0"/>
              <a:ea typeface="+mn-ea"/>
              <a:cs typeface="+mn-cs"/>
            </a:endParaRPr>
          </a:p>
        </p:txBody>
      </p:sp>
      <p:graphicFrame>
        <p:nvGraphicFramePr>
          <p:cNvPr id="15" name="Table 16">
            <a:extLst>
              <a:ext uri="{FF2B5EF4-FFF2-40B4-BE49-F238E27FC236}">
                <a16:creationId xmlns:a16="http://schemas.microsoft.com/office/drawing/2014/main" id="{AB808660-7209-5A62-7283-855A7327E887}"/>
              </a:ext>
            </a:extLst>
          </p:cNvPr>
          <p:cNvGraphicFramePr>
            <a:graphicFrameLocks noGrp="1"/>
          </p:cNvGraphicFramePr>
          <p:nvPr>
            <p:extLst>
              <p:ext uri="{D42A27DB-BD31-4B8C-83A1-F6EECF244321}">
                <p14:modId xmlns:p14="http://schemas.microsoft.com/office/powerpoint/2010/main" val="3204411114"/>
              </p:ext>
            </p:extLst>
          </p:nvPr>
        </p:nvGraphicFramePr>
        <p:xfrm>
          <a:off x="442913" y="1687301"/>
          <a:ext cx="3794413" cy="1236043"/>
        </p:xfrm>
        <a:graphic>
          <a:graphicData uri="http://schemas.openxmlformats.org/drawingml/2006/table">
            <a:tbl>
              <a:tblPr firstRow="1" bandRow="1">
                <a:tableStyleId>{5C22544A-7EE6-4342-B048-85BDC9FD1C3A}</a:tableStyleId>
              </a:tblPr>
              <a:tblGrid>
                <a:gridCol w="3794413">
                  <a:extLst>
                    <a:ext uri="{9D8B030D-6E8A-4147-A177-3AD203B41FA5}">
                      <a16:colId xmlns:a16="http://schemas.microsoft.com/office/drawing/2014/main" val="1367859497"/>
                    </a:ext>
                  </a:extLst>
                </a:gridCol>
              </a:tblGrid>
              <a:tr h="140195">
                <a:tc>
                  <a:txBody>
                    <a:bodyPr/>
                    <a:lstStyle/>
                    <a:p>
                      <a:pPr algn="ctr"/>
                      <a:r>
                        <a:rPr lang="nb-NO" sz="1600">
                          <a:latin typeface="Ubuntu" panose="020B0504030602030204" pitchFamily="34" charset="0"/>
                        </a:rPr>
                        <a:t>...</a:t>
                      </a:r>
                      <a:endParaRPr lang="en-US" sz="1600"/>
                    </a:p>
                  </a:txBody>
                  <a:tcP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367170500"/>
                  </a:ext>
                </a:extLst>
              </a:tr>
              <a:tr h="900763">
                <a:tc>
                  <a:txBody>
                    <a:bodyPr/>
                    <a:lstStyle/>
                    <a:p>
                      <a:pPr marL="171450" indent="-171450" algn="l">
                        <a:buFont typeface="Arial" panose="020B0604020202020204" pitchFamily="34" charset="0"/>
                        <a:buChar char="•"/>
                      </a:pPr>
                      <a:r>
                        <a:rPr lang="nb-NO" sz="1200">
                          <a:latin typeface="Ubuntu" panose="020B0504030602030204" pitchFamily="34" charset="0"/>
                        </a:rPr>
                        <a:t>...</a:t>
                      </a:r>
                    </a:p>
                  </a:txBody>
                  <a:tcPr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415254513"/>
                  </a:ext>
                </a:extLst>
              </a:tr>
            </a:tbl>
          </a:graphicData>
        </a:graphic>
      </p:graphicFrame>
      <p:graphicFrame>
        <p:nvGraphicFramePr>
          <p:cNvPr id="17" name="Table 16">
            <a:extLst>
              <a:ext uri="{FF2B5EF4-FFF2-40B4-BE49-F238E27FC236}">
                <a16:creationId xmlns:a16="http://schemas.microsoft.com/office/drawing/2014/main" id="{6CB43E2A-DC85-2C74-2D85-CCEDAB932BC2}"/>
              </a:ext>
            </a:extLst>
          </p:cNvPr>
          <p:cNvGraphicFramePr>
            <a:graphicFrameLocks noGrp="1"/>
          </p:cNvGraphicFramePr>
          <p:nvPr>
            <p:extLst>
              <p:ext uri="{D42A27DB-BD31-4B8C-83A1-F6EECF244321}">
                <p14:modId xmlns:p14="http://schemas.microsoft.com/office/powerpoint/2010/main" val="3086006331"/>
              </p:ext>
            </p:extLst>
          </p:nvPr>
        </p:nvGraphicFramePr>
        <p:xfrm>
          <a:off x="442913" y="4065606"/>
          <a:ext cx="3794413" cy="1236043"/>
        </p:xfrm>
        <a:graphic>
          <a:graphicData uri="http://schemas.openxmlformats.org/drawingml/2006/table">
            <a:tbl>
              <a:tblPr firstRow="1" bandRow="1">
                <a:tableStyleId>{5C22544A-7EE6-4342-B048-85BDC9FD1C3A}</a:tableStyleId>
              </a:tblPr>
              <a:tblGrid>
                <a:gridCol w="3794413">
                  <a:extLst>
                    <a:ext uri="{9D8B030D-6E8A-4147-A177-3AD203B41FA5}">
                      <a16:colId xmlns:a16="http://schemas.microsoft.com/office/drawing/2014/main" val="1367859497"/>
                    </a:ext>
                  </a:extLst>
                </a:gridCol>
              </a:tblGrid>
              <a:tr h="140195">
                <a:tc>
                  <a:txBody>
                    <a:bodyPr/>
                    <a:lstStyle/>
                    <a:p>
                      <a:pPr algn="ctr"/>
                      <a:r>
                        <a:rPr lang="nb-NO" sz="1600">
                          <a:latin typeface="Ubuntu" panose="020B0504030602030204" pitchFamily="34" charset="0"/>
                        </a:rPr>
                        <a:t>...</a:t>
                      </a:r>
                      <a:endParaRPr lang="en-US" sz="1600"/>
                    </a:p>
                  </a:txBody>
                  <a:tcP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367170500"/>
                  </a:ext>
                </a:extLst>
              </a:tr>
              <a:tr h="900763">
                <a:tc>
                  <a:txBody>
                    <a:bodyPr/>
                    <a:lstStyle/>
                    <a:p>
                      <a:pPr marL="171450" indent="-171450" algn="l">
                        <a:buFont typeface="Arial" panose="020B0604020202020204" pitchFamily="34" charset="0"/>
                        <a:buChar char="•"/>
                      </a:pPr>
                      <a:r>
                        <a:rPr lang="nb-NO" sz="1200">
                          <a:latin typeface="Ubuntu" panose="020B0504030602030204" pitchFamily="34" charset="0"/>
                        </a:rPr>
                        <a:t>...</a:t>
                      </a:r>
                      <a:endParaRPr lang="en-US" sz="1200"/>
                    </a:p>
                  </a:txBody>
                  <a:tcPr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415254513"/>
                  </a:ext>
                </a:extLst>
              </a:tr>
            </a:tbl>
          </a:graphicData>
        </a:graphic>
      </p:graphicFrame>
      <p:graphicFrame>
        <p:nvGraphicFramePr>
          <p:cNvPr id="18" name="Table 17">
            <a:extLst>
              <a:ext uri="{FF2B5EF4-FFF2-40B4-BE49-F238E27FC236}">
                <a16:creationId xmlns:a16="http://schemas.microsoft.com/office/drawing/2014/main" id="{50247185-8A37-2B3F-C488-4E6C22EAB070}"/>
              </a:ext>
            </a:extLst>
          </p:cNvPr>
          <p:cNvGraphicFramePr>
            <a:graphicFrameLocks noGrp="1"/>
          </p:cNvGraphicFramePr>
          <p:nvPr>
            <p:extLst>
              <p:ext uri="{D42A27DB-BD31-4B8C-83A1-F6EECF244321}">
                <p14:modId xmlns:p14="http://schemas.microsoft.com/office/powerpoint/2010/main" val="2100770223"/>
              </p:ext>
            </p:extLst>
          </p:nvPr>
        </p:nvGraphicFramePr>
        <p:xfrm>
          <a:off x="7979063" y="2897835"/>
          <a:ext cx="3770023" cy="1236043"/>
        </p:xfrm>
        <a:graphic>
          <a:graphicData uri="http://schemas.openxmlformats.org/drawingml/2006/table">
            <a:tbl>
              <a:tblPr firstRow="1" bandRow="1">
                <a:tableStyleId>{5C22544A-7EE6-4342-B048-85BDC9FD1C3A}</a:tableStyleId>
              </a:tblPr>
              <a:tblGrid>
                <a:gridCol w="3770023">
                  <a:extLst>
                    <a:ext uri="{9D8B030D-6E8A-4147-A177-3AD203B41FA5}">
                      <a16:colId xmlns:a16="http://schemas.microsoft.com/office/drawing/2014/main" val="1367859497"/>
                    </a:ext>
                  </a:extLst>
                </a:gridCol>
              </a:tblGrid>
              <a:tr h="140195">
                <a:tc>
                  <a:txBody>
                    <a:bodyPr/>
                    <a:lstStyle/>
                    <a:p>
                      <a:pPr algn="ctr"/>
                      <a:r>
                        <a:rPr lang="nb-NO" sz="1600">
                          <a:latin typeface="Ubuntu" panose="020B0504030602030204" pitchFamily="34" charset="0"/>
                        </a:rPr>
                        <a:t>...</a:t>
                      </a:r>
                      <a:endParaRPr lang="en-US" sz="1600"/>
                    </a:p>
                  </a:txBody>
                  <a:tcP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367170500"/>
                  </a:ext>
                </a:extLst>
              </a:tr>
              <a:tr h="900763">
                <a:tc>
                  <a:txBody>
                    <a:bodyPr/>
                    <a:lstStyle/>
                    <a:p>
                      <a:pPr marL="171450" indent="-171450" algn="l">
                        <a:buFont typeface="Arial" panose="020B0604020202020204" pitchFamily="34" charset="0"/>
                        <a:buChar char="•"/>
                      </a:pPr>
                      <a:r>
                        <a:rPr lang="nb-NO" sz="1200">
                          <a:latin typeface="Ubuntu" panose="020B0504030602030204" pitchFamily="34" charset="0"/>
                        </a:rPr>
                        <a:t>...</a:t>
                      </a:r>
                      <a:endParaRPr lang="en-US" sz="1200"/>
                    </a:p>
                  </a:txBody>
                  <a:tcPr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415254513"/>
                  </a:ext>
                </a:extLst>
              </a:tr>
            </a:tbl>
          </a:graphicData>
        </a:graphic>
      </p:graphicFrame>
    </p:spTree>
    <p:extLst>
      <p:ext uri="{BB962C8B-B14F-4D97-AF65-F5344CB8AC3E}">
        <p14:creationId xmlns:p14="http://schemas.microsoft.com/office/powerpoint/2010/main" val="3514320059"/>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ustom layout 9">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58002-0F34-B507-6F30-660C19C6D1F5}"/>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947EBBD4-2E19-EB65-82F0-3C217ADD08CB}"/>
              </a:ext>
            </a:extLst>
          </p:cNvPr>
          <p:cNvSpPr/>
          <p:nvPr/>
        </p:nvSpPr>
        <p:spPr>
          <a:xfrm>
            <a:off x="0" y="2179515"/>
            <a:ext cx="12192000" cy="346538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panose="020B0504030602030204" pitchFamily="34" charset="0"/>
              <a:ea typeface="+mn-ea"/>
              <a:cs typeface="+mn-cs"/>
            </a:endParaRPr>
          </a:p>
        </p:txBody>
      </p:sp>
      <p:sp>
        <p:nvSpPr>
          <p:cNvPr id="5" name="Oval 4">
            <a:extLst>
              <a:ext uri="{FF2B5EF4-FFF2-40B4-BE49-F238E27FC236}">
                <a16:creationId xmlns:a16="http://schemas.microsoft.com/office/drawing/2014/main" id="{87A4D980-A62D-0DBB-6979-146C4FB3C7F4}"/>
              </a:ext>
            </a:extLst>
          </p:cNvPr>
          <p:cNvSpPr/>
          <p:nvPr/>
        </p:nvSpPr>
        <p:spPr>
          <a:xfrm>
            <a:off x="2826856" y="1680912"/>
            <a:ext cx="1050295" cy="1029600"/>
          </a:xfrm>
          <a:prstGeom prst="ellipse">
            <a:avLst/>
          </a:prstGeom>
          <a:solidFill>
            <a:schemeClr val="tx2">
              <a:lumMod val="40000"/>
              <a:lumOff val="60000"/>
            </a:scheme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82BA"/>
              </a:solidFill>
              <a:effectLst/>
              <a:uLnTx/>
              <a:uFillTx/>
              <a:latin typeface="Ubuntu" panose="020B0504030602030204" pitchFamily="34" charset="0"/>
              <a:ea typeface="+mn-ea"/>
              <a:cs typeface="+mn-cs"/>
            </a:endParaRPr>
          </a:p>
        </p:txBody>
      </p:sp>
      <p:sp>
        <p:nvSpPr>
          <p:cNvPr id="7" name="Rectangle 6">
            <a:extLst>
              <a:ext uri="{FF2B5EF4-FFF2-40B4-BE49-F238E27FC236}">
                <a16:creationId xmlns:a16="http://schemas.microsoft.com/office/drawing/2014/main" id="{FBBE83AD-46C3-43DC-3F63-FCE623C610FB}"/>
              </a:ext>
            </a:extLst>
          </p:cNvPr>
          <p:cNvSpPr/>
          <p:nvPr/>
        </p:nvSpPr>
        <p:spPr>
          <a:xfrm>
            <a:off x="1408398" y="2866566"/>
            <a:ext cx="3883596" cy="24864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p:txBody>
      </p:sp>
      <p:sp>
        <p:nvSpPr>
          <p:cNvPr id="9" name="Oval 8">
            <a:extLst>
              <a:ext uri="{FF2B5EF4-FFF2-40B4-BE49-F238E27FC236}">
                <a16:creationId xmlns:a16="http://schemas.microsoft.com/office/drawing/2014/main" id="{937CA8D6-16C2-A92D-C5D3-1C3E11FD6438}"/>
              </a:ext>
            </a:extLst>
          </p:cNvPr>
          <p:cNvSpPr/>
          <p:nvPr/>
        </p:nvSpPr>
        <p:spPr>
          <a:xfrm>
            <a:off x="8386474" y="1680912"/>
            <a:ext cx="1050295" cy="1029600"/>
          </a:xfrm>
          <a:prstGeom prst="ellipse">
            <a:avLst/>
          </a:prstGeom>
          <a:solidFill>
            <a:schemeClr val="tx2">
              <a:lumMod val="40000"/>
              <a:lumOff val="60000"/>
            </a:scheme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82BA"/>
              </a:solidFill>
              <a:effectLst/>
              <a:uLnTx/>
              <a:uFillTx/>
              <a:latin typeface="Ubuntu" panose="020B0504030602030204" pitchFamily="34" charset="0"/>
              <a:ea typeface="+mn-ea"/>
              <a:cs typeface="+mn-cs"/>
            </a:endParaRPr>
          </a:p>
        </p:txBody>
      </p:sp>
      <p:sp>
        <p:nvSpPr>
          <p:cNvPr id="11" name="Rectangle 10">
            <a:extLst>
              <a:ext uri="{FF2B5EF4-FFF2-40B4-BE49-F238E27FC236}">
                <a16:creationId xmlns:a16="http://schemas.microsoft.com/office/drawing/2014/main" id="{EE4B2A97-D7FF-5799-7956-50C0E5AC1E75}"/>
              </a:ext>
            </a:extLst>
          </p:cNvPr>
          <p:cNvSpPr/>
          <p:nvPr/>
        </p:nvSpPr>
        <p:spPr>
          <a:xfrm>
            <a:off x="6970426" y="2827380"/>
            <a:ext cx="3883596" cy="24864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3745746597"/>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ustom layout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58E32-2040-64AE-6598-1DF9AE2DC08D}"/>
              </a:ext>
            </a:extLst>
          </p:cNvPr>
          <p:cNvSpPr>
            <a:spLocks noGrp="1"/>
          </p:cNvSpPr>
          <p:nvPr>
            <p:ph type="title"/>
          </p:nvPr>
        </p:nvSpPr>
        <p:spPr/>
        <p:txBody>
          <a:bodyPr/>
          <a:lstStyle/>
          <a:p>
            <a:r>
              <a:rPr lang="en-US"/>
              <a:t>Click to edit Master title style</a:t>
            </a:r>
          </a:p>
        </p:txBody>
      </p:sp>
      <p:sp>
        <p:nvSpPr>
          <p:cNvPr id="4" name="Partial Circle 3">
            <a:extLst>
              <a:ext uri="{FF2B5EF4-FFF2-40B4-BE49-F238E27FC236}">
                <a16:creationId xmlns:a16="http://schemas.microsoft.com/office/drawing/2014/main" id="{AEC6A823-10F9-AC17-CB85-C8DCF8C095B9}"/>
              </a:ext>
            </a:extLst>
          </p:cNvPr>
          <p:cNvSpPr/>
          <p:nvPr/>
        </p:nvSpPr>
        <p:spPr>
          <a:xfrm rot="16200000">
            <a:off x="1721763" y="1913797"/>
            <a:ext cx="3453898" cy="3182296"/>
          </a:xfrm>
          <a:prstGeom prst="pie">
            <a:avLst>
              <a:gd name="adj1" fmla="val 21588596"/>
              <a:gd name="adj2" fmla="val 10816689"/>
            </a:avLst>
          </a:prstGeom>
          <a:noFill/>
          <a:ln w="2857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graphicFrame>
        <p:nvGraphicFramePr>
          <p:cNvPr id="5" name="Chart 4">
            <a:extLst>
              <a:ext uri="{FF2B5EF4-FFF2-40B4-BE49-F238E27FC236}">
                <a16:creationId xmlns:a16="http://schemas.microsoft.com/office/drawing/2014/main" id="{D051F7D5-AAC4-7F7F-084F-6A30B38ABDD4}"/>
              </a:ext>
            </a:extLst>
          </p:cNvPr>
          <p:cNvGraphicFramePr/>
          <p:nvPr>
            <p:extLst>
              <p:ext uri="{D42A27DB-BD31-4B8C-83A1-F6EECF244321}">
                <p14:modId xmlns:p14="http://schemas.microsoft.com/office/powerpoint/2010/main" val="1576460656"/>
              </p:ext>
            </p:extLst>
          </p:nvPr>
        </p:nvGraphicFramePr>
        <p:xfrm>
          <a:off x="1539902" y="1702566"/>
          <a:ext cx="3600000" cy="3600000"/>
        </p:xfrm>
        <a:graphic>
          <a:graphicData uri="http://schemas.openxmlformats.org/drawingml/2006/chart">
            <c:chart xmlns:c="http://schemas.openxmlformats.org/drawingml/2006/chart" xmlns:r="http://schemas.openxmlformats.org/officeDocument/2006/relationships" r:id="rId2"/>
          </a:graphicData>
        </a:graphic>
      </p:graphicFrame>
      <p:sp>
        <p:nvSpPr>
          <p:cNvPr id="17" name="Oval 16">
            <a:extLst>
              <a:ext uri="{FF2B5EF4-FFF2-40B4-BE49-F238E27FC236}">
                <a16:creationId xmlns:a16="http://schemas.microsoft.com/office/drawing/2014/main" id="{770EDC2D-7460-69AD-C9EC-FA83FD66F40F}"/>
              </a:ext>
            </a:extLst>
          </p:cNvPr>
          <p:cNvSpPr/>
          <p:nvPr/>
        </p:nvSpPr>
        <p:spPr>
          <a:xfrm>
            <a:off x="5251859" y="4678124"/>
            <a:ext cx="720000" cy="720000"/>
          </a:xfrm>
          <a:prstGeom prst="ellipse">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400">
              <a:solidFill>
                <a:schemeClr val="bg1"/>
              </a:solidFill>
              <a:latin typeface="Ubuntu" panose="020B0504030602030204" pitchFamily="34" charset="0"/>
            </a:endParaRPr>
          </a:p>
        </p:txBody>
      </p:sp>
      <p:sp>
        <p:nvSpPr>
          <p:cNvPr id="3" name="Oval 2">
            <a:extLst>
              <a:ext uri="{FF2B5EF4-FFF2-40B4-BE49-F238E27FC236}">
                <a16:creationId xmlns:a16="http://schemas.microsoft.com/office/drawing/2014/main" id="{CBE0A2E8-754F-D7A3-8C98-BC7F83502153}"/>
              </a:ext>
            </a:extLst>
          </p:cNvPr>
          <p:cNvSpPr/>
          <p:nvPr/>
        </p:nvSpPr>
        <p:spPr>
          <a:xfrm>
            <a:off x="3353587" y="1713977"/>
            <a:ext cx="144000" cy="14400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6" name="TextBox 5">
            <a:extLst>
              <a:ext uri="{FF2B5EF4-FFF2-40B4-BE49-F238E27FC236}">
                <a16:creationId xmlns:a16="http://schemas.microsoft.com/office/drawing/2014/main" id="{38D838B8-B774-B88F-337C-1CF9F792E8B6}"/>
              </a:ext>
            </a:extLst>
          </p:cNvPr>
          <p:cNvSpPr txBox="1"/>
          <p:nvPr/>
        </p:nvSpPr>
        <p:spPr>
          <a:xfrm>
            <a:off x="2423777" y="3360523"/>
            <a:ext cx="2018921" cy="307777"/>
          </a:xfrm>
          <a:prstGeom prst="rect">
            <a:avLst/>
          </a:prstGeom>
          <a:noFill/>
          <a:ln>
            <a:noFill/>
          </a:ln>
        </p:spPr>
        <p:txBody>
          <a:bodyPr wrap="square" rtlCol="0" anchor="ctr">
            <a:spAutoFit/>
          </a:bodyPr>
          <a:lstStyle/>
          <a:p>
            <a:pPr algn="ctr">
              <a:defRPr/>
            </a:pPr>
            <a:r>
              <a:rPr lang="en-US" sz="1400" b="1">
                <a:solidFill>
                  <a:schemeClr val="tx2">
                    <a:lumMod val="75000"/>
                  </a:schemeClr>
                </a:solidFill>
                <a:latin typeface="Ubuntu" panose="020B0504030602030204" pitchFamily="34" charset="0"/>
              </a:rPr>
              <a:t>…</a:t>
            </a:r>
          </a:p>
        </p:txBody>
      </p:sp>
      <p:sp>
        <p:nvSpPr>
          <p:cNvPr id="7" name="Oval 6">
            <a:extLst>
              <a:ext uri="{FF2B5EF4-FFF2-40B4-BE49-F238E27FC236}">
                <a16:creationId xmlns:a16="http://schemas.microsoft.com/office/drawing/2014/main" id="{A8B58C45-6243-D0BD-19A1-59F8DA90885C}"/>
              </a:ext>
            </a:extLst>
          </p:cNvPr>
          <p:cNvSpPr/>
          <p:nvPr/>
        </p:nvSpPr>
        <p:spPr>
          <a:xfrm>
            <a:off x="3353587" y="5150752"/>
            <a:ext cx="144000" cy="14400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8" name="Rectangle 7">
            <a:extLst>
              <a:ext uri="{FF2B5EF4-FFF2-40B4-BE49-F238E27FC236}">
                <a16:creationId xmlns:a16="http://schemas.microsoft.com/office/drawing/2014/main" id="{3C1311B9-9E1C-1307-5426-C9AD724A47CB}"/>
              </a:ext>
            </a:extLst>
          </p:cNvPr>
          <p:cNvSpPr/>
          <p:nvPr/>
        </p:nvSpPr>
        <p:spPr>
          <a:xfrm>
            <a:off x="2764388" y="4728858"/>
            <a:ext cx="1063690" cy="38378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9" name="Rectangle 8">
            <a:extLst>
              <a:ext uri="{FF2B5EF4-FFF2-40B4-BE49-F238E27FC236}">
                <a16:creationId xmlns:a16="http://schemas.microsoft.com/office/drawing/2014/main" id="{C93FF620-6061-22F3-569B-E12387F7AD77}"/>
              </a:ext>
            </a:extLst>
          </p:cNvPr>
          <p:cNvSpPr/>
          <p:nvPr/>
        </p:nvSpPr>
        <p:spPr>
          <a:xfrm>
            <a:off x="2821412" y="1937625"/>
            <a:ext cx="1063690" cy="33691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10" name="Oval 9">
            <a:extLst>
              <a:ext uri="{FF2B5EF4-FFF2-40B4-BE49-F238E27FC236}">
                <a16:creationId xmlns:a16="http://schemas.microsoft.com/office/drawing/2014/main" id="{94C74062-7C03-CD9B-B1D6-85221D4CBC33}"/>
              </a:ext>
            </a:extLst>
          </p:cNvPr>
          <p:cNvSpPr/>
          <p:nvPr/>
        </p:nvSpPr>
        <p:spPr>
          <a:xfrm>
            <a:off x="4515896" y="2245082"/>
            <a:ext cx="216000" cy="2160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11" name="Oval 10">
            <a:extLst>
              <a:ext uri="{FF2B5EF4-FFF2-40B4-BE49-F238E27FC236}">
                <a16:creationId xmlns:a16="http://schemas.microsoft.com/office/drawing/2014/main" id="{984EDEF2-274D-2133-51C9-271BD4252072}"/>
              </a:ext>
            </a:extLst>
          </p:cNvPr>
          <p:cNvSpPr/>
          <p:nvPr/>
        </p:nvSpPr>
        <p:spPr>
          <a:xfrm>
            <a:off x="4932663" y="3406411"/>
            <a:ext cx="216000" cy="2160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12" name="Oval 11">
            <a:extLst>
              <a:ext uri="{FF2B5EF4-FFF2-40B4-BE49-F238E27FC236}">
                <a16:creationId xmlns:a16="http://schemas.microsoft.com/office/drawing/2014/main" id="{6E4261AD-9BF2-AF78-E660-26BE9C978B0F}"/>
              </a:ext>
            </a:extLst>
          </p:cNvPr>
          <p:cNvSpPr/>
          <p:nvPr/>
        </p:nvSpPr>
        <p:spPr>
          <a:xfrm>
            <a:off x="4515896" y="4571515"/>
            <a:ext cx="216000" cy="2160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cxnSp>
        <p:nvCxnSpPr>
          <p:cNvPr id="13" name="Straight Connector 12">
            <a:extLst>
              <a:ext uri="{FF2B5EF4-FFF2-40B4-BE49-F238E27FC236}">
                <a16:creationId xmlns:a16="http://schemas.microsoft.com/office/drawing/2014/main" id="{6E833672-0307-7176-1067-214793DDAD74}"/>
              </a:ext>
            </a:extLst>
          </p:cNvPr>
          <p:cNvCxnSpPr>
            <a:cxnSpLocks/>
          </p:cNvCxnSpPr>
          <p:nvPr/>
        </p:nvCxnSpPr>
        <p:spPr>
          <a:xfrm flipV="1">
            <a:off x="4759359" y="2115563"/>
            <a:ext cx="570949" cy="198474"/>
          </a:xfrm>
          <a:prstGeom prst="line">
            <a:avLst/>
          </a:prstGeom>
          <a:ln w="1270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072B547-FF70-10AB-D58F-278FC85B2A67}"/>
              </a:ext>
            </a:extLst>
          </p:cNvPr>
          <p:cNvCxnSpPr>
            <a:cxnSpLocks/>
            <a:stCxn id="11" idx="6"/>
          </p:cNvCxnSpPr>
          <p:nvPr/>
        </p:nvCxnSpPr>
        <p:spPr>
          <a:xfrm flipV="1">
            <a:off x="5148663" y="3508044"/>
            <a:ext cx="974591" cy="6367"/>
          </a:xfrm>
          <a:prstGeom prst="line">
            <a:avLst/>
          </a:prstGeom>
          <a:ln w="1270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9F114747-249B-19E8-8FE1-FDC215255F8C}"/>
              </a:ext>
            </a:extLst>
          </p:cNvPr>
          <p:cNvSpPr/>
          <p:nvPr/>
        </p:nvSpPr>
        <p:spPr>
          <a:xfrm>
            <a:off x="6123254" y="3154411"/>
            <a:ext cx="720000" cy="720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400">
              <a:solidFill>
                <a:schemeClr val="bg1"/>
              </a:solidFill>
              <a:latin typeface="Ubuntu" panose="020B0504030602030204" pitchFamily="34" charset="0"/>
            </a:endParaRPr>
          </a:p>
        </p:txBody>
      </p:sp>
      <p:cxnSp>
        <p:nvCxnSpPr>
          <p:cNvPr id="19" name="Straight Connector 18">
            <a:extLst>
              <a:ext uri="{FF2B5EF4-FFF2-40B4-BE49-F238E27FC236}">
                <a16:creationId xmlns:a16="http://schemas.microsoft.com/office/drawing/2014/main" id="{F512D404-9C00-BFDC-5880-6A3BC74B1BCC}"/>
              </a:ext>
            </a:extLst>
          </p:cNvPr>
          <p:cNvCxnSpPr>
            <a:cxnSpLocks/>
          </p:cNvCxnSpPr>
          <p:nvPr/>
        </p:nvCxnSpPr>
        <p:spPr>
          <a:xfrm>
            <a:off x="4712582" y="4747910"/>
            <a:ext cx="544559" cy="185220"/>
          </a:xfrm>
          <a:prstGeom prst="line">
            <a:avLst/>
          </a:prstGeom>
          <a:ln w="1270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87E639E2-EBED-1A8E-2DB9-10D12BCCA111}"/>
              </a:ext>
            </a:extLst>
          </p:cNvPr>
          <p:cNvSpPr/>
          <p:nvPr/>
        </p:nvSpPr>
        <p:spPr>
          <a:xfrm>
            <a:off x="5333340" y="1673883"/>
            <a:ext cx="720000" cy="720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400">
              <a:solidFill>
                <a:schemeClr val="bg1"/>
              </a:solidFill>
              <a:latin typeface="Ubuntu" panose="020B0504030602030204" pitchFamily="34" charset="0"/>
            </a:endParaRPr>
          </a:p>
        </p:txBody>
      </p:sp>
      <p:sp>
        <p:nvSpPr>
          <p:cNvPr id="15" name="TextBox 14">
            <a:extLst>
              <a:ext uri="{FF2B5EF4-FFF2-40B4-BE49-F238E27FC236}">
                <a16:creationId xmlns:a16="http://schemas.microsoft.com/office/drawing/2014/main" id="{EB55CA3E-C904-49E9-AACF-91526D314150}"/>
              </a:ext>
            </a:extLst>
          </p:cNvPr>
          <p:cNvSpPr txBox="1"/>
          <p:nvPr/>
        </p:nvSpPr>
        <p:spPr>
          <a:xfrm>
            <a:off x="6120385" y="1726107"/>
            <a:ext cx="4680000" cy="615553"/>
          </a:xfrm>
          <a:prstGeom prst="rect">
            <a:avLst/>
          </a:prstGeom>
          <a:noFill/>
        </p:spPr>
        <p:txBody>
          <a:bodyPr wrap="square" rtlCol="0">
            <a:spAutoFit/>
          </a:bodyPr>
          <a:lstStyle/>
          <a:p>
            <a:pPr>
              <a:defRPr/>
            </a:pPr>
            <a:r>
              <a:rPr lang="en-US" sz="1200" b="1">
                <a:solidFill>
                  <a:schemeClr val="tx1"/>
                </a:solidFill>
                <a:latin typeface="Ubuntu" panose="020B0504030602030204" pitchFamily="34" charset="0"/>
              </a:rPr>
              <a:t>…</a:t>
            </a:r>
          </a:p>
          <a:p>
            <a:pPr marL="93663" indent="-93663">
              <a:buFont typeface="Arial" panose="020B0604020202020204" pitchFamily="34" charset="0"/>
              <a:buChar char="•"/>
              <a:defRPr/>
            </a:pPr>
            <a:r>
              <a:rPr lang="en-US" sz="1100">
                <a:solidFill>
                  <a:schemeClr val="tx1"/>
                </a:solidFill>
                <a:latin typeface="Ubuntu" panose="020B0504030602030204" pitchFamily="34" charset="0"/>
              </a:rPr>
              <a:t>…</a:t>
            </a:r>
          </a:p>
          <a:p>
            <a:pPr marL="93663" indent="-93663">
              <a:buFont typeface="Arial" panose="020B0604020202020204" pitchFamily="34" charset="0"/>
              <a:buChar char="•"/>
              <a:defRPr/>
            </a:pPr>
            <a:r>
              <a:rPr lang="en-US" sz="1100">
                <a:solidFill>
                  <a:schemeClr val="tx1"/>
                </a:solidFill>
                <a:latin typeface="Ubuntu" panose="020B0504030602030204" pitchFamily="34" charset="0"/>
              </a:rPr>
              <a:t>…</a:t>
            </a:r>
            <a:endParaRPr lang="en-US" sz="1200">
              <a:solidFill>
                <a:schemeClr val="tx1"/>
              </a:solidFill>
              <a:latin typeface="Ubuntu" panose="020B0504030602030204" pitchFamily="34" charset="0"/>
            </a:endParaRPr>
          </a:p>
        </p:txBody>
      </p:sp>
      <p:sp>
        <p:nvSpPr>
          <p:cNvPr id="20" name="TextBox 19">
            <a:extLst>
              <a:ext uri="{FF2B5EF4-FFF2-40B4-BE49-F238E27FC236}">
                <a16:creationId xmlns:a16="http://schemas.microsoft.com/office/drawing/2014/main" id="{59E82584-CB04-9672-4297-4F5A5E5FF6FF}"/>
              </a:ext>
            </a:extLst>
          </p:cNvPr>
          <p:cNvSpPr txBox="1"/>
          <p:nvPr/>
        </p:nvSpPr>
        <p:spPr>
          <a:xfrm>
            <a:off x="6901246" y="3206635"/>
            <a:ext cx="4680000" cy="615553"/>
          </a:xfrm>
          <a:prstGeom prst="rect">
            <a:avLst/>
          </a:prstGeom>
          <a:noFill/>
        </p:spPr>
        <p:txBody>
          <a:bodyPr wrap="square" rtlCol="0">
            <a:spAutoFit/>
          </a:bodyPr>
          <a:lstStyle/>
          <a:p>
            <a:pPr>
              <a:defRPr/>
            </a:pPr>
            <a:r>
              <a:rPr lang="en-US" sz="1200" b="1">
                <a:solidFill>
                  <a:schemeClr val="tx1"/>
                </a:solidFill>
                <a:latin typeface="Ubuntu" panose="020B0504030602030204" pitchFamily="34" charset="0"/>
              </a:rPr>
              <a:t>…</a:t>
            </a:r>
          </a:p>
          <a:p>
            <a:pPr marL="93663" indent="-93663">
              <a:buFont typeface="Arial" panose="020B0604020202020204" pitchFamily="34" charset="0"/>
              <a:buChar char="•"/>
              <a:defRPr/>
            </a:pPr>
            <a:r>
              <a:rPr lang="en-US" sz="1100">
                <a:solidFill>
                  <a:schemeClr val="tx1"/>
                </a:solidFill>
                <a:latin typeface="Ubuntu" panose="020B0504030602030204" pitchFamily="34" charset="0"/>
              </a:rPr>
              <a:t>…</a:t>
            </a:r>
          </a:p>
          <a:p>
            <a:pPr marL="93663" indent="-93663">
              <a:buFont typeface="Arial" panose="020B0604020202020204" pitchFamily="34" charset="0"/>
              <a:buChar char="•"/>
              <a:defRPr/>
            </a:pPr>
            <a:r>
              <a:rPr lang="en-US" sz="1100">
                <a:solidFill>
                  <a:schemeClr val="tx1"/>
                </a:solidFill>
                <a:latin typeface="Ubuntu" panose="020B0504030602030204" pitchFamily="34" charset="0"/>
              </a:rPr>
              <a:t>…</a:t>
            </a:r>
            <a:endParaRPr lang="en-US" sz="1200">
              <a:solidFill>
                <a:schemeClr val="tx1"/>
              </a:solidFill>
              <a:latin typeface="Ubuntu" panose="020B0504030602030204" pitchFamily="34" charset="0"/>
            </a:endParaRPr>
          </a:p>
        </p:txBody>
      </p:sp>
      <p:sp>
        <p:nvSpPr>
          <p:cNvPr id="21" name="TextBox 20">
            <a:extLst>
              <a:ext uri="{FF2B5EF4-FFF2-40B4-BE49-F238E27FC236}">
                <a16:creationId xmlns:a16="http://schemas.microsoft.com/office/drawing/2014/main" id="{F090C4F3-A793-64BD-E489-2C14837EAB9F}"/>
              </a:ext>
            </a:extLst>
          </p:cNvPr>
          <p:cNvSpPr txBox="1"/>
          <p:nvPr/>
        </p:nvSpPr>
        <p:spPr>
          <a:xfrm>
            <a:off x="6073932" y="4730348"/>
            <a:ext cx="4680000" cy="615553"/>
          </a:xfrm>
          <a:prstGeom prst="rect">
            <a:avLst/>
          </a:prstGeom>
          <a:noFill/>
        </p:spPr>
        <p:txBody>
          <a:bodyPr wrap="square" rtlCol="0">
            <a:spAutoFit/>
          </a:bodyPr>
          <a:lstStyle/>
          <a:p>
            <a:pPr>
              <a:defRPr/>
            </a:pPr>
            <a:r>
              <a:rPr lang="en-US" sz="1200" b="1">
                <a:solidFill>
                  <a:schemeClr val="tx1"/>
                </a:solidFill>
                <a:latin typeface="Ubuntu" panose="020B0504030602030204" pitchFamily="34" charset="0"/>
              </a:rPr>
              <a:t>…</a:t>
            </a:r>
          </a:p>
          <a:p>
            <a:pPr marL="93663" indent="-93663">
              <a:buFont typeface="Arial" panose="020B0604020202020204" pitchFamily="34" charset="0"/>
              <a:buChar char="•"/>
              <a:defRPr/>
            </a:pPr>
            <a:r>
              <a:rPr lang="en-US" sz="1100">
                <a:solidFill>
                  <a:schemeClr val="tx1"/>
                </a:solidFill>
                <a:latin typeface="Ubuntu" panose="020B0504030602030204" pitchFamily="34" charset="0"/>
              </a:rPr>
              <a:t>…</a:t>
            </a:r>
          </a:p>
          <a:p>
            <a:pPr marL="93663" indent="-93663">
              <a:buFont typeface="Arial" panose="020B0604020202020204" pitchFamily="34" charset="0"/>
              <a:buChar char="•"/>
              <a:defRPr/>
            </a:pPr>
            <a:r>
              <a:rPr lang="en-US" sz="1100">
                <a:solidFill>
                  <a:schemeClr val="tx1"/>
                </a:solidFill>
                <a:latin typeface="Ubuntu" panose="020B0504030602030204" pitchFamily="34" charset="0"/>
              </a:rPr>
              <a:t>…</a:t>
            </a:r>
            <a:endParaRPr lang="en-US" sz="1200">
              <a:solidFill>
                <a:schemeClr val="tx1"/>
              </a:solidFill>
              <a:latin typeface="Ubuntu" panose="020B0504030602030204" pitchFamily="34" charset="0"/>
            </a:endParaRPr>
          </a:p>
        </p:txBody>
      </p:sp>
    </p:spTree>
    <p:extLst>
      <p:ext uri="{BB962C8B-B14F-4D97-AF65-F5344CB8AC3E}">
        <p14:creationId xmlns:p14="http://schemas.microsoft.com/office/powerpoint/2010/main" val="539103363"/>
      </p:ext>
    </p:extLst>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ustom layout 1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58E32-2040-64AE-6598-1DF9AE2DC08D}"/>
              </a:ext>
            </a:extLst>
          </p:cNvPr>
          <p:cNvSpPr>
            <a:spLocks noGrp="1"/>
          </p:cNvSpPr>
          <p:nvPr>
            <p:ph type="title"/>
          </p:nvPr>
        </p:nvSpPr>
        <p:spPr/>
        <p:txBody>
          <a:bodyPr/>
          <a:lstStyle/>
          <a:p>
            <a:r>
              <a:rPr lang="en-US"/>
              <a:t>Click to edit Master title style</a:t>
            </a:r>
          </a:p>
        </p:txBody>
      </p:sp>
      <p:sp>
        <p:nvSpPr>
          <p:cNvPr id="4" name="Partial Circle 3">
            <a:extLst>
              <a:ext uri="{FF2B5EF4-FFF2-40B4-BE49-F238E27FC236}">
                <a16:creationId xmlns:a16="http://schemas.microsoft.com/office/drawing/2014/main" id="{AEC6A823-10F9-AC17-CB85-C8DCF8C095B9}"/>
              </a:ext>
            </a:extLst>
          </p:cNvPr>
          <p:cNvSpPr/>
          <p:nvPr/>
        </p:nvSpPr>
        <p:spPr>
          <a:xfrm rot="16200000">
            <a:off x="1721763" y="1913797"/>
            <a:ext cx="3453898" cy="3182296"/>
          </a:xfrm>
          <a:prstGeom prst="pie">
            <a:avLst>
              <a:gd name="adj1" fmla="val 21588596"/>
              <a:gd name="adj2" fmla="val 10816689"/>
            </a:avLst>
          </a:prstGeom>
          <a:noFill/>
          <a:ln w="2857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graphicFrame>
        <p:nvGraphicFramePr>
          <p:cNvPr id="5" name="Chart 4">
            <a:extLst>
              <a:ext uri="{FF2B5EF4-FFF2-40B4-BE49-F238E27FC236}">
                <a16:creationId xmlns:a16="http://schemas.microsoft.com/office/drawing/2014/main" id="{D051F7D5-AAC4-7F7F-084F-6A30B38ABDD4}"/>
              </a:ext>
            </a:extLst>
          </p:cNvPr>
          <p:cNvGraphicFramePr/>
          <p:nvPr>
            <p:extLst>
              <p:ext uri="{D42A27DB-BD31-4B8C-83A1-F6EECF244321}">
                <p14:modId xmlns:p14="http://schemas.microsoft.com/office/powerpoint/2010/main" val="1576460656"/>
              </p:ext>
            </p:extLst>
          </p:nvPr>
        </p:nvGraphicFramePr>
        <p:xfrm>
          <a:off x="1539902" y="1702566"/>
          <a:ext cx="3600000" cy="3600000"/>
        </p:xfrm>
        <a:graphic>
          <a:graphicData uri="http://schemas.openxmlformats.org/drawingml/2006/chart">
            <c:chart xmlns:c="http://schemas.openxmlformats.org/drawingml/2006/chart" xmlns:r="http://schemas.openxmlformats.org/officeDocument/2006/relationships" r:id="rId2"/>
          </a:graphicData>
        </a:graphic>
      </p:graphicFrame>
      <p:grpSp>
        <p:nvGrpSpPr>
          <p:cNvPr id="34" name="Group 33">
            <a:extLst>
              <a:ext uri="{FF2B5EF4-FFF2-40B4-BE49-F238E27FC236}">
                <a16:creationId xmlns:a16="http://schemas.microsoft.com/office/drawing/2014/main" id="{6C3A95D6-0246-0F98-E10A-3B67386FC89F}"/>
              </a:ext>
            </a:extLst>
          </p:cNvPr>
          <p:cNvGrpSpPr/>
          <p:nvPr/>
        </p:nvGrpSpPr>
        <p:grpSpPr>
          <a:xfrm>
            <a:off x="5611859" y="4682173"/>
            <a:ext cx="3398719" cy="716043"/>
            <a:chOff x="5783244" y="1554145"/>
            <a:chExt cx="3398719" cy="716043"/>
          </a:xfrm>
        </p:grpSpPr>
        <p:sp>
          <p:nvSpPr>
            <p:cNvPr id="35" name="TextBox 34">
              <a:extLst>
                <a:ext uri="{FF2B5EF4-FFF2-40B4-BE49-F238E27FC236}">
                  <a16:creationId xmlns:a16="http://schemas.microsoft.com/office/drawing/2014/main" id="{B48F4CD3-51CD-2BEE-B239-42441A83D495}"/>
                </a:ext>
              </a:extLst>
            </p:cNvPr>
            <p:cNvSpPr txBox="1"/>
            <p:nvPr/>
          </p:nvSpPr>
          <p:spPr>
            <a:xfrm>
              <a:off x="5783244" y="1554145"/>
              <a:ext cx="3006580" cy="716043"/>
            </a:xfrm>
            <a:prstGeom prst="rect">
              <a:avLst/>
            </a:prstGeom>
            <a:solidFill>
              <a:schemeClr val="tx2">
                <a:lumMod val="40000"/>
                <a:lumOff val="60000"/>
              </a:schemeClr>
            </a:solidFill>
          </p:spPr>
          <p:txBody>
            <a:bodyPr wrap="square" lIns="91440" rIns="365760" rtlCol="0" anchor="ctr" anchorCtr="0">
              <a:noAutofit/>
            </a:bodyPr>
            <a:lstStyle/>
            <a:p>
              <a:pPr algn="ctr"/>
              <a:r>
                <a:rPr lang="nb-NO" sz="1100" i="1">
                  <a:solidFill>
                    <a:prstClr val="black"/>
                  </a:solidFill>
                  <a:latin typeface="Ubuntu" panose="020B0504030602030204" pitchFamily="34" charset="0"/>
                </a:rPr>
                <a:t>...</a:t>
              </a:r>
            </a:p>
          </p:txBody>
        </p:sp>
        <p:sp>
          <p:nvSpPr>
            <p:cNvPr id="36" name="Oval 35">
              <a:extLst>
                <a:ext uri="{FF2B5EF4-FFF2-40B4-BE49-F238E27FC236}">
                  <a16:creationId xmlns:a16="http://schemas.microsoft.com/office/drawing/2014/main" id="{A7FB95E1-7693-2494-89E8-086CF6916EF7}"/>
                </a:ext>
              </a:extLst>
            </p:cNvPr>
            <p:cNvSpPr/>
            <p:nvPr/>
          </p:nvSpPr>
          <p:spPr>
            <a:xfrm>
              <a:off x="8450443" y="1554145"/>
              <a:ext cx="731520" cy="716043"/>
            </a:xfrm>
            <a:prstGeom prst="ellipse">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white"/>
                </a:solidFill>
                <a:latin typeface="Ubuntu" panose="020B0504030602030204" pitchFamily="34" charset="0"/>
              </a:endParaRPr>
            </a:p>
          </p:txBody>
        </p:sp>
      </p:grpSp>
      <p:sp>
        <p:nvSpPr>
          <p:cNvPr id="17" name="Oval 16">
            <a:extLst>
              <a:ext uri="{FF2B5EF4-FFF2-40B4-BE49-F238E27FC236}">
                <a16:creationId xmlns:a16="http://schemas.microsoft.com/office/drawing/2014/main" id="{770EDC2D-7460-69AD-C9EC-FA83FD66F40F}"/>
              </a:ext>
            </a:extLst>
          </p:cNvPr>
          <p:cNvSpPr/>
          <p:nvPr/>
        </p:nvSpPr>
        <p:spPr>
          <a:xfrm>
            <a:off x="5251859" y="4678124"/>
            <a:ext cx="720000" cy="720000"/>
          </a:xfrm>
          <a:prstGeom prst="ellipse">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400">
              <a:solidFill>
                <a:schemeClr val="bg1"/>
              </a:solidFill>
              <a:latin typeface="Ubuntu" panose="020B0504030602030204" pitchFamily="34" charset="0"/>
            </a:endParaRPr>
          </a:p>
        </p:txBody>
      </p:sp>
      <p:grpSp>
        <p:nvGrpSpPr>
          <p:cNvPr id="31" name="Group 30">
            <a:extLst>
              <a:ext uri="{FF2B5EF4-FFF2-40B4-BE49-F238E27FC236}">
                <a16:creationId xmlns:a16="http://schemas.microsoft.com/office/drawing/2014/main" id="{923E3C58-2D30-0E6A-78A0-AB2ABC059BC9}"/>
              </a:ext>
            </a:extLst>
          </p:cNvPr>
          <p:cNvGrpSpPr/>
          <p:nvPr/>
        </p:nvGrpSpPr>
        <p:grpSpPr>
          <a:xfrm>
            <a:off x="6515642" y="3156390"/>
            <a:ext cx="3398719" cy="716043"/>
            <a:chOff x="5783244" y="1554145"/>
            <a:chExt cx="3398719" cy="716043"/>
          </a:xfrm>
        </p:grpSpPr>
        <p:sp>
          <p:nvSpPr>
            <p:cNvPr id="32" name="TextBox 31">
              <a:extLst>
                <a:ext uri="{FF2B5EF4-FFF2-40B4-BE49-F238E27FC236}">
                  <a16:creationId xmlns:a16="http://schemas.microsoft.com/office/drawing/2014/main" id="{452103F4-13C8-E983-EDF1-DCDD863D14D5}"/>
                </a:ext>
              </a:extLst>
            </p:cNvPr>
            <p:cNvSpPr txBox="1"/>
            <p:nvPr/>
          </p:nvSpPr>
          <p:spPr>
            <a:xfrm>
              <a:off x="5783244" y="1554145"/>
              <a:ext cx="3006580" cy="716043"/>
            </a:xfrm>
            <a:prstGeom prst="rect">
              <a:avLst/>
            </a:prstGeom>
            <a:solidFill>
              <a:schemeClr val="tx2">
                <a:lumMod val="40000"/>
                <a:lumOff val="60000"/>
              </a:schemeClr>
            </a:solidFill>
          </p:spPr>
          <p:txBody>
            <a:bodyPr wrap="square" lIns="91440" rIns="365760" rtlCol="0" anchor="ctr" anchorCtr="0">
              <a:noAutofit/>
            </a:bodyPr>
            <a:lstStyle/>
            <a:p>
              <a:pPr algn="ctr"/>
              <a:r>
                <a:rPr lang="nb-NO" sz="1100" i="1">
                  <a:solidFill>
                    <a:prstClr val="black"/>
                  </a:solidFill>
                  <a:latin typeface="Ubuntu" panose="020B0504030602030204" pitchFamily="34" charset="0"/>
                </a:rPr>
                <a:t>...</a:t>
              </a:r>
            </a:p>
          </p:txBody>
        </p:sp>
        <p:sp>
          <p:nvSpPr>
            <p:cNvPr id="33" name="Oval 32">
              <a:extLst>
                <a:ext uri="{FF2B5EF4-FFF2-40B4-BE49-F238E27FC236}">
                  <a16:creationId xmlns:a16="http://schemas.microsoft.com/office/drawing/2014/main" id="{62663D63-CFA4-8779-DFAA-38043716D5F1}"/>
                </a:ext>
              </a:extLst>
            </p:cNvPr>
            <p:cNvSpPr/>
            <p:nvPr/>
          </p:nvSpPr>
          <p:spPr>
            <a:xfrm>
              <a:off x="8450443" y="1554145"/>
              <a:ext cx="731520" cy="716043"/>
            </a:xfrm>
            <a:prstGeom prst="ellipse">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white"/>
                </a:solidFill>
                <a:latin typeface="Ubuntu" panose="020B0504030602030204" pitchFamily="34" charset="0"/>
              </a:endParaRPr>
            </a:p>
          </p:txBody>
        </p:sp>
      </p:grpSp>
      <p:sp>
        <p:nvSpPr>
          <p:cNvPr id="3" name="Oval 2">
            <a:extLst>
              <a:ext uri="{FF2B5EF4-FFF2-40B4-BE49-F238E27FC236}">
                <a16:creationId xmlns:a16="http://schemas.microsoft.com/office/drawing/2014/main" id="{CBE0A2E8-754F-D7A3-8C98-BC7F83502153}"/>
              </a:ext>
            </a:extLst>
          </p:cNvPr>
          <p:cNvSpPr/>
          <p:nvPr/>
        </p:nvSpPr>
        <p:spPr>
          <a:xfrm>
            <a:off x="3353587" y="1713977"/>
            <a:ext cx="144000" cy="14400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6" name="TextBox 5">
            <a:extLst>
              <a:ext uri="{FF2B5EF4-FFF2-40B4-BE49-F238E27FC236}">
                <a16:creationId xmlns:a16="http://schemas.microsoft.com/office/drawing/2014/main" id="{38D838B8-B774-B88F-337C-1CF9F792E8B6}"/>
              </a:ext>
            </a:extLst>
          </p:cNvPr>
          <p:cNvSpPr txBox="1"/>
          <p:nvPr/>
        </p:nvSpPr>
        <p:spPr>
          <a:xfrm>
            <a:off x="2423777" y="3360523"/>
            <a:ext cx="2018921" cy="307777"/>
          </a:xfrm>
          <a:prstGeom prst="rect">
            <a:avLst/>
          </a:prstGeom>
          <a:noFill/>
          <a:ln>
            <a:noFill/>
          </a:ln>
        </p:spPr>
        <p:txBody>
          <a:bodyPr wrap="square" rtlCol="0" anchor="ctr">
            <a:spAutoFit/>
          </a:bodyPr>
          <a:lstStyle/>
          <a:p>
            <a:pPr algn="ctr">
              <a:defRPr/>
            </a:pPr>
            <a:r>
              <a:rPr lang="en-US" sz="1400" b="1">
                <a:solidFill>
                  <a:schemeClr val="tx2">
                    <a:lumMod val="75000"/>
                  </a:schemeClr>
                </a:solidFill>
                <a:latin typeface="Ubuntu" panose="020B0504030602030204" pitchFamily="34" charset="0"/>
              </a:rPr>
              <a:t>…</a:t>
            </a:r>
          </a:p>
        </p:txBody>
      </p:sp>
      <p:sp>
        <p:nvSpPr>
          <p:cNvPr id="7" name="Oval 6">
            <a:extLst>
              <a:ext uri="{FF2B5EF4-FFF2-40B4-BE49-F238E27FC236}">
                <a16:creationId xmlns:a16="http://schemas.microsoft.com/office/drawing/2014/main" id="{A8B58C45-6243-D0BD-19A1-59F8DA90885C}"/>
              </a:ext>
            </a:extLst>
          </p:cNvPr>
          <p:cNvSpPr/>
          <p:nvPr/>
        </p:nvSpPr>
        <p:spPr>
          <a:xfrm>
            <a:off x="3353587" y="5150752"/>
            <a:ext cx="144000" cy="14400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8" name="Rectangle 7">
            <a:extLst>
              <a:ext uri="{FF2B5EF4-FFF2-40B4-BE49-F238E27FC236}">
                <a16:creationId xmlns:a16="http://schemas.microsoft.com/office/drawing/2014/main" id="{3C1311B9-9E1C-1307-5426-C9AD724A47CB}"/>
              </a:ext>
            </a:extLst>
          </p:cNvPr>
          <p:cNvSpPr/>
          <p:nvPr/>
        </p:nvSpPr>
        <p:spPr>
          <a:xfrm>
            <a:off x="2764388" y="4728858"/>
            <a:ext cx="1063690" cy="38378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9" name="Rectangle 8">
            <a:extLst>
              <a:ext uri="{FF2B5EF4-FFF2-40B4-BE49-F238E27FC236}">
                <a16:creationId xmlns:a16="http://schemas.microsoft.com/office/drawing/2014/main" id="{C93FF620-6061-22F3-569B-E12387F7AD77}"/>
              </a:ext>
            </a:extLst>
          </p:cNvPr>
          <p:cNvSpPr/>
          <p:nvPr/>
        </p:nvSpPr>
        <p:spPr>
          <a:xfrm>
            <a:off x="2821412" y="1937625"/>
            <a:ext cx="1063690" cy="33691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10" name="Oval 9">
            <a:extLst>
              <a:ext uri="{FF2B5EF4-FFF2-40B4-BE49-F238E27FC236}">
                <a16:creationId xmlns:a16="http://schemas.microsoft.com/office/drawing/2014/main" id="{94C74062-7C03-CD9B-B1D6-85221D4CBC33}"/>
              </a:ext>
            </a:extLst>
          </p:cNvPr>
          <p:cNvSpPr/>
          <p:nvPr/>
        </p:nvSpPr>
        <p:spPr>
          <a:xfrm>
            <a:off x="4515896" y="2245082"/>
            <a:ext cx="216000" cy="2160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11" name="Oval 10">
            <a:extLst>
              <a:ext uri="{FF2B5EF4-FFF2-40B4-BE49-F238E27FC236}">
                <a16:creationId xmlns:a16="http://schemas.microsoft.com/office/drawing/2014/main" id="{984EDEF2-274D-2133-51C9-271BD4252072}"/>
              </a:ext>
            </a:extLst>
          </p:cNvPr>
          <p:cNvSpPr/>
          <p:nvPr/>
        </p:nvSpPr>
        <p:spPr>
          <a:xfrm>
            <a:off x="4932663" y="3406411"/>
            <a:ext cx="216000" cy="2160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12" name="Oval 11">
            <a:extLst>
              <a:ext uri="{FF2B5EF4-FFF2-40B4-BE49-F238E27FC236}">
                <a16:creationId xmlns:a16="http://schemas.microsoft.com/office/drawing/2014/main" id="{6E4261AD-9BF2-AF78-E660-26BE9C978B0F}"/>
              </a:ext>
            </a:extLst>
          </p:cNvPr>
          <p:cNvSpPr/>
          <p:nvPr/>
        </p:nvSpPr>
        <p:spPr>
          <a:xfrm>
            <a:off x="4515896" y="4571515"/>
            <a:ext cx="216000" cy="2160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cxnSp>
        <p:nvCxnSpPr>
          <p:cNvPr id="13" name="Straight Connector 12">
            <a:extLst>
              <a:ext uri="{FF2B5EF4-FFF2-40B4-BE49-F238E27FC236}">
                <a16:creationId xmlns:a16="http://schemas.microsoft.com/office/drawing/2014/main" id="{6E833672-0307-7176-1067-214793DDAD74}"/>
              </a:ext>
            </a:extLst>
          </p:cNvPr>
          <p:cNvCxnSpPr>
            <a:cxnSpLocks/>
          </p:cNvCxnSpPr>
          <p:nvPr/>
        </p:nvCxnSpPr>
        <p:spPr>
          <a:xfrm flipV="1">
            <a:off x="4759359" y="2115563"/>
            <a:ext cx="570949" cy="198474"/>
          </a:xfrm>
          <a:prstGeom prst="line">
            <a:avLst/>
          </a:prstGeom>
          <a:ln w="1270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072B547-FF70-10AB-D58F-278FC85B2A67}"/>
              </a:ext>
            </a:extLst>
          </p:cNvPr>
          <p:cNvCxnSpPr>
            <a:cxnSpLocks/>
            <a:stCxn id="11" idx="6"/>
          </p:cNvCxnSpPr>
          <p:nvPr/>
        </p:nvCxnSpPr>
        <p:spPr>
          <a:xfrm flipV="1">
            <a:off x="5148663" y="3508044"/>
            <a:ext cx="974591" cy="6367"/>
          </a:xfrm>
          <a:prstGeom prst="line">
            <a:avLst/>
          </a:prstGeom>
          <a:ln w="1270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9F114747-249B-19E8-8FE1-FDC215255F8C}"/>
              </a:ext>
            </a:extLst>
          </p:cNvPr>
          <p:cNvSpPr/>
          <p:nvPr/>
        </p:nvSpPr>
        <p:spPr>
          <a:xfrm>
            <a:off x="6123254" y="3154411"/>
            <a:ext cx="720000" cy="720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400">
              <a:solidFill>
                <a:schemeClr val="bg1"/>
              </a:solidFill>
              <a:latin typeface="Ubuntu" panose="020B0504030602030204" pitchFamily="34" charset="0"/>
            </a:endParaRPr>
          </a:p>
        </p:txBody>
      </p:sp>
      <p:cxnSp>
        <p:nvCxnSpPr>
          <p:cNvPr id="19" name="Straight Connector 18">
            <a:extLst>
              <a:ext uri="{FF2B5EF4-FFF2-40B4-BE49-F238E27FC236}">
                <a16:creationId xmlns:a16="http://schemas.microsoft.com/office/drawing/2014/main" id="{F512D404-9C00-BFDC-5880-6A3BC74B1BCC}"/>
              </a:ext>
            </a:extLst>
          </p:cNvPr>
          <p:cNvCxnSpPr>
            <a:cxnSpLocks/>
          </p:cNvCxnSpPr>
          <p:nvPr/>
        </p:nvCxnSpPr>
        <p:spPr>
          <a:xfrm>
            <a:off x="4712582" y="4747910"/>
            <a:ext cx="544559" cy="185220"/>
          </a:xfrm>
          <a:prstGeom prst="line">
            <a:avLst/>
          </a:prstGeom>
          <a:ln w="12700">
            <a:solidFill>
              <a:schemeClr val="tx2"/>
            </a:solidFill>
            <a:prstDash val="sysDash"/>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7952B005-2340-A5AB-1469-568171FC6C80}"/>
              </a:ext>
            </a:extLst>
          </p:cNvPr>
          <p:cNvGrpSpPr/>
          <p:nvPr/>
        </p:nvGrpSpPr>
        <p:grpSpPr>
          <a:xfrm>
            <a:off x="5678469" y="1673883"/>
            <a:ext cx="3398719" cy="716043"/>
            <a:chOff x="5783244" y="1554145"/>
            <a:chExt cx="3398719" cy="716043"/>
          </a:xfrm>
        </p:grpSpPr>
        <p:sp>
          <p:nvSpPr>
            <p:cNvPr id="24" name="TextBox 23">
              <a:extLst>
                <a:ext uri="{FF2B5EF4-FFF2-40B4-BE49-F238E27FC236}">
                  <a16:creationId xmlns:a16="http://schemas.microsoft.com/office/drawing/2014/main" id="{9050E615-C4F3-D015-2B34-91085E4C3395}"/>
                </a:ext>
              </a:extLst>
            </p:cNvPr>
            <p:cNvSpPr txBox="1"/>
            <p:nvPr/>
          </p:nvSpPr>
          <p:spPr>
            <a:xfrm>
              <a:off x="5783244" y="1554145"/>
              <a:ext cx="3006580" cy="716043"/>
            </a:xfrm>
            <a:prstGeom prst="rect">
              <a:avLst/>
            </a:prstGeom>
            <a:solidFill>
              <a:schemeClr val="tx2">
                <a:lumMod val="40000"/>
                <a:lumOff val="60000"/>
              </a:schemeClr>
            </a:solidFill>
          </p:spPr>
          <p:txBody>
            <a:bodyPr wrap="square" lIns="91440" rIns="365760" rtlCol="0" anchor="ctr" anchorCtr="0">
              <a:noAutofit/>
            </a:bodyPr>
            <a:lstStyle/>
            <a:p>
              <a:pPr algn="ctr"/>
              <a:r>
                <a:rPr lang="nb-NO" sz="1100" i="1">
                  <a:solidFill>
                    <a:prstClr val="black"/>
                  </a:solidFill>
                  <a:latin typeface="Ubuntu" panose="020B0504030602030204" pitchFamily="34" charset="0"/>
                </a:rPr>
                <a:t>...</a:t>
              </a:r>
            </a:p>
          </p:txBody>
        </p:sp>
        <p:sp>
          <p:nvSpPr>
            <p:cNvPr id="25" name="Oval 24">
              <a:extLst>
                <a:ext uri="{FF2B5EF4-FFF2-40B4-BE49-F238E27FC236}">
                  <a16:creationId xmlns:a16="http://schemas.microsoft.com/office/drawing/2014/main" id="{85B7FB08-BBD9-586E-AFE8-832FB75899E2}"/>
                </a:ext>
              </a:extLst>
            </p:cNvPr>
            <p:cNvSpPr/>
            <p:nvPr/>
          </p:nvSpPr>
          <p:spPr>
            <a:xfrm>
              <a:off x="8450443" y="1554145"/>
              <a:ext cx="731520" cy="716043"/>
            </a:xfrm>
            <a:prstGeom prst="ellipse">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white"/>
                </a:solidFill>
                <a:latin typeface="Ubuntu" panose="020B0504030602030204" pitchFamily="34" charset="0"/>
              </a:endParaRPr>
            </a:p>
          </p:txBody>
        </p:sp>
      </p:grpSp>
      <p:sp>
        <p:nvSpPr>
          <p:cNvPr id="14" name="Oval 13">
            <a:extLst>
              <a:ext uri="{FF2B5EF4-FFF2-40B4-BE49-F238E27FC236}">
                <a16:creationId xmlns:a16="http://schemas.microsoft.com/office/drawing/2014/main" id="{87E639E2-EBED-1A8E-2DB9-10D12BCCA111}"/>
              </a:ext>
            </a:extLst>
          </p:cNvPr>
          <p:cNvSpPr/>
          <p:nvPr/>
        </p:nvSpPr>
        <p:spPr>
          <a:xfrm>
            <a:off x="5333340" y="1673883"/>
            <a:ext cx="720000" cy="720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400">
              <a:solidFill>
                <a:schemeClr val="bg1"/>
              </a:solidFill>
              <a:latin typeface="Ubuntu" panose="020B0504030602030204" pitchFamily="34" charset="0"/>
            </a:endParaRPr>
          </a:p>
        </p:txBody>
      </p:sp>
    </p:spTree>
    <p:extLst>
      <p:ext uri="{BB962C8B-B14F-4D97-AF65-F5344CB8AC3E}">
        <p14:creationId xmlns:p14="http://schemas.microsoft.com/office/powerpoint/2010/main" val="3892796881"/>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ustom layout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58E32-2040-64AE-6598-1DF9AE2DC08D}"/>
              </a:ext>
            </a:extLst>
          </p:cNvPr>
          <p:cNvSpPr>
            <a:spLocks noGrp="1"/>
          </p:cNvSpPr>
          <p:nvPr>
            <p:ph type="title"/>
          </p:nvPr>
        </p:nvSpPr>
        <p:spPr/>
        <p:txBody>
          <a:bodyPr/>
          <a:lstStyle/>
          <a:p>
            <a:r>
              <a:rPr lang="en-US"/>
              <a:t>Click to edit Master title style</a:t>
            </a:r>
          </a:p>
        </p:txBody>
      </p:sp>
      <p:grpSp>
        <p:nvGrpSpPr>
          <p:cNvPr id="42" name="Group 41">
            <a:extLst>
              <a:ext uri="{FF2B5EF4-FFF2-40B4-BE49-F238E27FC236}">
                <a16:creationId xmlns:a16="http://schemas.microsoft.com/office/drawing/2014/main" id="{884CE747-540C-B023-96EB-AC503050CD85}"/>
              </a:ext>
            </a:extLst>
          </p:cNvPr>
          <p:cNvGrpSpPr/>
          <p:nvPr/>
        </p:nvGrpSpPr>
        <p:grpSpPr>
          <a:xfrm>
            <a:off x="4787369" y="5161798"/>
            <a:ext cx="3758719" cy="720092"/>
            <a:chOff x="5251859" y="5161798"/>
            <a:chExt cx="3758719" cy="720092"/>
          </a:xfrm>
        </p:grpSpPr>
        <p:grpSp>
          <p:nvGrpSpPr>
            <p:cNvPr id="34" name="Group 33">
              <a:extLst>
                <a:ext uri="{FF2B5EF4-FFF2-40B4-BE49-F238E27FC236}">
                  <a16:creationId xmlns:a16="http://schemas.microsoft.com/office/drawing/2014/main" id="{6C3A95D6-0246-0F98-E10A-3B67386FC89F}"/>
                </a:ext>
              </a:extLst>
            </p:cNvPr>
            <p:cNvGrpSpPr/>
            <p:nvPr/>
          </p:nvGrpSpPr>
          <p:grpSpPr>
            <a:xfrm>
              <a:off x="5611859" y="5165847"/>
              <a:ext cx="3398719" cy="716043"/>
              <a:chOff x="5783244" y="1554145"/>
              <a:chExt cx="3398719" cy="716043"/>
            </a:xfrm>
          </p:grpSpPr>
          <p:sp>
            <p:nvSpPr>
              <p:cNvPr id="35" name="TextBox 34">
                <a:extLst>
                  <a:ext uri="{FF2B5EF4-FFF2-40B4-BE49-F238E27FC236}">
                    <a16:creationId xmlns:a16="http://schemas.microsoft.com/office/drawing/2014/main" id="{B48F4CD3-51CD-2BEE-B239-42441A83D495}"/>
                  </a:ext>
                </a:extLst>
              </p:cNvPr>
              <p:cNvSpPr txBox="1"/>
              <p:nvPr/>
            </p:nvSpPr>
            <p:spPr>
              <a:xfrm>
                <a:off x="5783244" y="1554145"/>
                <a:ext cx="3006580" cy="716043"/>
              </a:xfrm>
              <a:prstGeom prst="rect">
                <a:avLst/>
              </a:prstGeom>
              <a:solidFill>
                <a:schemeClr val="tx2">
                  <a:lumMod val="40000"/>
                  <a:lumOff val="60000"/>
                </a:schemeClr>
              </a:solidFill>
            </p:spPr>
            <p:txBody>
              <a:bodyPr wrap="square" lIns="91440" rIns="365760" rtlCol="0" anchor="ctr" anchorCtr="0">
                <a:noAutofit/>
              </a:bodyPr>
              <a:lstStyle/>
              <a:p>
                <a:pPr algn="ctr"/>
                <a:r>
                  <a:rPr lang="nb-NO" sz="1100" i="1">
                    <a:solidFill>
                      <a:prstClr val="black"/>
                    </a:solidFill>
                    <a:latin typeface="Ubuntu" panose="020B0504030602030204" pitchFamily="34" charset="0"/>
                  </a:rPr>
                  <a:t>...</a:t>
                </a:r>
              </a:p>
            </p:txBody>
          </p:sp>
          <p:sp>
            <p:nvSpPr>
              <p:cNvPr id="36" name="Oval 35">
                <a:extLst>
                  <a:ext uri="{FF2B5EF4-FFF2-40B4-BE49-F238E27FC236}">
                    <a16:creationId xmlns:a16="http://schemas.microsoft.com/office/drawing/2014/main" id="{A7FB95E1-7693-2494-89E8-086CF6916EF7}"/>
                  </a:ext>
                </a:extLst>
              </p:cNvPr>
              <p:cNvSpPr/>
              <p:nvPr/>
            </p:nvSpPr>
            <p:spPr>
              <a:xfrm>
                <a:off x="8450443" y="1554145"/>
                <a:ext cx="731520" cy="716043"/>
              </a:xfrm>
              <a:prstGeom prst="ellipse">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white"/>
                  </a:solidFill>
                  <a:latin typeface="Ubuntu" panose="020B0504030602030204" pitchFamily="34" charset="0"/>
                </a:endParaRPr>
              </a:p>
            </p:txBody>
          </p:sp>
        </p:grpSp>
        <p:sp>
          <p:nvSpPr>
            <p:cNvPr id="17" name="Oval 16">
              <a:extLst>
                <a:ext uri="{FF2B5EF4-FFF2-40B4-BE49-F238E27FC236}">
                  <a16:creationId xmlns:a16="http://schemas.microsoft.com/office/drawing/2014/main" id="{770EDC2D-7460-69AD-C9EC-FA83FD66F40F}"/>
                </a:ext>
              </a:extLst>
            </p:cNvPr>
            <p:cNvSpPr/>
            <p:nvPr/>
          </p:nvSpPr>
          <p:spPr>
            <a:xfrm>
              <a:off x="5251859" y="5161798"/>
              <a:ext cx="720000" cy="720000"/>
            </a:xfrm>
            <a:prstGeom prst="ellipse">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400">
                <a:solidFill>
                  <a:schemeClr val="bg1"/>
                </a:solidFill>
                <a:latin typeface="Ubuntu" panose="020B0504030602030204" pitchFamily="34" charset="0"/>
              </a:endParaRPr>
            </a:p>
          </p:txBody>
        </p:sp>
      </p:grpSp>
      <p:sp>
        <p:nvSpPr>
          <p:cNvPr id="8" name="Rectangle 7">
            <a:extLst>
              <a:ext uri="{FF2B5EF4-FFF2-40B4-BE49-F238E27FC236}">
                <a16:creationId xmlns:a16="http://schemas.microsoft.com/office/drawing/2014/main" id="{3C1311B9-9E1C-1307-5426-C9AD724A47CB}"/>
              </a:ext>
            </a:extLst>
          </p:cNvPr>
          <p:cNvSpPr/>
          <p:nvPr/>
        </p:nvSpPr>
        <p:spPr>
          <a:xfrm>
            <a:off x="2764388" y="4752999"/>
            <a:ext cx="1063690" cy="38378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9" name="Rectangle 8">
            <a:extLst>
              <a:ext uri="{FF2B5EF4-FFF2-40B4-BE49-F238E27FC236}">
                <a16:creationId xmlns:a16="http://schemas.microsoft.com/office/drawing/2014/main" id="{C93FF620-6061-22F3-569B-E12387F7AD77}"/>
              </a:ext>
            </a:extLst>
          </p:cNvPr>
          <p:cNvSpPr/>
          <p:nvPr/>
        </p:nvSpPr>
        <p:spPr>
          <a:xfrm>
            <a:off x="2821412" y="1942718"/>
            <a:ext cx="1063690" cy="33691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cxnSp>
        <p:nvCxnSpPr>
          <p:cNvPr id="19" name="Straight Connector 18">
            <a:extLst>
              <a:ext uri="{FF2B5EF4-FFF2-40B4-BE49-F238E27FC236}">
                <a16:creationId xmlns:a16="http://schemas.microsoft.com/office/drawing/2014/main" id="{F512D404-9C00-BFDC-5880-6A3BC74B1BCC}"/>
              </a:ext>
            </a:extLst>
          </p:cNvPr>
          <p:cNvCxnSpPr>
            <a:cxnSpLocks/>
            <a:stCxn id="12" idx="5"/>
          </p:cNvCxnSpPr>
          <p:nvPr/>
        </p:nvCxnSpPr>
        <p:spPr>
          <a:xfrm>
            <a:off x="4950387" y="4360143"/>
            <a:ext cx="1102953" cy="152521"/>
          </a:xfrm>
          <a:prstGeom prst="line">
            <a:avLst/>
          </a:prstGeom>
          <a:ln w="12700">
            <a:solidFill>
              <a:schemeClr val="tx2"/>
            </a:solidFill>
            <a:prstDash val="sysDash"/>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6B93DD77-4419-7370-7791-D6C5AE995CCE}"/>
              </a:ext>
            </a:extLst>
          </p:cNvPr>
          <p:cNvGrpSpPr/>
          <p:nvPr/>
        </p:nvGrpSpPr>
        <p:grpSpPr>
          <a:xfrm>
            <a:off x="4787369" y="1125538"/>
            <a:ext cx="3743848" cy="720000"/>
            <a:chOff x="5333340" y="1125538"/>
            <a:chExt cx="3743848" cy="720000"/>
          </a:xfrm>
        </p:grpSpPr>
        <p:grpSp>
          <p:nvGrpSpPr>
            <p:cNvPr id="30" name="Group 29">
              <a:extLst>
                <a:ext uri="{FF2B5EF4-FFF2-40B4-BE49-F238E27FC236}">
                  <a16:creationId xmlns:a16="http://schemas.microsoft.com/office/drawing/2014/main" id="{7952B005-2340-A5AB-1469-568171FC6C80}"/>
                </a:ext>
              </a:extLst>
            </p:cNvPr>
            <p:cNvGrpSpPr/>
            <p:nvPr/>
          </p:nvGrpSpPr>
          <p:grpSpPr>
            <a:xfrm>
              <a:off x="5678469" y="1125538"/>
              <a:ext cx="3398719" cy="716043"/>
              <a:chOff x="5783244" y="1554145"/>
              <a:chExt cx="3398719" cy="716043"/>
            </a:xfrm>
          </p:grpSpPr>
          <p:sp>
            <p:nvSpPr>
              <p:cNvPr id="24" name="TextBox 23">
                <a:extLst>
                  <a:ext uri="{FF2B5EF4-FFF2-40B4-BE49-F238E27FC236}">
                    <a16:creationId xmlns:a16="http://schemas.microsoft.com/office/drawing/2014/main" id="{9050E615-C4F3-D015-2B34-91085E4C3395}"/>
                  </a:ext>
                </a:extLst>
              </p:cNvPr>
              <p:cNvSpPr txBox="1"/>
              <p:nvPr/>
            </p:nvSpPr>
            <p:spPr>
              <a:xfrm>
                <a:off x="5783244" y="1554145"/>
                <a:ext cx="3006580" cy="716043"/>
              </a:xfrm>
              <a:prstGeom prst="rect">
                <a:avLst/>
              </a:prstGeom>
              <a:solidFill>
                <a:schemeClr val="tx2">
                  <a:lumMod val="40000"/>
                  <a:lumOff val="60000"/>
                </a:schemeClr>
              </a:solidFill>
            </p:spPr>
            <p:txBody>
              <a:bodyPr wrap="square" lIns="91440" rIns="365760" rtlCol="0" anchor="ctr" anchorCtr="0">
                <a:noAutofit/>
              </a:bodyPr>
              <a:lstStyle/>
              <a:p>
                <a:pPr algn="ctr"/>
                <a:r>
                  <a:rPr lang="nb-NO" sz="1100" i="1">
                    <a:solidFill>
                      <a:prstClr val="black"/>
                    </a:solidFill>
                    <a:latin typeface="Ubuntu" panose="020B0504030602030204" pitchFamily="34" charset="0"/>
                  </a:rPr>
                  <a:t>...</a:t>
                </a:r>
              </a:p>
            </p:txBody>
          </p:sp>
          <p:sp>
            <p:nvSpPr>
              <p:cNvPr id="25" name="Oval 24">
                <a:extLst>
                  <a:ext uri="{FF2B5EF4-FFF2-40B4-BE49-F238E27FC236}">
                    <a16:creationId xmlns:a16="http://schemas.microsoft.com/office/drawing/2014/main" id="{85B7FB08-BBD9-586E-AFE8-832FB75899E2}"/>
                  </a:ext>
                </a:extLst>
              </p:cNvPr>
              <p:cNvSpPr/>
              <p:nvPr/>
            </p:nvSpPr>
            <p:spPr>
              <a:xfrm>
                <a:off x="8450443" y="1554145"/>
                <a:ext cx="731520" cy="716043"/>
              </a:xfrm>
              <a:prstGeom prst="ellipse">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white"/>
                  </a:solidFill>
                  <a:latin typeface="Ubuntu" panose="020B0504030602030204" pitchFamily="34" charset="0"/>
                </a:endParaRPr>
              </a:p>
            </p:txBody>
          </p:sp>
        </p:grpSp>
        <p:sp>
          <p:nvSpPr>
            <p:cNvPr id="14" name="Oval 13">
              <a:extLst>
                <a:ext uri="{FF2B5EF4-FFF2-40B4-BE49-F238E27FC236}">
                  <a16:creationId xmlns:a16="http://schemas.microsoft.com/office/drawing/2014/main" id="{87E639E2-EBED-1A8E-2DB9-10D12BCCA111}"/>
                </a:ext>
              </a:extLst>
            </p:cNvPr>
            <p:cNvSpPr/>
            <p:nvPr/>
          </p:nvSpPr>
          <p:spPr>
            <a:xfrm>
              <a:off x="5333340" y="1125538"/>
              <a:ext cx="720000" cy="720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400">
                <a:solidFill>
                  <a:schemeClr val="bg1"/>
                </a:solidFill>
                <a:latin typeface="Ubuntu" panose="020B0504030602030204" pitchFamily="34" charset="0"/>
              </a:endParaRPr>
            </a:p>
          </p:txBody>
        </p:sp>
      </p:grpSp>
      <p:grpSp>
        <p:nvGrpSpPr>
          <p:cNvPr id="41" name="Group 40">
            <a:extLst>
              <a:ext uri="{FF2B5EF4-FFF2-40B4-BE49-F238E27FC236}">
                <a16:creationId xmlns:a16="http://schemas.microsoft.com/office/drawing/2014/main" id="{6D7C5CA8-8BB4-0718-87C6-A5E9543A9E2C}"/>
              </a:ext>
            </a:extLst>
          </p:cNvPr>
          <p:cNvGrpSpPr/>
          <p:nvPr/>
        </p:nvGrpSpPr>
        <p:grpSpPr>
          <a:xfrm>
            <a:off x="5678469" y="4152664"/>
            <a:ext cx="3758719" cy="720092"/>
            <a:chOff x="5678469" y="4041928"/>
            <a:chExt cx="3758719" cy="720092"/>
          </a:xfrm>
        </p:grpSpPr>
        <p:grpSp>
          <p:nvGrpSpPr>
            <p:cNvPr id="22" name="Group 21">
              <a:extLst>
                <a:ext uri="{FF2B5EF4-FFF2-40B4-BE49-F238E27FC236}">
                  <a16:creationId xmlns:a16="http://schemas.microsoft.com/office/drawing/2014/main" id="{DA98636E-9C79-BD06-BC64-3846B66DAF43}"/>
                </a:ext>
              </a:extLst>
            </p:cNvPr>
            <p:cNvGrpSpPr/>
            <p:nvPr/>
          </p:nvGrpSpPr>
          <p:grpSpPr>
            <a:xfrm>
              <a:off x="6038469" y="4045977"/>
              <a:ext cx="3398719" cy="716043"/>
              <a:chOff x="5783244" y="1554145"/>
              <a:chExt cx="3398719" cy="716043"/>
            </a:xfrm>
          </p:grpSpPr>
          <p:sp>
            <p:nvSpPr>
              <p:cNvPr id="23" name="TextBox 22">
                <a:extLst>
                  <a:ext uri="{FF2B5EF4-FFF2-40B4-BE49-F238E27FC236}">
                    <a16:creationId xmlns:a16="http://schemas.microsoft.com/office/drawing/2014/main" id="{F26496E9-039F-C73B-FB73-8F2D7C0AE809}"/>
                  </a:ext>
                </a:extLst>
              </p:cNvPr>
              <p:cNvSpPr txBox="1"/>
              <p:nvPr/>
            </p:nvSpPr>
            <p:spPr>
              <a:xfrm>
                <a:off x="5783244" y="1554145"/>
                <a:ext cx="3006580" cy="716043"/>
              </a:xfrm>
              <a:prstGeom prst="rect">
                <a:avLst/>
              </a:prstGeom>
              <a:solidFill>
                <a:schemeClr val="tx2">
                  <a:lumMod val="40000"/>
                  <a:lumOff val="60000"/>
                </a:schemeClr>
              </a:solidFill>
            </p:spPr>
            <p:txBody>
              <a:bodyPr wrap="square" lIns="91440" rIns="365760" rtlCol="0" anchor="ctr" anchorCtr="0">
                <a:noAutofit/>
              </a:bodyPr>
              <a:lstStyle/>
              <a:p>
                <a:pPr algn="ctr"/>
                <a:r>
                  <a:rPr lang="nb-NO" sz="1100" i="1">
                    <a:solidFill>
                      <a:prstClr val="black"/>
                    </a:solidFill>
                    <a:latin typeface="Ubuntu" panose="020B0504030602030204" pitchFamily="34" charset="0"/>
                  </a:rPr>
                  <a:t>...</a:t>
                </a:r>
              </a:p>
            </p:txBody>
          </p:sp>
          <p:sp>
            <p:nvSpPr>
              <p:cNvPr id="26" name="Oval 25">
                <a:extLst>
                  <a:ext uri="{FF2B5EF4-FFF2-40B4-BE49-F238E27FC236}">
                    <a16:creationId xmlns:a16="http://schemas.microsoft.com/office/drawing/2014/main" id="{DDC42C2D-074B-B790-03DE-A79D0F80D2EA}"/>
                  </a:ext>
                </a:extLst>
              </p:cNvPr>
              <p:cNvSpPr/>
              <p:nvPr/>
            </p:nvSpPr>
            <p:spPr>
              <a:xfrm>
                <a:off x="8450443" y="1554145"/>
                <a:ext cx="731520" cy="716043"/>
              </a:xfrm>
              <a:prstGeom prst="ellipse">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white"/>
                  </a:solidFill>
                  <a:latin typeface="Ubuntu" panose="020B0504030602030204" pitchFamily="34" charset="0"/>
                </a:endParaRPr>
              </a:p>
            </p:txBody>
          </p:sp>
        </p:grpSp>
        <p:sp>
          <p:nvSpPr>
            <p:cNvPr id="27" name="Oval 26">
              <a:extLst>
                <a:ext uri="{FF2B5EF4-FFF2-40B4-BE49-F238E27FC236}">
                  <a16:creationId xmlns:a16="http://schemas.microsoft.com/office/drawing/2014/main" id="{36909BEA-F0C5-8417-DEF2-6562D168BDF9}"/>
                </a:ext>
              </a:extLst>
            </p:cNvPr>
            <p:cNvSpPr/>
            <p:nvPr/>
          </p:nvSpPr>
          <p:spPr>
            <a:xfrm>
              <a:off x="5678469" y="4041928"/>
              <a:ext cx="720000" cy="720000"/>
            </a:xfrm>
            <a:prstGeom prst="ellipse">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400">
                <a:solidFill>
                  <a:schemeClr val="bg1"/>
                </a:solidFill>
                <a:latin typeface="Ubuntu" panose="020B0504030602030204" pitchFamily="34" charset="0"/>
              </a:endParaRPr>
            </a:p>
          </p:txBody>
        </p:sp>
      </p:grpSp>
      <p:grpSp>
        <p:nvGrpSpPr>
          <p:cNvPr id="45" name="Group 44">
            <a:extLst>
              <a:ext uri="{FF2B5EF4-FFF2-40B4-BE49-F238E27FC236}">
                <a16:creationId xmlns:a16="http://schemas.microsoft.com/office/drawing/2014/main" id="{AE5D8CBD-4600-4D84-258E-0F7E5E17551C}"/>
              </a:ext>
            </a:extLst>
          </p:cNvPr>
          <p:cNvGrpSpPr/>
          <p:nvPr/>
        </p:nvGrpSpPr>
        <p:grpSpPr>
          <a:xfrm>
            <a:off x="5693340" y="2134580"/>
            <a:ext cx="3743848" cy="720000"/>
            <a:chOff x="5333340" y="1125538"/>
            <a:chExt cx="3743848" cy="720000"/>
          </a:xfrm>
        </p:grpSpPr>
        <p:grpSp>
          <p:nvGrpSpPr>
            <p:cNvPr id="46" name="Group 45">
              <a:extLst>
                <a:ext uri="{FF2B5EF4-FFF2-40B4-BE49-F238E27FC236}">
                  <a16:creationId xmlns:a16="http://schemas.microsoft.com/office/drawing/2014/main" id="{E5273615-2BAB-B74A-FF2F-FE138A55B4AE}"/>
                </a:ext>
              </a:extLst>
            </p:cNvPr>
            <p:cNvGrpSpPr/>
            <p:nvPr/>
          </p:nvGrpSpPr>
          <p:grpSpPr>
            <a:xfrm>
              <a:off x="5678469" y="1125538"/>
              <a:ext cx="3398719" cy="716043"/>
              <a:chOff x="5783244" y="1554145"/>
              <a:chExt cx="3398719" cy="716043"/>
            </a:xfrm>
          </p:grpSpPr>
          <p:sp>
            <p:nvSpPr>
              <p:cNvPr id="48" name="TextBox 47">
                <a:extLst>
                  <a:ext uri="{FF2B5EF4-FFF2-40B4-BE49-F238E27FC236}">
                    <a16:creationId xmlns:a16="http://schemas.microsoft.com/office/drawing/2014/main" id="{3555F313-604A-8CB7-1C2B-E8E8CD6F3330}"/>
                  </a:ext>
                </a:extLst>
              </p:cNvPr>
              <p:cNvSpPr txBox="1"/>
              <p:nvPr/>
            </p:nvSpPr>
            <p:spPr>
              <a:xfrm>
                <a:off x="5783244" y="1554145"/>
                <a:ext cx="3006580" cy="716043"/>
              </a:xfrm>
              <a:prstGeom prst="rect">
                <a:avLst/>
              </a:prstGeom>
              <a:solidFill>
                <a:schemeClr val="tx2">
                  <a:lumMod val="40000"/>
                  <a:lumOff val="60000"/>
                </a:schemeClr>
              </a:solidFill>
            </p:spPr>
            <p:txBody>
              <a:bodyPr wrap="square" lIns="91440" rIns="365760" rtlCol="0" anchor="ctr" anchorCtr="0">
                <a:noAutofit/>
              </a:bodyPr>
              <a:lstStyle/>
              <a:p>
                <a:pPr algn="ctr"/>
                <a:r>
                  <a:rPr lang="nb-NO" sz="1100" i="1">
                    <a:solidFill>
                      <a:prstClr val="black"/>
                    </a:solidFill>
                    <a:latin typeface="Ubuntu" panose="020B0504030602030204" pitchFamily="34" charset="0"/>
                  </a:rPr>
                  <a:t>...</a:t>
                </a:r>
              </a:p>
            </p:txBody>
          </p:sp>
          <p:sp>
            <p:nvSpPr>
              <p:cNvPr id="49" name="Oval 48">
                <a:extLst>
                  <a:ext uri="{FF2B5EF4-FFF2-40B4-BE49-F238E27FC236}">
                    <a16:creationId xmlns:a16="http://schemas.microsoft.com/office/drawing/2014/main" id="{C0B84C37-4238-83B3-BD40-9AA4F2219E7C}"/>
                  </a:ext>
                </a:extLst>
              </p:cNvPr>
              <p:cNvSpPr/>
              <p:nvPr/>
            </p:nvSpPr>
            <p:spPr>
              <a:xfrm>
                <a:off x="8450443" y="1554145"/>
                <a:ext cx="731520" cy="716043"/>
              </a:xfrm>
              <a:prstGeom prst="ellipse">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white"/>
                  </a:solidFill>
                  <a:latin typeface="Ubuntu" panose="020B0504030602030204" pitchFamily="34" charset="0"/>
                </a:endParaRPr>
              </a:p>
            </p:txBody>
          </p:sp>
        </p:grpSp>
        <p:sp>
          <p:nvSpPr>
            <p:cNvPr id="47" name="Oval 46">
              <a:extLst>
                <a:ext uri="{FF2B5EF4-FFF2-40B4-BE49-F238E27FC236}">
                  <a16:creationId xmlns:a16="http://schemas.microsoft.com/office/drawing/2014/main" id="{96ACB7FD-0E85-8759-8421-5EEC22E148B0}"/>
                </a:ext>
              </a:extLst>
            </p:cNvPr>
            <p:cNvSpPr/>
            <p:nvPr/>
          </p:nvSpPr>
          <p:spPr>
            <a:xfrm>
              <a:off x="5333340" y="1125538"/>
              <a:ext cx="720000" cy="720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400">
                <a:solidFill>
                  <a:schemeClr val="bg1"/>
                </a:solidFill>
                <a:latin typeface="Ubuntu" panose="020B0504030602030204" pitchFamily="34" charset="0"/>
              </a:endParaRPr>
            </a:p>
          </p:txBody>
        </p:sp>
      </p:grpSp>
      <p:cxnSp>
        <p:nvCxnSpPr>
          <p:cNvPr id="53" name="Straight Connector 52">
            <a:extLst>
              <a:ext uri="{FF2B5EF4-FFF2-40B4-BE49-F238E27FC236}">
                <a16:creationId xmlns:a16="http://schemas.microsoft.com/office/drawing/2014/main" id="{1AF656C1-7BE9-371C-FA77-BEEDBBACDD79}"/>
              </a:ext>
            </a:extLst>
          </p:cNvPr>
          <p:cNvCxnSpPr>
            <a:cxnSpLocks/>
            <a:stCxn id="10" idx="7"/>
          </p:cNvCxnSpPr>
          <p:nvPr/>
        </p:nvCxnSpPr>
        <p:spPr>
          <a:xfrm flipV="1">
            <a:off x="4950387" y="2489982"/>
            <a:ext cx="1088082" cy="173591"/>
          </a:xfrm>
          <a:prstGeom prst="line">
            <a:avLst/>
          </a:prstGeom>
          <a:ln w="12700">
            <a:solidFill>
              <a:schemeClr val="tx2"/>
            </a:solidFill>
            <a:prstDash val="sysDash"/>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B37A14B8-C93E-C0D4-ABAB-5A350FBBC1E3}"/>
              </a:ext>
            </a:extLst>
          </p:cNvPr>
          <p:cNvGrpSpPr/>
          <p:nvPr/>
        </p:nvGrpSpPr>
        <p:grpSpPr>
          <a:xfrm>
            <a:off x="6515642" y="3156390"/>
            <a:ext cx="3398719" cy="716043"/>
            <a:chOff x="5783244" y="1554145"/>
            <a:chExt cx="3398719" cy="716043"/>
          </a:xfrm>
        </p:grpSpPr>
        <p:sp>
          <p:nvSpPr>
            <p:cNvPr id="40" name="TextBox 39">
              <a:extLst>
                <a:ext uri="{FF2B5EF4-FFF2-40B4-BE49-F238E27FC236}">
                  <a16:creationId xmlns:a16="http://schemas.microsoft.com/office/drawing/2014/main" id="{6CA948E5-03C4-2FFD-F146-05E5F8829086}"/>
                </a:ext>
              </a:extLst>
            </p:cNvPr>
            <p:cNvSpPr txBox="1"/>
            <p:nvPr/>
          </p:nvSpPr>
          <p:spPr>
            <a:xfrm>
              <a:off x="5783244" y="1554145"/>
              <a:ext cx="3006580" cy="716043"/>
            </a:xfrm>
            <a:prstGeom prst="rect">
              <a:avLst/>
            </a:prstGeom>
            <a:solidFill>
              <a:schemeClr val="tx2">
                <a:lumMod val="40000"/>
                <a:lumOff val="60000"/>
              </a:schemeClr>
            </a:solidFill>
          </p:spPr>
          <p:txBody>
            <a:bodyPr wrap="square" lIns="91440" rIns="365760" rtlCol="0" anchor="ctr" anchorCtr="0">
              <a:noAutofit/>
            </a:bodyPr>
            <a:lstStyle/>
            <a:p>
              <a:pPr algn="ctr"/>
              <a:r>
                <a:rPr lang="nb-NO" sz="1100" i="1">
                  <a:solidFill>
                    <a:prstClr val="black"/>
                  </a:solidFill>
                  <a:latin typeface="Ubuntu" panose="020B0504030602030204" pitchFamily="34" charset="0"/>
                </a:rPr>
                <a:t>...</a:t>
              </a:r>
            </a:p>
          </p:txBody>
        </p:sp>
        <p:sp>
          <p:nvSpPr>
            <p:cNvPr id="50" name="Oval 49">
              <a:extLst>
                <a:ext uri="{FF2B5EF4-FFF2-40B4-BE49-F238E27FC236}">
                  <a16:creationId xmlns:a16="http://schemas.microsoft.com/office/drawing/2014/main" id="{776F196A-C93B-06D8-33D1-A531451294E2}"/>
                </a:ext>
              </a:extLst>
            </p:cNvPr>
            <p:cNvSpPr/>
            <p:nvPr/>
          </p:nvSpPr>
          <p:spPr>
            <a:xfrm>
              <a:off x="8450443" y="1554145"/>
              <a:ext cx="731520" cy="716043"/>
            </a:xfrm>
            <a:prstGeom prst="ellipse">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white"/>
                </a:solidFill>
                <a:latin typeface="Ubuntu" panose="020B0504030602030204" pitchFamily="34" charset="0"/>
              </a:endParaRPr>
            </a:p>
          </p:txBody>
        </p:sp>
      </p:grpSp>
      <p:cxnSp>
        <p:nvCxnSpPr>
          <p:cNvPr id="52" name="Straight Connector 51">
            <a:extLst>
              <a:ext uri="{FF2B5EF4-FFF2-40B4-BE49-F238E27FC236}">
                <a16:creationId xmlns:a16="http://schemas.microsoft.com/office/drawing/2014/main" id="{218FA0AC-93C5-8479-6999-C1260E536BBF}"/>
              </a:ext>
            </a:extLst>
          </p:cNvPr>
          <p:cNvCxnSpPr>
            <a:cxnSpLocks/>
            <a:stCxn id="51" idx="6"/>
          </p:cNvCxnSpPr>
          <p:nvPr/>
        </p:nvCxnSpPr>
        <p:spPr>
          <a:xfrm flipV="1">
            <a:off x="5148663" y="3508044"/>
            <a:ext cx="974591" cy="6367"/>
          </a:xfrm>
          <a:prstGeom prst="line">
            <a:avLst/>
          </a:prstGeom>
          <a:ln w="1270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C896E564-F616-3BF8-2F74-D5F83BAE94DA}"/>
              </a:ext>
            </a:extLst>
          </p:cNvPr>
          <p:cNvSpPr/>
          <p:nvPr/>
        </p:nvSpPr>
        <p:spPr>
          <a:xfrm>
            <a:off x="6123254" y="3154411"/>
            <a:ext cx="720000" cy="720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400">
              <a:solidFill>
                <a:schemeClr val="bg1"/>
              </a:solidFill>
              <a:latin typeface="Ubuntu" panose="020B0504030602030204" pitchFamily="34" charset="0"/>
            </a:endParaRPr>
          </a:p>
        </p:txBody>
      </p:sp>
      <p:sp>
        <p:nvSpPr>
          <p:cNvPr id="57" name="Partial Circle 56">
            <a:extLst>
              <a:ext uri="{FF2B5EF4-FFF2-40B4-BE49-F238E27FC236}">
                <a16:creationId xmlns:a16="http://schemas.microsoft.com/office/drawing/2014/main" id="{65686D4E-BF50-15A1-BB89-921F5039E549}"/>
              </a:ext>
            </a:extLst>
          </p:cNvPr>
          <p:cNvSpPr/>
          <p:nvPr/>
        </p:nvSpPr>
        <p:spPr>
          <a:xfrm rot="16200000">
            <a:off x="1721763" y="1913797"/>
            <a:ext cx="3453898" cy="3182296"/>
          </a:xfrm>
          <a:prstGeom prst="pie">
            <a:avLst>
              <a:gd name="adj1" fmla="val 21588596"/>
              <a:gd name="adj2" fmla="val 10816689"/>
            </a:avLst>
          </a:prstGeom>
          <a:noFill/>
          <a:ln w="2857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graphicFrame>
        <p:nvGraphicFramePr>
          <p:cNvPr id="58" name="Chart 57">
            <a:extLst>
              <a:ext uri="{FF2B5EF4-FFF2-40B4-BE49-F238E27FC236}">
                <a16:creationId xmlns:a16="http://schemas.microsoft.com/office/drawing/2014/main" id="{F816D041-4B39-1DF8-27F7-2676C02D5DD7}"/>
              </a:ext>
            </a:extLst>
          </p:cNvPr>
          <p:cNvGraphicFramePr/>
          <p:nvPr>
            <p:extLst>
              <p:ext uri="{D42A27DB-BD31-4B8C-83A1-F6EECF244321}">
                <p14:modId xmlns:p14="http://schemas.microsoft.com/office/powerpoint/2010/main" val="2098996348"/>
              </p:ext>
            </p:extLst>
          </p:nvPr>
        </p:nvGraphicFramePr>
        <p:xfrm>
          <a:off x="1539902" y="1702566"/>
          <a:ext cx="3600000" cy="3600000"/>
        </p:xfrm>
        <a:graphic>
          <a:graphicData uri="http://schemas.openxmlformats.org/drawingml/2006/chart">
            <c:chart xmlns:c="http://schemas.openxmlformats.org/drawingml/2006/chart" xmlns:r="http://schemas.openxmlformats.org/officeDocument/2006/relationships" r:id="rId2"/>
          </a:graphicData>
        </a:graphic>
      </p:graphicFrame>
      <p:sp>
        <p:nvSpPr>
          <p:cNvPr id="59" name="Oval 58">
            <a:extLst>
              <a:ext uri="{FF2B5EF4-FFF2-40B4-BE49-F238E27FC236}">
                <a16:creationId xmlns:a16="http://schemas.microsoft.com/office/drawing/2014/main" id="{73876139-765E-E7D7-BD60-77A64CBAAF57}"/>
              </a:ext>
            </a:extLst>
          </p:cNvPr>
          <p:cNvSpPr/>
          <p:nvPr/>
        </p:nvSpPr>
        <p:spPr>
          <a:xfrm>
            <a:off x="3353587" y="1713977"/>
            <a:ext cx="144000" cy="14400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60" name="Oval 59">
            <a:extLst>
              <a:ext uri="{FF2B5EF4-FFF2-40B4-BE49-F238E27FC236}">
                <a16:creationId xmlns:a16="http://schemas.microsoft.com/office/drawing/2014/main" id="{CA23E33D-86FB-882F-FA50-27E522FB9DCE}"/>
              </a:ext>
            </a:extLst>
          </p:cNvPr>
          <p:cNvSpPr/>
          <p:nvPr/>
        </p:nvSpPr>
        <p:spPr>
          <a:xfrm>
            <a:off x="3353587" y="5150752"/>
            <a:ext cx="144000" cy="14400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61" name="Rectangle 60">
            <a:extLst>
              <a:ext uri="{FF2B5EF4-FFF2-40B4-BE49-F238E27FC236}">
                <a16:creationId xmlns:a16="http://schemas.microsoft.com/office/drawing/2014/main" id="{14F06A2D-5D00-02D1-FACC-9F2B997BD512}"/>
              </a:ext>
            </a:extLst>
          </p:cNvPr>
          <p:cNvSpPr/>
          <p:nvPr/>
        </p:nvSpPr>
        <p:spPr>
          <a:xfrm>
            <a:off x="2764388" y="4728858"/>
            <a:ext cx="1063690" cy="38378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62" name="Rectangle 61">
            <a:extLst>
              <a:ext uri="{FF2B5EF4-FFF2-40B4-BE49-F238E27FC236}">
                <a16:creationId xmlns:a16="http://schemas.microsoft.com/office/drawing/2014/main" id="{74AB127C-3A64-1A1D-DC66-ECFF68B17016}"/>
              </a:ext>
            </a:extLst>
          </p:cNvPr>
          <p:cNvSpPr/>
          <p:nvPr/>
        </p:nvSpPr>
        <p:spPr>
          <a:xfrm>
            <a:off x="2821412" y="1937625"/>
            <a:ext cx="1063690" cy="33691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10" name="Oval 9">
            <a:extLst>
              <a:ext uri="{FF2B5EF4-FFF2-40B4-BE49-F238E27FC236}">
                <a16:creationId xmlns:a16="http://schemas.microsoft.com/office/drawing/2014/main" id="{94C74062-7C03-CD9B-B1D6-85221D4CBC33}"/>
              </a:ext>
            </a:extLst>
          </p:cNvPr>
          <p:cNvSpPr/>
          <p:nvPr/>
        </p:nvSpPr>
        <p:spPr>
          <a:xfrm>
            <a:off x="4766019" y="2631941"/>
            <a:ext cx="216000" cy="2160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12" name="Oval 11">
            <a:extLst>
              <a:ext uri="{FF2B5EF4-FFF2-40B4-BE49-F238E27FC236}">
                <a16:creationId xmlns:a16="http://schemas.microsoft.com/office/drawing/2014/main" id="{6E4261AD-9BF2-AF78-E660-26BE9C978B0F}"/>
              </a:ext>
            </a:extLst>
          </p:cNvPr>
          <p:cNvSpPr/>
          <p:nvPr/>
        </p:nvSpPr>
        <p:spPr>
          <a:xfrm>
            <a:off x="4766019" y="4175775"/>
            <a:ext cx="216000" cy="2160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cxnSp>
        <p:nvCxnSpPr>
          <p:cNvPr id="13" name="Straight Connector 12">
            <a:extLst>
              <a:ext uri="{FF2B5EF4-FFF2-40B4-BE49-F238E27FC236}">
                <a16:creationId xmlns:a16="http://schemas.microsoft.com/office/drawing/2014/main" id="{6E833672-0307-7176-1067-214793DDAD74}"/>
              </a:ext>
            </a:extLst>
          </p:cNvPr>
          <p:cNvCxnSpPr>
            <a:cxnSpLocks/>
            <a:stCxn id="20" idx="7"/>
          </p:cNvCxnSpPr>
          <p:nvPr/>
        </p:nvCxnSpPr>
        <p:spPr>
          <a:xfrm flipV="1">
            <a:off x="4244710" y="1476341"/>
            <a:ext cx="902659" cy="418361"/>
          </a:xfrm>
          <a:prstGeom prst="line">
            <a:avLst/>
          </a:prstGeom>
          <a:ln w="1270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FEF3969A-DB4C-D340-9CE1-3C86990DE7E2}"/>
              </a:ext>
            </a:extLst>
          </p:cNvPr>
          <p:cNvSpPr/>
          <p:nvPr/>
        </p:nvSpPr>
        <p:spPr>
          <a:xfrm>
            <a:off x="4060342" y="1863070"/>
            <a:ext cx="216000" cy="2160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21" name="Oval 20">
            <a:extLst>
              <a:ext uri="{FF2B5EF4-FFF2-40B4-BE49-F238E27FC236}">
                <a16:creationId xmlns:a16="http://schemas.microsoft.com/office/drawing/2014/main" id="{634013A5-E589-105B-CA47-E160674FC552}"/>
              </a:ext>
            </a:extLst>
          </p:cNvPr>
          <p:cNvSpPr/>
          <p:nvPr/>
        </p:nvSpPr>
        <p:spPr>
          <a:xfrm>
            <a:off x="4060342" y="4950738"/>
            <a:ext cx="216000" cy="2160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cxnSp>
        <p:nvCxnSpPr>
          <p:cNvPr id="37" name="Straight Connector 36">
            <a:extLst>
              <a:ext uri="{FF2B5EF4-FFF2-40B4-BE49-F238E27FC236}">
                <a16:creationId xmlns:a16="http://schemas.microsoft.com/office/drawing/2014/main" id="{23B0B9D7-FF72-A564-9A9D-5212968C0DBF}"/>
              </a:ext>
            </a:extLst>
          </p:cNvPr>
          <p:cNvCxnSpPr>
            <a:cxnSpLocks/>
            <a:stCxn id="21" idx="5"/>
          </p:cNvCxnSpPr>
          <p:nvPr/>
        </p:nvCxnSpPr>
        <p:spPr>
          <a:xfrm>
            <a:off x="4244710" y="5135106"/>
            <a:ext cx="902659" cy="388762"/>
          </a:xfrm>
          <a:prstGeom prst="line">
            <a:avLst/>
          </a:prstGeom>
          <a:ln w="1270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192AA2C1-878C-9B79-CF30-938F1A8EE52E}"/>
              </a:ext>
            </a:extLst>
          </p:cNvPr>
          <p:cNvSpPr/>
          <p:nvPr/>
        </p:nvSpPr>
        <p:spPr>
          <a:xfrm>
            <a:off x="4932663" y="3406411"/>
            <a:ext cx="216000" cy="2160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000">
              <a:solidFill>
                <a:srgbClr val="000000"/>
              </a:solidFill>
              <a:latin typeface="Ubuntu" panose="020B0504030602030204" pitchFamily="34" charset="0"/>
            </a:endParaRPr>
          </a:p>
        </p:txBody>
      </p:sp>
      <p:sp>
        <p:nvSpPr>
          <p:cNvPr id="64" name="TextBox 63">
            <a:extLst>
              <a:ext uri="{FF2B5EF4-FFF2-40B4-BE49-F238E27FC236}">
                <a16:creationId xmlns:a16="http://schemas.microsoft.com/office/drawing/2014/main" id="{10E8D2C1-1EA5-615F-8FE5-42C37A7B1F99}"/>
              </a:ext>
            </a:extLst>
          </p:cNvPr>
          <p:cNvSpPr txBox="1"/>
          <p:nvPr/>
        </p:nvSpPr>
        <p:spPr>
          <a:xfrm>
            <a:off x="2423777" y="3360523"/>
            <a:ext cx="2018921" cy="307777"/>
          </a:xfrm>
          <a:prstGeom prst="rect">
            <a:avLst/>
          </a:prstGeom>
          <a:noFill/>
          <a:ln>
            <a:noFill/>
          </a:ln>
        </p:spPr>
        <p:txBody>
          <a:bodyPr wrap="square" rtlCol="0" anchor="ctr">
            <a:spAutoFit/>
          </a:bodyPr>
          <a:lstStyle/>
          <a:p>
            <a:pPr algn="ctr">
              <a:defRPr/>
            </a:pPr>
            <a:r>
              <a:rPr lang="en-US" sz="1400" b="1">
                <a:solidFill>
                  <a:schemeClr val="tx2">
                    <a:lumMod val="75000"/>
                  </a:schemeClr>
                </a:solidFill>
                <a:latin typeface="Ubuntu" panose="020B0504030602030204" pitchFamily="34" charset="0"/>
              </a:rPr>
              <a:t>…</a:t>
            </a:r>
          </a:p>
        </p:txBody>
      </p:sp>
    </p:spTree>
    <p:extLst>
      <p:ext uri="{BB962C8B-B14F-4D97-AF65-F5344CB8AC3E}">
        <p14:creationId xmlns:p14="http://schemas.microsoft.com/office/powerpoint/2010/main" val="3560599996"/>
      </p:ext>
    </p:extLst>
  </p:cSld>
  <p:clrMapOvr>
    <a:masterClrMapping/>
  </p:clrMapOvr>
  <p:hf hdr="0" ft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slide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910233B-A1CF-4159-BE51-58600E229284}"/>
              </a:ext>
            </a:extLst>
          </p:cNvPr>
          <p:cNvSpPr/>
          <p:nvPr/>
        </p:nvSpPr>
        <p:spPr>
          <a:xfrm>
            <a:off x="0" y="1"/>
            <a:ext cx="12192000" cy="6858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sp>
        <p:nvSpPr>
          <p:cNvPr id="9" name="Title 2">
            <a:extLst>
              <a:ext uri="{FF2B5EF4-FFF2-40B4-BE49-F238E27FC236}">
                <a16:creationId xmlns:a16="http://schemas.microsoft.com/office/drawing/2014/main" id="{3B440D62-D7DE-612C-889A-CD3CC62E3FBB}"/>
              </a:ext>
            </a:extLst>
          </p:cNvPr>
          <p:cNvSpPr>
            <a:spLocks noGrp="1"/>
          </p:cNvSpPr>
          <p:nvPr>
            <p:ph type="title" hasCustomPrompt="1"/>
          </p:nvPr>
        </p:nvSpPr>
        <p:spPr>
          <a:xfrm>
            <a:off x="442913" y="1007966"/>
            <a:ext cx="11306175" cy="611188"/>
          </a:xfrm>
        </p:spPr>
        <p:txBody>
          <a:bodyPr/>
          <a:lstStyle>
            <a:lvl1pPr>
              <a:defRPr/>
            </a:lvl1pPr>
          </a:lstStyle>
          <a:p>
            <a:r>
              <a:rPr lang="en-US"/>
              <a:t>Contents</a:t>
            </a:r>
          </a:p>
        </p:txBody>
      </p:sp>
      <p:pic>
        <p:nvPicPr>
          <p:cNvPr id="3" name="Picture 2" descr="Icon&#10;&#10;Description automatically generated">
            <a:extLst>
              <a:ext uri="{FF2B5EF4-FFF2-40B4-BE49-F238E27FC236}">
                <a16:creationId xmlns:a16="http://schemas.microsoft.com/office/drawing/2014/main" id="{5FB66D1C-DC07-3FA3-32FB-108359A7C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19841" y="425013"/>
            <a:ext cx="975532" cy="154260"/>
          </a:xfrm>
          <a:prstGeom prst="rect">
            <a:avLst/>
          </a:prstGeom>
        </p:spPr>
      </p:pic>
      <p:sp>
        <p:nvSpPr>
          <p:cNvPr id="8" name="Content Placeholder 8">
            <a:extLst>
              <a:ext uri="{FF2B5EF4-FFF2-40B4-BE49-F238E27FC236}">
                <a16:creationId xmlns:a16="http://schemas.microsoft.com/office/drawing/2014/main" id="{FFDE8EAA-4837-0D59-4959-E7C208CB414E}"/>
              </a:ext>
            </a:extLst>
          </p:cNvPr>
          <p:cNvSpPr>
            <a:spLocks noGrp="1"/>
          </p:cNvSpPr>
          <p:nvPr>
            <p:ph sz="quarter" idx="14" hasCustomPrompt="1"/>
          </p:nvPr>
        </p:nvSpPr>
        <p:spPr>
          <a:xfrm>
            <a:off x="442908" y="1716558"/>
            <a:ext cx="10501317" cy="278535"/>
          </a:xfrm>
          <a:solidFill>
            <a:schemeClr val="accent4"/>
          </a:solidFill>
        </p:spPr>
        <p:txBody>
          <a:bodyPr/>
          <a:lstStyle>
            <a:lvl1pPr marL="0" indent="0">
              <a:buNone/>
              <a:defRPr/>
            </a:lvl1pPr>
          </a:lstStyle>
          <a:p>
            <a:pPr lvl="0"/>
            <a:r>
              <a:rPr lang="nb-NO"/>
              <a:t> </a:t>
            </a:r>
            <a:endParaRPr lang="en-US"/>
          </a:p>
        </p:txBody>
      </p:sp>
      <p:sp>
        <p:nvSpPr>
          <p:cNvPr id="6" name="Text Placeholder 7">
            <a:extLst>
              <a:ext uri="{FF2B5EF4-FFF2-40B4-BE49-F238E27FC236}">
                <a16:creationId xmlns:a16="http://schemas.microsoft.com/office/drawing/2014/main" id="{A1CCD35C-45FB-424E-B1E2-9C6B7D5D3006}"/>
              </a:ext>
            </a:extLst>
          </p:cNvPr>
          <p:cNvSpPr>
            <a:spLocks noGrp="1"/>
          </p:cNvSpPr>
          <p:nvPr>
            <p:ph type="body" sz="quarter" idx="11" hasCustomPrompt="1"/>
          </p:nvPr>
        </p:nvSpPr>
        <p:spPr>
          <a:xfrm>
            <a:off x="442912" y="1665288"/>
            <a:ext cx="1763758" cy="3405476"/>
          </a:xfrm>
          <a:prstGeom prst="rect">
            <a:avLst/>
          </a:prstGeom>
        </p:spPr>
        <p:txBody>
          <a:bodyPr>
            <a:normAutofit/>
          </a:bodyPr>
          <a:lstStyle>
            <a:lvl1pPr marL="0" indent="0">
              <a:lnSpc>
                <a:spcPct val="100000"/>
              </a:lnSpc>
              <a:spcBef>
                <a:spcPts val="600"/>
              </a:spcBef>
              <a:buNone/>
              <a:defRPr sz="1800">
                <a:latin typeface="Ubuntu" panose="020B0504030602030204" pitchFamily="34" charset="0"/>
              </a:defRPr>
            </a:lvl1pPr>
          </a:lstStyle>
          <a:p>
            <a:pPr lvl="0"/>
            <a:r>
              <a:rPr lang="en-US"/>
              <a:t>Page no.</a:t>
            </a:r>
          </a:p>
        </p:txBody>
      </p:sp>
      <p:sp>
        <p:nvSpPr>
          <p:cNvPr id="7" name="Text Placeholder 9">
            <a:extLst>
              <a:ext uri="{FF2B5EF4-FFF2-40B4-BE49-F238E27FC236}">
                <a16:creationId xmlns:a16="http://schemas.microsoft.com/office/drawing/2014/main" id="{DF1028FF-8775-4F49-A438-953D2D8124B5}"/>
              </a:ext>
            </a:extLst>
          </p:cNvPr>
          <p:cNvSpPr>
            <a:spLocks noGrp="1"/>
          </p:cNvSpPr>
          <p:nvPr>
            <p:ph type="body" sz="quarter" idx="13" hasCustomPrompt="1"/>
          </p:nvPr>
        </p:nvSpPr>
        <p:spPr>
          <a:xfrm>
            <a:off x="2206668" y="1665288"/>
            <a:ext cx="8431702" cy="3405476"/>
          </a:xfrm>
          <a:prstGeom prst="rect">
            <a:avLst/>
          </a:prstGeom>
        </p:spPr>
        <p:txBody>
          <a:bodyPr>
            <a:normAutofit/>
          </a:bodyPr>
          <a:lstStyle>
            <a:lvl1pPr marL="0" indent="0" defTabSz="540000">
              <a:lnSpc>
                <a:spcPct val="100000"/>
              </a:lnSpc>
              <a:spcBef>
                <a:spcPts val="600"/>
              </a:spcBef>
              <a:buNone/>
              <a:defRPr sz="1800">
                <a:latin typeface="Ubuntu" panose="020B0504030602030204" pitchFamily="34" charset="0"/>
              </a:defRPr>
            </a:lvl1pPr>
          </a:lstStyle>
          <a:p>
            <a:pPr lvl="0"/>
            <a:r>
              <a:rPr lang="en-US"/>
              <a:t>Executive Summary</a:t>
            </a:r>
          </a:p>
          <a:p>
            <a:pPr lvl="0"/>
            <a:r>
              <a:rPr lang="en-US"/>
              <a:t>Section 1</a:t>
            </a:r>
          </a:p>
          <a:p>
            <a:pPr lvl="0"/>
            <a:r>
              <a:rPr lang="en-US"/>
              <a:t>	Subsection 1a</a:t>
            </a:r>
          </a:p>
          <a:p>
            <a:pPr lvl="0"/>
            <a:r>
              <a:rPr lang="en-US"/>
              <a:t>…</a:t>
            </a:r>
          </a:p>
        </p:txBody>
      </p:sp>
      <p:pic>
        <p:nvPicPr>
          <p:cNvPr id="4" name="Graphic 3">
            <a:extLst>
              <a:ext uri="{FF2B5EF4-FFF2-40B4-BE49-F238E27FC236}">
                <a16:creationId xmlns:a16="http://schemas.microsoft.com/office/drawing/2014/main" id="{5B2CF9AC-D3A3-F9F6-22EA-E7C7C663221A}"/>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23854" b="23611"/>
          <a:stretch/>
        </p:blipFill>
        <p:spPr>
          <a:xfrm>
            <a:off x="0" y="1"/>
            <a:ext cx="12192000" cy="6874686"/>
          </a:xfrm>
          <a:prstGeom prst="rect">
            <a:avLst/>
          </a:prstGeom>
        </p:spPr>
      </p:pic>
    </p:spTree>
    <p:extLst>
      <p:ext uri="{BB962C8B-B14F-4D97-AF65-F5344CB8AC3E}">
        <p14:creationId xmlns:p14="http://schemas.microsoft.com/office/powerpoint/2010/main" val="1406179723"/>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ustom layout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8ADC02-7FA5-7CDE-CA79-6BE1DFD4B337}"/>
              </a:ext>
            </a:extLst>
          </p:cNvPr>
          <p:cNvSpPr>
            <a:spLocks noGrp="1"/>
          </p:cNvSpPr>
          <p:nvPr>
            <p:ph type="title"/>
          </p:nvPr>
        </p:nvSpPr>
        <p:spPr/>
        <p:txBody>
          <a:bodyPr/>
          <a:lstStyle/>
          <a:p>
            <a:r>
              <a:rPr lang="en-US"/>
              <a:t>Click to edit Master title style</a:t>
            </a:r>
          </a:p>
        </p:txBody>
      </p:sp>
      <p:sp>
        <p:nvSpPr>
          <p:cNvPr id="3" name="Flowchart: Manual Operation 2">
            <a:extLst>
              <a:ext uri="{FF2B5EF4-FFF2-40B4-BE49-F238E27FC236}">
                <a16:creationId xmlns:a16="http://schemas.microsoft.com/office/drawing/2014/main" id="{0A04750B-794A-9137-7FE7-664DFB124DC6}"/>
              </a:ext>
            </a:extLst>
          </p:cNvPr>
          <p:cNvSpPr/>
          <p:nvPr/>
        </p:nvSpPr>
        <p:spPr>
          <a:xfrm rot="13962354">
            <a:off x="4662628" y="2481105"/>
            <a:ext cx="481408" cy="1570773"/>
          </a:xfrm>
          <a:prstGeom prst="flowChartManualOperation">
            <a:avLst/>
          </a:prstGeom>
          <a:solidFill>
            <a:schemeClr val="accent1">
              <a:lumMod val="60000"/>
              <a:lumOff val="40000"/>
              <a:alpha val="24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82BA"/>
              </a:solidFill>
              <a:effectLst/>
              <a:uLnTx/>
              <a:uFillTx/>
              <a:latin typeface="Ubuntu" panose="020B0504030602030204" pitchFamily="34" charset="0"/>
              <a:ea typeface="+mn-ea"/>
              <a:cs typeface="+mn-cs"/>
            </a:endParaRPr>
          </a:p>
        </p:txBody>
      </p:sp>
      <p:sp>
        <p:nvSpPr>
          <p:cNvPr id="4" name="Flowchart: Manual Operation 3">
            <a:extLst>
              <a:ext uri="{FF2B5EF4-FFF2-40B4-BE49-F238E27FC236}">
                <a16:creationId xmlns:a16="http://schemas.microsoft.com/office/drawing/2014/main" id="{8B71EA0A-EF71-6FC8-EB15-99706E727605}"/>
              </a:ext>
            </a:extLst>
          </p:cNvPr>
          <p:cNvSpPr/>
          <p:nvPr/>
        </p:nvSpPr>
        <p:spPr>
          <a:xfrm rot="10800000">
            <a:off x="5858279" y="2855419"/>
            <a:ext cx="481408" cy="1570773"/>
          </a:xfrm>
          <a:prstGeom prst="flowChartManualOperation">
            <a:avLst/>
          </a:prstGeom>
          <a:solidFill>
            <a:schemeClr val="accent1">
              <a:lumMod val="60000"/>
              <a:lumOff val="40000"/>
              <a:alpha val="24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82BA"/>
              </a:solidFill>
              <a:effectLst/>
              <a:uLnTx/>
              <a:uFillTx/>
              <a:latin typeface="Ubuntu" panose="020B0504030602030204" pitchFamily="34" charset="0"/>
              <a:ea typeface="+mn-ea"/>
              <a:cs typeface="+mn-cs"/>
            </a:endParaRPr>
          </a:p>
        </p:txBody>
      </p:sp>
      <p:cxnSp>
        <p:nvCxnSpPr>
          <p:cNvPr id="5" name="Straight Connector 4">
            <a:extLst>
              <a:ext uri="{FF2B5EF4-FFF2-40B4-BE49-F238E27FC236}">
                <a16:creationId xmlns:a16="http://schemas.microsoft.com/office/drawing/2014/main" id="{1C0C6BCE-A4A2-FA45-96B5-5E84F0D520D7}"/>
              </a:ext>
            </a:extLst>
          </p:cNvPr>
          <p:cNvCxnSpPr>
            <a:cxnSpLocks/>
            <a:stCxn id="8" idx="6"/>
            <a:endCxn id="8" idx="6"/>
          </p:cNvCxnSpPr>
          <p:nvPr/>
        </p:nvCxnSpPr>
        <p:spPr>
          <a:xfrm>
            <a:off x="7196262" y="2316171"/>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528D60E-05BE-4CD3-6124-F27A83D6402B}"/>
              </a:ext>
            </a:extLst>
          </p:cNvPr>
          <p:cNvSpPr txBox="1"/>
          <p:nvPr/>
        </p:nvSpPr>
        <p:spPr>
          <a:xfrm>
            <a:off x="442913" y="3443002"/>
            <a:ext cx="3358561" cy="600164"/>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endParaRPr kumimoji="0" lang="en-US" sz="1100" b="0"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a:p>
            <a:pPr marL="180975" marR="0" lvl="0" indent="-180975" algn="r"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endParaRPr kumimoji="0" lang="en-US" sz="1100" b="0" i="0" u="none" strike="noStrike" kern="1200" cap="none" spc="0" normalizeH="0" baseline="0" noProof="0">
              <a:ln>
                <a:noFill/>
              </a:ln>
              <a:solidFill>
                <a:schemeClr val="tx1"/>
              </a:solidFill>
              <a:effectLst/>
              <a:uLnTx/>
              <a:uFillTx/>
              <a:latin typeface="Ubuntu" panose="020B0504030602030204" pitchFamily="34" charset="0"/>
              <a:ea typeface="+mn-ea"/>
              <a:cs typeface="Arial"/>
            </a:endParaRPr>
          </a:p>
        </p:txBody>
      </p:sp>
      <p:sp>
        <p:nvSpPr>
          <p:cNvPr id="7" name="Flowchart: Manual Operation 6">
            <a:extLst>
              <a:ext uri="{FF2B5EF4-FFF2-40B4-BE49-F238E27FC236}">
                <a16:creationId xmlns:a16="http://schemas.microsoft.com/office/drawing/2014/main" id="{34924E88-519D-B4E7-A157-4BFC7A3810E1}"/>
              </a:ext>
            </a:extLst>
          </p:cNvPr>
          <p:cNvSpPr/>
          <p:nvPr/>
        </p:nvSpPr>
        <p:spPr>
          <a:xfrm rot="7637781">
            <a:off x="7102426" y="2525495"/>
            <a:ext cx="481408" cy="1570773"/>
          </a:xfrm>
          <a:prstGeom prst="flowChartManualOperation">
            <a:avLst/>
          </a:prstGeom>
          <a:solidFill>
            <a:schemeClr val="accent1">
              <a:lumMod val="60000"/>
              <a:lumOff val="40000"/>
              <a:alpha val="24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82BA"/>
              </a:solidFill>
              <a:effectLst/>
              <a:uLnTx/>
              <a:uFillTx/>
              <a:latin typeface="Ubuntu" panose="020B0504030602030204" pitchFamily="34" charset="0"/>
              <a:ea typeface="+mn-ea"/>
              <a:cs typeface="+mn-cs"/>
            </a:endParaRPr>
          </a:p>
        </p:txBody>
      </p:sp>
      <p:sp>
        <p:nvSpPr>
          <p:cNvPr id="8" name="Oval 7">
            <a:extLst>
              <a:ext uri="{FF2B5EF4-FFF2-40B4-BE49-F238E27FC236}">
                <a16:creationId xmlns:a16="http://schemas.microsoft.com/office/drawing/2014/main" id="{C5DC8027-EB61-E199-879E-D01CA21DF597}"/>
              </a:ext>
            </a:extLst>
          </p:cNvPr>
          <p:cNvSpPr/>
          <p:nvPr/>
        </p:nvSpPr>
        <p:spPr>
          <a:xfrm>
            <a:off x="5001702" y="1218891"/>
            <a:ext cx="2194560" cy="2194560"/>
          </a:xfrm>
          <a:prstGeom prst="ellipse">
            <a:avLst/>
          </a:prstGeom>
          <a:solidFill>
            <a:schemeClr val="bg1"/>
          </a:solidFill>
          <a:ln w="762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82BA"/>
              </a:solidFill>
              <a:effectLst/>
              <a:uLnTx/>
              <a:uFillTx/>
              <a:latin typeface="Ubuntu" panose="020B0504030602030204" pitchFamily="34" charset="0"/>
              <a:ea typeface="+mn-ea"/>
              <a:cs typeface="+mn-cs"/>
            </a:endParaRPr>
          </a:p>
        </p:txBody>
      </p:sp>
      <p:sp>
        <p:nvSpPr>
          <p:cNvPr id="9" name="Oval 8">
            <a:extLst>
              <a:ext uri="{FF2B5EF4-FFF2-40B4-BE49-F238E27FC236}">
                <a16:creationId xmlns:a16="http://schemas.microsoft.com/office/drawing/2014/main" id="{23003C02-BF22-F472-63F5-45256C597841}"/>
              </a:ext>
            </a:extLst>
          </p:cNvPr>
          <p:cNvSpPr/>
          <p:nvPr/>
        </p:nvSpPr>
        <p:spPr>
          <a:xfrm>
            <a:off x="7427155" y="3271744"/>
            <a:ext cx="936000" cy="936000"/>
          </a:xfrm>
          <a:prstGeom prst="ellipse">
            <a:avLst/>
          </a:prstGeom>
          <a:solidFill>
            <a:schemeClr val="bg1"/>
          </a:solid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82BA"/>
              </a:solidFill>
              <a:effectLst/>
              <a:uLnTx/>
              <a:uFillTx/>
              <a:latin typeface="Ubuntu" panose="020B0504030602030204" pitchFamily="34" charset="0"/>
              <a:ea typeface="+mn-ea"/>
              <a:cs typeface="+mn-cs"/>
            </a:endParaRPr>
          </a:p>
        </p:txBody>
      </p:sp>
      <p:sp>
        <p:nvSpPr>
          <p:cNvPr id="10" name="Oval 9">
            <a:extLst>
              <a:ext uri="{FF2B5EF4-FFF2-40B4-BE49-F238E27FC236}">
                <a16:creationId xmlns:a16="http://schemas.microsoft.com/office/drawing/2014/main" id="{91686D25-92F7-13E7-58E0-31B225776088}"/>
              </a:ext>
            </a:extLst>
          </p:cNvPr>
          <p:cNvSpPr/>
          <p:nvPr/>
        </p:nvSpPr>
        <p:spPr>
          <a:xfrm>
            <a:off x="5630982" y="4169062"/>
            <a:ext cx="936000" cy="936000"/>
          </a:xfrm>
          <a:prstGeom prst="ellipse">
            <a:avLst/>
          </a:prstGeom>
          <a:solidFill>
            <a:schemeClr val="bg1"/>
          </a:solid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82BA"/>
              </a:solidFill>
              <a:effectLst/>
              <a:uLnTx/>
              <a:uFillTx/>
              <a:latin typeface="Ubuntu" panose="020B0504030602030204" pitchFamily="34" charset="0"/>
              <a:ea typeface="+mn-ea"/>
              <a:cs typeface="+mn-cs"/>
            </a:endParaRPr>
          </a:p>
        </p:txBody>
      </p:sp>
      <p:sp>
        <p:nvSpPr>
          <p:cNvPr id="11" name="Oval 10">
            <a:extLst>
              <a:ext uri="{FF2B5EF4-FFF2-40B4-BE49-F238E27FC236}">
                <a16:creationId xmlns:a16="http://schemas.microsoft.com/office/drawing/2014/main" id="{EA28A5DB-0DF5-7283-19DD-502169D0242A}"/>
              </a:ext>
            </a:extLst>
          </p:cNvPr>
          <p:cNvSpPr/>
          <p:nvPr/>
        </p:nvSpPr>
        <p:spPr>
          <a:xfrm>
            <a:off x="3850453" y="3271744"/>
            <a:ext cx="936000" cy="936000"/>
          </a:xfrm>
          <a:prstGeom prst="ellipse">
            <a:avLst/>
          </a:prstGeom>
          <a:solidFill>
            <a:schemeClr val="bg1"/>
          </a:solid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82BA"/>
              </a:solidFill>
              <a:effectLst/>
              <a:uLnTx/>
              <a:uFillTx/>
              <a:latin typeface="Ubuntu" panose="020B0504030602030204" pitchFamily="34" charset="0"/>
              <a:ea typeface="+mn-ea"/>
              <a:cs typeface="+mn-cs"/>
            </a:endParaRPr>
          </a:p>
        </p:txBody>
      </p:sp>
      <p:sp>
        <p:nvSpPr>
          <p:cNvPr id="13" name="TextBox 12">
            <a:extLst>
              <a:ext uri="{FF2B5EF4-FFF2-40B4-BE49-F238E27FC236}">
                <a16:creationId xmlns:a16="http://schemas.microsoft.com/office/drawing/2014/main" id="{DCDAC74C-2676-FDF7-AFBA-76CAB7085E25}"/>
              </a:ext>
            </a:extLst>
          </p:cNvPr>
          <p:cNvSpPr txBox="1"/>
          <p:nvPr/>
        </p:nvSpPr>
        <p:spPr>
          <a:xfrm>
            <a:off x="8391730" y="3443002"/>
            <a:ext cx="3357357" cy="60016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p:txBody>
      </p:sp>
      <p:sp>
        <p:nvSpPr>
          <p:cNvPr id="14" name="TextBox 13">
            <a:extLst>
              <a:ext uri="{FF2B5EF4-FFF2-40B4-BE49-F238E27FC236}">
                <a16:creationId xmlns:a16="http://schemas.microsoft.com/office/drawing/2014/main" id="{EFB0B02C-3934-E659-A748-7EECDF5AF704}"/>
              </a:ext>
            </a:extLst>
          </p:cNvPr>
          <p:cNvSpPr txBox="1"/>
          <p:nvPr/>
        </p:nvSpPr>
        <p:spPr>
          <a:xfrm>
            <a:off x="4422055" y="5171940"/>
            <a:ext cx="3358800" cy="60016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200" b="1"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p:txBody>
      </p:sp>
      <p:sp>
        <p:nvSpPr>
          <p:cNvPr id="22" name="TextBox 21">
            <a:extLst>
              <a:ext uri="{FF2B5EF4-FFF2-40B4-BE49-F238E27FC236}">
                <a16:creationId xmlns:a16="http://schemas.microsoft.com/office/drawing/2014/main" id="{F68EEA9E-713E-C189-926A-CA90D1B59AEA}"/>
              </a:ext>
            </a:extLst>
          </p:cNvPr>
          <p:cNvSpPr txBox="1"/>
          <p:nvPr/>
        </p:nvSpPr>
        <p:spPr>
          <a:xfrm>
            <a:off x="5236383" y="1849609"/>
            <a:ext cx="1736283" cy="307777"/>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p:txBody>
      </p:sp>
    </p:spTree>
    <p:extLst>
      <p:ext uri="{BB962C8B-B14F-4D97-AF65-F5344CB8AC3E}">
        <p14:creationId xmlns:p14="http://schemas.microsoft.com/office/powerpoint/2010/main" val="4083529348"/>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ustom layout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8A5E7-A758-2485-10F3-8F867211E931}"/>
              </a:ext>
            </a:extLst>
          </p:cNvPr>
          <p:cNvSpPr>
            <a:spLocks noGrp="1"/>
          </p:cNvSpPr>
          <p:nvPr>
            <p:ph type="title"/>
          </p:nvPr>
        </p:nvSpPr>
        <p:spPr/>
        <p:txBody>
          <a:bodyPr/>
          <a:lstStyle/>
          <a:p>
            <a:r>
              <a:rPr lang="en-US"/>
              <a:t>Click to edit Master title style</a:t>
            </a:r>
          </a:p>
        </p:txBody>
      </p:sp>
      <p:sp>
        <p:nvSpPr>
          <p:cNvPr id="31" name="Partial Circle 30">
            <a:extLst>
              <a:ext uri="{FF2B5EF4-FFF2-40B4-BE49-F238E27FC236}">
                <a16:creationId xmlns:a16="http://schemas.microsoft.com/office/drawing/2014/main" id="{69F425C4-8289-8BA3-93D6-80B7784D08DE}"/>
              </a:ext>
            </a:extLst>
          </p:cNvPr>
          <p:cNvSpPr/>
          <p:nvPr/>
        </p:nvSpPr>
        <p:spPr>
          <a:xfrm>
            <a:off x="4358056" y="968213"/>
            <a:ext cx="3453898" cy="3182296"/>
          </a:xfrm>
          <a:prstGeom prst="pie">
            <a:avLst>
              <a:gd name="adj1" fmla="val 21588596"/>
              <a:gd name="adj2" fmla="val 10816689"/>
            </a:avLst>
          </a:prstGeom>
          <a:noFill/>
          <a:ln w="28575">
            <a:solidFill>
              <a:schemeClr val="accent1">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34" name="Oval 33">
            <a:extLst>
              <a:ext uri="{FF2B5EF4-FFF2-40B4-BE49-F238E27FC236}">
                <a16:creationId xmlns:a16="http://schemas.microsoft.com/office/drawing/2014/main" id="{08ECC8BB-10D2-CAC3-E5BF-99FAC1AA61E4}"/>
              </a:ext>
            </a:extLst>
          </p:cNvPr>
          <p:cNvSpPr/>
          <p:nvPr/>
        </p:nvSpPr>
        <p:spPr>
          <a:xfrm>
            <a:off x="4298547" y="2512167"/>
            <a:ext cx="144000" cy="144000"/>
          </a:xfrm>
          <a:prstGeom prst="ellipse">
            <a:avLst/>
          </a:prstGeom>
          <a:solidFill>
            <a:schemeClr val="accent1">
              <a:lumMod val="60000"/>
              <a:lumOff val="40000"/>
            </a:schemeClr>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cxnSp>
        <p:nvCxnSpPr>
          <p:cNvPr id="36" name="Straight Connector 35">
            <a:extLst>
              <a:ext uri="{FF2B5EF4-FFF2-40B4-BE49-F238E27FC236}">
                <a16:creationId xmlns:a16="http://schemas.microsoft.com/office/drawing/2014/main" id="{16A93D5C-B078-1F27-A5F7-90C129F204DD}"/>
              </a:ext>
            </a:extLst>
          </p:cNvPr>
          <p:cNvCxnSpPr>
            <a:cxnSpLocks/>
          </p:cNvCxnSpPr>
          <p:nvPr/>
        </p:nvCxnSpPr>
        <p:spPr>
          <a:xfrm>
            <a:off x="7835910" y="3165023"/>
            <a:ext cx="687905" cy="182880"/>
          </a:xfrm>
          <a:prstGeom prst="line">
            <a:avLst/>
          </a:prstGeom>
          <a:ln w="127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83C0013-4232-A344-B7A6-259B43DE2EDE}"/>
              </a:ext>
            </a:extLst>
          </p:cNvPr>
          <p:cNvCxnSpPr>
            <a:cxnSpLocks/>
          </p:cNvCxnSpPr>
          <p:nvPr/>
        </p:nvCxnSpPr>
        <p:spPr>
          <a:xfrm flipH="1">
            <a:off x="5006614" y="4101157"/>
            <a:ext cx="271703" cy="457200"/>
          </a:xfrm>
          <a:prstGeom prst="line">
            <a:avLst/>
          </a:prstGeom>
          <a:ln w="127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7A76CFD1-1FC5-7E0D-38F0-229F6ED148ED}"/>
              </a:ext>
            </a:extLst>
          </p:cNvPr>
          <p:cNvSpPr txBox="1"/>
          <p:nvPr/>
        </p:nvSpPr>
        <p:spPr>
          <a:xfrm>
            <a:off x="8826920" y="3964359"/>
            <a:ext cx="2926080"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p:txBody>
      </p:sp>
      <p:sp>
        <p:nvSpPr>
          <p:cNvPr id="43" name="Oval 42">
            <a:extLst>
              <a:ext uri="{FF2B5EF4-FFF2-40B4-BE49-F238E27FC236}">
                <a16:creationId xmlns:a16="http://schemas.microsoft.com/office/drawing/2014/main" id="{E8082778-189B-860E-656F-AEF616D7C167}"/>
              </a:ext>
            </a:extLst>
          </p:cNvPr>
          <p:cNvSpPr/>
          <p:nvPr/>
        </p:nvSpPr>
        <p:spPr>
          <a:xfrm>
            <a:off x="5248737" y="3899902"/>
            <a:ext cx="216000" cy="216000"/>
          </a:xfrm>
          <a:prstGeom prst="ellipse">
            <a:avLst/>
          </a:prstGeom>
          <a:solidFill>
            <a:schemeClr val="bg1"/>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45" name="TextBox 44">
            <a:extLst>
              <a:ext uri="{FF2B5EF4-FFF2-40B4-BE49-F238E27FC236}">
                <a16:creationId xmlns:a16="http://schemas.microsoft.com/office/drawing/2014/main" id="{AC613F6F-AD99-C92C-0CF6-C36F56CFAE30}"/>
              </a:ext>
            </a:extLst>
          </p:cNvPr>
          <p:cNvSpPr txBox="1"/>
          <p:nvPr/>
        </p:nvSpPr>
        <p:spPr>
          <a:xfrm>
            <a:off x="7237374" y="5368228"/>
            <a:ext cx="2926080"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p:txBody>
      </p:sp>
      <p:sp>
        <p:nvSpPr>
          <p:cNvPr id="46" name="TextBox 45">
            <a:extLst>
              <a:ext uri="{FF2B5EF4-FFF2-40B4-BE49-F238E27FC236}">
                <a16:creationId xmlns:a16="http://schemas.microsoft.com/office/drawing/2014/main" id="{081656EC-436A-7EED-F478-C8B92003F7A0}"/>
              </a:ext>
            </a:extLst>
          </p:cNvPr>
          <p:cNvSpPr txBox="1"/>
          <p:nvPr/>
        </p:nvSpPr>
        <p:spPr>
          <a:xfrm>
            <a:off x="455695" y="3968179"/>
            <a:ext cx="2926080" cy="5078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a:p>
            <a:pPr marL="171450" marR="0" lvl="0" indent="-171450" algn="r"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p:txBody>
      </p:sp>
      <p:cxnSp>
        <p:nvCxnSpPr>
          <p:cNvPr id="47" name="Straight Connector 46">
            <a:extLst>
              <a:ext uri="{FF2B5EF4-FFF2-40B4-BE49-F238E27FC236}">
                <a16:creationId xmlns:a16="http://schemas.microsoft.com/office/drawing/2014/main" id="{BBCF00A5-B427-D3A8-5282-581125651876}"/>
              </a:ext>
            </a:extLst>
          </p:cNvPr>
          <p:cNvCxnSpPr>
            <a:cxnSpLocks/>
          </p:cNvCxnSpPr>
          <p:nvPr/>
        </p:nvCxnSpPr>
        <p:spPr>
          <a:xfrm flipV="1">
            <a:off x="3680670" y="3175389"/>
            <a:ext cx="688063" cy="182880"/>
          </a:xfrm>
          <a:prstGeom prst="line">
            <a:avLst/>
          </a:prstGeom>
          <a:ln w="127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1D555537-626F-4BB4-16EB-5EB578A104A6}"/>
              </a:ext>
            </a:extLst>
          </p:cNvPr>
          <p:cNvSpPr/>
          <p:nvPr/>
        </p:nvSpPr>
        <p:spPr>
          <a:xfrm>
            <a:off x="4369527" y="3022477"/>
            <a:ext cx="216000" cy="216000"/>
          </a:xfrm>
          <a:prstGeom prst="ellipse">
            <a:avLst/>
          </a:prstGeom>
          <a:solidFill>
            <a:schemeClr val="bg1"/>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49" name="Oval 48">
            <a:extLst>
              <a:ext uri="{FF2B5EF4-FFF2-40B4-BE49-F238E27FC236}">
                <a16:creationId xmlns:a16="http://schemas.microsoft.com/office/drawing/2014/main" id="{7E3E368A-E589-ADA7-974F-3C48BAE1D0DF}"/>
              </a:ext>
            </a:extLst>
          </p:cNvPr>
          <p:cNvSpPr/>
          <p:nvPr/>
        </p:nvSpPr>
        <p:spPr>
          <a:xfrm>
            <a:off x="3003181" y="3211784"/>
            <a:ext cx="720000" cy="720000"/>
          </a:xfrm>
          <a:prstGeom prst="ellipse">
            <a:avLst/>
          </a:prstGeom>
          <a:solidFill>
            <a:schemeClr val="accent1"/>
          </a:solidFill>
          <a:ln w="6350">
            <a:solidFill>
              <a:srgbClr val="FFB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cxnSp>
        <p:nvCxnSpPr>
          <p:cNvPr id="50" name="Straight Connector 49">
            <a:extLst>
              <a:ext uri="{FF2B5EF4-FFF2-40B4-BE49-F238E27FC236}">
                <a16:creationId xmlns:a16="http://schemas.microsoft.com/office/drawing/2014/main" id="{0531DE48-5E68-F303-A280-C467F310A47E}"/>
              </a:ext>
            </a:extLst>
          </p:cNvPr>
          <p:cNvCxnSpPr>
            <a:cxnSpLocks/>
          </p:cNvCxnSpPr>
          <p:nvPr/>
        </p:nvCxnSpPr>
        <p:spPr>
          <a:xfrm>
            <a:off x="6856922" y="4101157"/>
            <a:ext cx="274320" cy="457200"/>
          </a:xfrm>
          <a:prstGeom prst="line">
            <a:avLst/>
          </a:prstGeom>
          <a:ln w="127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0852E6EA-3353-063D-A4BC-545A258D7DFA}"/>
              </a:ext>
            </a:extLst>
          </p:cNvPr>
          <p:cNvSpPr/>
          <p:nvPr/>
        </p:nvSpPr>
        <p:spPr>
          <a:xfrm>
            <a:off x="6694550" y="3899902"/>
            <a:ext cx="216000" cy="216000"/>
          </a:xfrm>
          <a:prstGeom prst="ellipse">
            <a:avLst/>
          </a:prstGeom>
          <a:solidFill>
            <a:schemeClr val="bg1"/>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2" name="Oval 51">
            <a:extLst>
              <a:ext uri="{FF2B5EF4-FFF2-40B4-BE49-F238E27FC236}">
                <a16:creationId xmlns:a16="http://schemas.microsoft.com/office/drawing/2014/main" id="{CA3243ED-6B2D-C7EE-54F6-E4AD51430E0F}"/>
              </a:ext>
            </a:extLst>
          </p:cNvPr>
          <p:cNvSpPr/>
          <p:nvPr/>
        </p:nvSpPr>
        <p:spPr>
          <a:xfrm>
            <a:off x="6881847" y="4586796"/>
            <a:ext cx="720000" cy="720000"/>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3" name="Oval 52">
            <a:extLst>
              <a:ext uri="{FF2B5EF4-FFF2-40B4-BE49-F238E27FC236}">
                <a16:creationId xmlns:a16="http://schemas.microsoft.com/office/drawing/2014/main" id="{FECBEF03-74BA-4DF7-0534-9254F354F7E8}"/>
              </a:ext>
            </a:extLst>
          </p:cNvPr>
          <p:cNvSpPr/>
          <p:nvPr/>
        </p:nvSpPr>
        <p:spPr>
          <a:xfrm>
            <a:off x="4545789" y="4585423"/>
            <a:ext cx="720000" cy="720000"/>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54" name="TextBox 53">
            <a:extLst>
              <a:ext uri="{FF2B5EF4-FFF2-40B4-BE49-F238E27FC236}">
                <a16:creationId xmlns:a16="http://schemas.microsoft.com/office/drawing/2014/main" id="{36479B83-B5FC-3B5F-4A9C-61A220738776}"/>
              </a:ext>
            </a:extLst>
          </p:cNvPr>
          <p:cNvSpPr txBox="1"/>
          <p:nvPr/>
        </p:nvSpPr>
        <p:spPr>
          <a:xfrm>
            <a:off x="1992655" y="5368228"/>
            <a:ext cx="2926080" cy="5078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1"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a:p>
            <a:pPr marL="171450" marR="0" lvl="0" indent="-171450" algn="r"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p:txBody>
      </p:sp>
      <p:sp>
        <p:nvSpPr>
          <p:cNvPr id="55" name="Oval 54">
            <a:extLst>
              <a:ext uri="{FF2B5EF4-FFF2-40B4-BE49-F238E27FC236}">
                <a16:creationId xmlns:a16="http://schemas.microsoft.com/office/drawing/2014/main" id="{25C95D93-28C9-F700-C9FC-F697EB6F1405}"/>
              </a:ext>
            </a:extLst>
          </p:cNvPr>
          <p:cNvSpPr/>
          <p:nvPr/>
        </p:nvSpPr>
        <p:spPr>
          <a:xfrm>
            <a:off x="8448295" y="3211784"/>
            <a:ext cx="720000" cy="720000"/>
          </a:xfrm>
          <a:prstGeom prst="ellipse">
            <a:avLst/>
          </a:prstGeom>
          <a:solidFill>
            <a:schemeClr val="accent1"/>
          </a:solidFill>
          <a:ln w="6350">
            <a:solidFill>
              <a:srgbClr val="FFB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graphicFrame>
        <p:nvGraphicFramePr>
          <p:cNvPr id="65" name="Chart 64">
            <a:extLst>
              <a:ext uri="{FF2B5EF4-FFF2-40B4-BE49-F238E27FC236}">
                <a16:creationId xmlns:a16="http://schemas.microsoft.com/office/drawing/2014/main" id="{E2DA7A08-1707-C7A7-7B31-45A148E9AF4E}"/>
              </a:ext>
            </a:extLst>
          </p:cNvPr>
          <p:cNvGraphicFramePr/>
          <p:nvPr>
            <p:extLst>
              <p:ext uri="{D42A27DB-BD31-4B8C-83A1-F6EECF244321}">
                <p14:modId xmlns:p14="http://schemas.microsoft.com/office/powerpoint/2010/main" val="99909891"/>
              </p:ext>
            </p:extLst>
          </p:nvPr>
        </p:nvGraphicFramePr>
        <p:xfrm>
          <a:off x="4212408" y="685461"/>
          <a:ext cx="3600000" cy="3600000"/>
        </p:xfrm>
        <a:graphic>
          <a:graphicData uri="http://schemas.openxmlformats.org/drawingml/2006/chart">
            <c:chart xmlns:c="http://schemas.openxmlformats.org/drawingml/2006/chart" xmlns:r="http://schemas.openxmlformats.org/officeDocument/2006/relationships" r:id="rId2"/>
          </a:graphicData>
        </a:graphic>
      </p:graphicFrame>
      <p:sp>
        <p:nvSpPr>
          <p:cNvPr id="33" name="Oval 32">
            <a:extLst>
              <a:ext uri="{FF2B5EF4-FFF2-40B4-BE49-F238E27FC236}">
                <a16:creationId xmlns:a16="http://schemas.microsoft.com/office/drawing/2014/main" id="{579E3757-A8FB-BAB3-53D9-4CAB5EC32B94}"/>
              </a:ext>
            </a:extLst>
          </p:cNvPr>
          <p:cNvSpPr/>
          <p:nvPr/>
        </p:nvSpPr>
        <p:spPr>
          <a:xfrm>
            <a:off x="7737199" y="2461389"/>
            <a:ext cx="144000" cy="144000"/>
          </a:xfrm>
          <a:prstGeom prst="ellipse">
            <a:avLst/>
          </a:prstGeom>
          <a:solidFill>
            <a:schemeClr val="accent1">
              <a:lumMod val="60000"/>
              <a:lumOff val="40000"/>
            </a:schemeClr>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
        <p:nvSpPr>
          <p:cNvPr id="39" name="Rectangle 38">
            <a:extLst>
              <a:ext uri="{FF2B5EF4-FFF2-40B4-BE49-F238E27FC236}">
                <a16:creationId xmlns:a16="http://schemas.microsoft.com/office/drawing/2014/main" id="{2902576E-22D6-E2A8-CDFD-3BD237CFBE5D}"/>
              </a:ext>
            </a:extLst>
          </p:cNvPr>
          <p:cNvSpPr/>
          <p:nvPr/>
        </p:nvSpPr>
        <p:spPr>
          <a:xfrm>
            <a:off x="4480277" y="2149693"/>
            <a:ext cx="425512" cy="6246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82BA"/>
              </a:solidFill>
              <a:effectLst/>
              <a:uLnTx/>
              <a:uFillTx/>
              <a:latin typeface="Ubuntu" panose="020B0504030602030204" pitchFamily="34" charset="0"/>
              <a:ea typeface="+mn-ea"/>
              <a:cs typeface="+mn-cs"/>
            </a:endParaRPr>
          </a:p>
        </p:txBody>
      </p:sp>
      <p:sp>
        <p:nvSpPr>
          <p:cNvPr id="40" name="Rectangle 39">
            <a:extLst>
              <a:ext uri="{FF2B5EF4-FFF2-40B4-BE49-F238E27FC236}">
                <a16:creationId xmlns:a16="http://schemas.microsoft.com/office/drawing/2014/main" id="{D9C729D3-B39B-3F4B-226E-A4793D59A38B}"/>
              </a:ext>
            </a:extLst>
          </p:cNvPr>
          <p:cNvSpPr/>
          <p:nvPr/>
        </p:nvSpPr>
        <p:spPr>
          <a:xfrm>
            <a:off x="7330610" y="2211558"/>
            <a:ext cx="336487" cy="624689"/>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82BA"/>
              </a:solidFill>
              <a:effectLst/>
              <a:uLnTx/>
              <a:uFillTx/>
              <a:latin typeface="Ubuntu" panose="020B0504030602030204" pitchFamily="34" charset="0"/>
              <a:ea typeface="+mn-ea"/>
              <a:cs typeface="+mn-cs"/>
            </a:endParaRPr>
          </a:p>
        </p:txBody>
      </p:sp>
      <p:sp>
        <p:nvSpPr>
          <p:cNvPr id="41" name="TextBox 40">
            <a:extLst>
              <a:ext uri="{FF2B5EF4-FFF2-40B4-BE49-F238E27FC236}">
                <a16:creationId xmlns:a16="http://schemas.microsoft.com/office/drawing/2014/main" id="{F3E0E79B-4851-5782-6E4F-36E5C295BF9C}"/>
              </a:ext>
            </a:extLst>
          </p:cNvPr>
          <p:cNvSpPr txBox="1"/>
          <p:nvPr/>
        </p:nvSpPr>
        <p:spPr>
          <a:xfrm>
            <a:off x="5236383" y="1849609"/>
            <a:ext cx="1736283" cy="307777"/>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Ubuntu" panose="020B0504030602030204" pitchFamily="34" charset="0"/>
                <a:ea typeface="+mn-ea"/>
                <a:cs typeface="+mn-cs"/>
              </a:rPr>
              <a:t>…</a:t>
            </a:r>
          </a:p>
        </p:txBody>
      </p:sp>
      <p:sp>
        <p:nvSpPr>
          <p:cNvPr id="44" name="Oval 43">
            <a:extLst>
              <a:ext uri="{FF2B5EF4-FFF2-40B4-BE49-F238E27FC236}">
                <a16:creationId xmlns:a16="http://schemas.microsoft.com/office/drawing/2014/main" id="{78A2E1EF-7CEA-8156-35F8-661A06129380}"/>
              </a:ext>
            </a:extLst>
          </p:cNvPr>
          <p:cNvSpPr/>
          <p:nvPr/>
        </p:nvSpPr>
        <p:spPr>
          <a:xfrm>
            <a:off x="7601847" y="3022477"/>
            <a:ext cx="216000" cy="216000"/>
          </a:xfrm>
          <a:prstGeom prst="ellipse">
            <a:avLst/>
          </a:prstGeom>
          <a:solidFill>
            <a:schemeClr val="bg1"/>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1916451614"/>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ustom layout 1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ED28E-A6A9-11EE-3854-80D03691F1C2}"/>
              </a:ext>
            </a:extLst>
          </p:cNvPr>
          <p:cNvSpPr>
            <a:spLocks noGrp="1"/>
          </p:cNvSpPr>
          <p:nvPr>
            <p:ph type="title" hasCustomPrompt="1"/>
          </p:nvPr>
        </p:nvSpPr>
        <p:spPr/>
        <p:txBody>
          <a:bodyPr/>
          <a:lstStyle>
            <a:lvl1pPr>
              <a:defRPr/>
            </a:lvl1pPr>
          </a:lstStyle>
          <a:p>
            <a:r>
              <a:rPr lang="nb-NO"/>
              <a:t>(Incl. </a:t>
            </a:r>
            <a:r>
              <a:rPr lang="en-US"/>
              <a:t>SmartArt)</a:t>
            </a:r>
          </a:p>
        </p:txBody>
      </p:sp>
      <p:graphicFrame>
        <p:nvGraphicFramePr>
          <p:cNvPr id="31" name="Diagram 30">
            <a:extLst>
              <a:ext uri="{FF2B5EF4-FFF2-40B4-BE49-F238E27FC236}">
                <a16:creationId xmlns:a16="http://schemas.microsoft.com/office/drawing/2014/main" id="{F56B0C92-EED6-AB6D-7A91-0F52264B486F}"/>
              </a:ext>
            </a:extLst>
          </p:cNvPr>
          <p:cNvGraphicFramePr/>
          <p:nvPr>
            <p:extLst>
              <p:ext uri="{D42A27DB-BD31-4B8C-83A1-F6EECF244321}">
                <p14:modId xmlns:p14="http://schemas.microsoft.com/office/powerpoint/2010/main" val="1650231885"/>
              </p:ext>
            </p:extLst>
          </p:nvPr>
        </p:nvGraphicFramePr>
        <p:xfrm>
          <a:off x="4636493" y="2286000"/>
          <a:ext cx="3979990" cy="28261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2" name="Diagram 31">
            <a:extLst>
              <a:ext uri="{FF2B5EF4-FFF2-40B4-BE49-F238E27FC236}">
                <a16:creationId xmlns:a16="http://schemas.microsoft.com/office/drawing/2014/main" id="{F5D94ABF-13B9-06BA-2E55-0AB9ABE4F173}"/>
              </a:ext>
            </a:extLst>
          </p:cNvPr>
          <p:cNvGraphicFramePr/>
          <p:nvPr>
            <p:extLst>
              <p:ext uri="{D42A27DB-BD31-4B8C-83A1-F6EECF244321}">
                <p14:modId xmlns:p14="http://schemas.microsoft.com/office/powerpoint/2010/main" val="3821304747"/>
              </p:ext>
            </p:extLst>
          </p:nvPr>
        </p:nvGraphicFramePr>
        <p:xfrm>
          <a:off x="7100789" y="2286000"/>
          <a:ext cx="5491259" cy="29997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3" name="Group 2">
            <a:extLst>
              <a:ext uri="{FF2B5EF4-FFF2-40B4-BE49-F238E27FC236}">
                <a16:creationId xmlns:a16="http://schemas.microsoft.com/office/drawing/2014/main" id="{EA2017F0-4213-BFCE-77BA-1D4D708C5657}"/>
              </a:ext>
            </a:extLst>
          </p:cNvPr>
          <p:cNvGrpSpPr/>
          <p:nvPr/>
        </p:nvGrpSpPr>
        <p:grpSpPr>
          <a:xfrm>
            <a:off x="526050" y="1481086"/>
            <a:ext cx="4320000" cy="4320000"/>
            <a:chOff x="3822636" y="1481086"/>
            <a:chExt cx="4320000" cy="4320000"/>
          </a:xfrm>
        </p:grpSpPr>
        <p:sp>
          <p:nvSpPr>
            <p:cNvPr id="4" name="Oval 3">
              <a:extLst>
                <a:ext uri="{FF2B5EF4-FFF2-40B4-BE49-F238E27FC236}">
                  <a16:creationId xmlns:a16="http://schemas.microsoft.com/office/drawing/2014/main" id="{CA072BF0-9F78-F61C-DBE6-FE8D137DE48F}"/>
                </a:ext>
              </a:extLst>
            </p:cNvPr>
            <p:cNvSpPr/>
            <p:nvPr/>
          </p:nvSpPr>
          <p:spPr>
            <a:xfrm>
              <a:off x="5262130" y="4358453"/>
              <a:ext cx="1441013" cy="1442633"/>
            </a:xfrm>
            <a:prstGeom prst="ellipse">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2">
                      <a:lumMod val="75000"/>
                    </a:schemeClr>
                  </a:solidFill>
                  <a:latin typeface="Ubuntu" panose="020B0504030602030204" pitchFamily="34" charset="0"/>
                </a:rPr>
                <a:t>…</a:t>
              </a:r>
            </a:p>
          </p:txBody>
        </p:sp>
        <p:sp>
          <p:nvSpPr>
            <p:cNvPr id="5" name="Oval 4">
              <a:extLst>
                <a:ext uri="{FF2B5EF4-FFF2-40B4-BE49-F238E27FC236}">
                  <a16:creationId xmlns:a16="http://schemas.microsoft.com/office/drawing/2014/main" id="{4F362C48-C91D-ED39-A954-24EF0ADCA6B2}"/>
                </a:ext>
              </a:extLst>
            </p:cNvPr>
            <p:cNvSpPr/>
            <p:nvPr/>
          </p:nvSpPr>
          <p:spPr>
            <a:xfrm>
              <a:off x="5262130" y="1481086"/>
              <a:ext cx="1441013" cy="1442633"/>
            </a:xfrm>
            <a:prstGeom prst="ellipse">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2">
                      <a:lumMod val="75000"/>
                    </a:schemeClr>
                  </a:solidFill>
                  <a:latin typeface="Ubuntu" panose="020B0504030602030204" pitchFamily="34" charset="0"/>
                </a:rPr>
                <a:t>…</a:t>
              </a:r>
            </a:p>
          </p:txBody>
        </p:sp>
        <p:sp>
          <p:nvSpPr>
            <p:cNvPr id="6" name="Oval 5">
              <a:extLst>
                <a:ext uri="{FF2B5EF4-FFF2-40B4-BE49-F238E27FC236}">
                  <a16:creationId xmlns:a16="http://schemas.microsoft.com/office/drawing/2014/main" id="{4A303120-D216-A996-C915-273F98FBDCE6}"/>
                </a:ext>
              </a:extLst>
            </p:cNvPr>
            <p:cNvSpPr/>
            <p:nvPr/>
          </p:nvSpPr>
          <p:spPr>
            <a:xfrm>
              <a:off x="3822636" y="2919770"/>
              <a:ext cx="1441013" cy="1442633"/>
            </a:xfrm>
            <a:prstGeom prst="ellipse">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2">
                      <a:lumMod val="75000"/>
                    </a:schemeClr>
                  </a:solidFill>
                  <a:latin typeface="Ubuntu" panose="020B0504030602030204" pitchFamily="34" charset="0"/>
                </a:rPr>
                <a:t>…</a:t>
              </a:r>
            </a:p>
          </p:txBody>
        </p:sp>
        <p:sp>
          <p:nvSpPr>
            <p:cNvPr id="7" name="Oval 6">
              <a:extLst>
                <a:ext uri="{FF2B5EF4-FFF2-40B4-BE49-F238E27FC236}">
                  <a16:creationId xmlns:a16="http://schemas.microsoft.com/office/drawing/2014/main" id="{DD8178F7-28F8-BB26-78CA-ECFBBA792FBE}"/>
                </a:ext>
              </a:extLst>
            </p:cNvPr>
            <p:cNvSpPr/>
            <p:nvPr/>
          </p:nvSpPr>
          <p:spPr>
            <a:xfrm>
              <a:off x="6701623" y="2919770"/>
              <a:ext cx="1441013" cy="1442633"/>
            </a:xfrm>
            <a:prstGeom prst="ellipse">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2">
                      <a:lumMod val="75000"/>
                    </a:schemeClr>
                  </a:solidFill>
                  <a:latin typeface="Ubuntu" panose="020B0504030602030204" pitchFamily="34" charset="0"/>
                </a:rPr>
                <a:t>…</a:t>
              </a:r>
            </a:p>
          </p:txBody>
        </p:sp>
        <p:sp>
          <p:nvSpPr>
            <p:cNvPr id="8" name="Oval 7">
              <a:extLst>
                <a:ext uri="{FF2B5EF4-FFF2-40B4-BE49-F238E27FC236}">
                  <a16:creationId xmlns:a16="http://schemas.microsoft.com/office/drawing/2014/main" id="{DABF6A2A-4E21-EC97-79DB-BC105C0A592F}"/>
                </a:ext>
              </a:extLst>
            </p:cNvPr>
            <p:cNvSpPr/>
            <p:nvPr/>
          </p:nvSpPr>
          <p:spPr>
            <a:xfrm>
              <a:off x="5110823" y="2768293"/>
              <a:ext cx="1743626" cy="1745586"/>
            </a:xfrm>
            <a:prstGeom prst="ellipse">
              <a:avLst/>
            </a:prstGeom>
            <a:solidFill>
              <a:schemeClr val="tx2"/>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prstClr val="white"/>
                  </a:solidFill>
                  <a:latin typeface="Ubuntu" panose="020B0504030602030204" pitchFamily="34" charset="0"/>
                </a:rPr>
                <a:t>…</a:t>
              </a:r>
            </a:p>
          </p:txBody>
        </p:sp>
      </p:grpSp>
    </p:spTree>
    <p:extLst>
      <p:ext uri="{BB962C8B-B14F-4D97-AF65-F5344CB8AC3E}">
        <p14:creationId xmlns:p14="http://schemas.microsoft.com/office/powerpoint/2010/main" val="1455982257"/>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ustom layout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791A4-5C33-B7DB-D1E5-9EF1EE324C41}"/>
              </a:ext>
            </a:extLst>
          </p:cNvPr>
          <p:cNvSpPr>
            <a:spLocks noGrp="1"/>
          </p:cNvSpPr>
          <p:nvPr>
            <p:ph type="title"/>
          </p:nvPr>
        </p:nvSpPr>
        <p:spPr/>
        <p:txBody>
          <a:bodyPr/>
          <a:lstStyle/>
          <a:p>
            <a:r>
              <a:rPr lang="en-US"/>
              <a:t>Click to edit Master title style</a:t>
            </a:r>
          </a:p>
        </p:txBody>
      </p:sp>
      <p:cxnSp>
        <p:nvCxnSpPr>
          <p:cNvPr id="3" name="Connector: Curved 2">
            <a:extLst>
              <a:ext uri="{FF2B5EF4-FFF2-40B4-BE49-F238E27FC236}">
                <a16:creationId xmlns:a16="http://schemas.microsoft.com/office/drawing/2014/main" id="{15D017F9-ADFF-2DDF-1EA8-375EEF2EC47F}"/>
              </a:ext>
            </a:extLst>
          </p:cNvPr>
          <p:cNvCxnSpPr>
            <a:cxnSpLocks/>
          </p:cNvCxnSpPr>
          <p:nvPr/>
        </p:nvCxnSpPr>
        <p:spPr>
          <a:xfrm>
            <a:off x="3732524" y="3583242"/>
            <a:ext cx="2663026" cy="1814100"/>
          </a:xfrm>
          <a:prstGeom prst="curvedConnector3">
            <a:avLst>
              <a:gd name="adj1" fmla="val 50000"/>
            </a:avLst>
          </a:prstGeom>
          <a:ln w="508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 name="Connector: Curved 3">
            <a:extLst>
              <a:ext uri="{FF2B5EF4-FFF2-40B4-BE49-F238E27FC236}">
                <a16:creationId xmlns:a16="http://schemas.microsoft.com/office/drawing/2014/main" id="{F9257A56-5D50-6DEB-70B7-44A08E3E9E83}"/>
              </a:ext>
            </a:extLst>
          </p:cNvPr>
          <p:cNvCxnSpPr>
            <a:cxnSpLocks/>
            <a:endCxn id="6" idx="2"/>
          </p:cNvCxnSpPr>
          <p:nvPr/>
        </p:nvCxnSpPr>
        <p:spPr>
          <a:xfrm flipV="1">
            <a:off x="3732525" y="1599350"/>
            <a:ext cx="2673003" cy="1974994"/>
          </a:xfrm>
          <a:prstGeom prst="curvedConnector3">
            <a:avLst>
              <a:gd name="adj1" fmla="val 50000"/>
            </a:avLst>
          </a:prstGeom>
          <a:ln w="508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3387A840-C467-7DA0-68A7-9FB64C091103}"/>
              </a:ext>
            </a:extLst>
          </p:cNvPr>
          <p:cNvSpPr/>
          <p:nvPr/>
        </p:nvSpPr>
        <p:spPr>
          <a:xfrm>
            <a:off x="6405528" y="4973850"/>
            <a:ext cx="864000" cy="864000"/>
          </a:xfrm>
          <a:prstGeom prst="ellipse">
            <a:avLst/>
          </a:prstGeom>
          <a:solidFill>
            <a:srgbClr val="BCC6DB"/>
          </a:solidFill>
          <a:ln w="412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sz="1000" b="0" i="0" u="none" strike="noStrike" cap="none" spc="0" normalizeH="0" baseline="0" noProof="0">
              <a:ln>
                <a:noFill/>
              </a:ln>
              <a:solidFill>
                <a:srgbClr val="67AACB"/>
              </a:solidFill>
              <a:effectLst/>
              <a:uLnTx/>
              <a:uFillTx/>
              <a:latin typeface="Ubuntu" panose="020B0504030602030204" pitchFamily="34" charset="0"/>
            </a:endParaRPr>
          </a:p>
        </p:txBody>
      </p:sp>
      <p:sp>
        <p:nvSpPr>
          <p:cNvPr id="6" name="Oval 5">
            <a:extLst>
              <a:ext uri="{FF2B5EF4-FFF2-40B4-BE49-F238E27FC236}">
                <a16:creationId xmlns:a16="http://schemas.microsoft.com/office/drawing/2014/main" id="{EB0170DF-1BF9-2DDE-BB41-04176F5D44AF}"/>
              </a:ext>
            </a:extLst>
          </p:cNvPr>
          <p:cNvSpPr/>
          <p:nvPr/>
        </p:nvSpPr>
        <p:spPr>
          <a:xfrm>
            <a:off x="6405528" y="1167350"/>
            <a:ext cx="864000" cy="864000"/>
          </a:xfrm>
          <a:prstGeom prst="ellipse">
            <a:avLst/>
          </a:prstGeom>
          <a:solidFill>
            <a:srgbClr val="BCC6DB"/>
          </a:solidFill>
          <a:ln w="412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7" name="Oval 6">
            <a:extLst>
              <a:ext uri="{FF2B5EF4-FFF2-40B4-BE49-F238E27FC236}">
                <a16:creationId xmlns:a16="http://schemas.microsoft.com/office/drawing/2014/main" id="{76C933C2-3B28-4BA0-D178-85BC1742A538}"/>
              </a:ext>
            </a:extLst>
          </p:cNvPr>
          <p:cNvSpPr/>
          <p:nvPr/>
        </p:nvSpPr>
        <p:spPr>
          <a:xfrm>
            <a:off x="6405528" y="3705016"/>
            <a:ext cx="864000" cy="864000"/>
          </a:xfrm>
          <a:prstGeom prst="ellipse">
            <a:avLst/>
          </a:prstGeom>
          <a:solidFill>
            <a:srgbClr val="BCC6DB"/>
          </a:solidFill>
          <a:ln w="412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67AACB"/>
              </a:solidFill>
              <a:effectLst/>
              <a:uLnTx/>
              <a:uFillTx/>
              <a:latin typeface="Ubuntu" panose="020B0504030602030204" pitchFamily="34" charset="0"/>
              <a:ea typeface="+mn-ea"/>
              <a:cs typeface="+mn-cs"/>
            </a:endParaRPr>
          </a:p>
        </p:txBody>
      </p:sp>
      <p:cxnSp>
        <p:nvCxnSpPr>
          <p:cNvPr id="8" name="Connector: Curved 7">
            <a:extLst>
              <a:ext uri="{FF2B5EF4-FFF2-40B4-BE49-F238E27FC236}">
                <a16:creationId xmlns:a16="http://schemas.microsoft.com/office/drawing/2014/main" id="{A5A0ED01-A6F5-C940-08F3-01D9605C7334}"/>
              </a:ext>
            </a:extLst>
          </p:cNvPr>
          <p:cNvCxnSpPr>
            <a:cxnSpLocks/>
          </p:cNvCxnSpPr>
          <p:nvPr/>
        </p:nvCxnSpPr>
        <p:spPr>
          <a:xfrm flipV="1">
            <a:off x="3742908" y="2868183"/>
            <a:ext cx="2662620" cy="706161"/>
          </a:xfrm>
          <a:prstGeom prst="curvedConnector3">
            <a:avLst>
              <a:gd name="adj1" fmla="val 50000"/>
            </a:avLst>
          </a:prstGeom>
          <a:ln w="508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 name="Connector: Curved 8">
            <a:extLst>
              <a:ext uri="{FF2B5EF4-FFF2-40B4-BE49-F238E27FC236}">
                <a16:creationId xmlns:a16="http://schemas.microsoft.com/office/drawing/2014/main" id="{5B890E8C-5005-3FB5-FD33-720EBF8ED4F6}"/>
              </a:ext>
            </a:extLst>
          </p:cNvPr>
          <p:cNvCxnSpPr>
            <a:cxnSpLocks/>
            <a:endCxn id="7" idx="2"/>
          </p:cNvCxnSpPr>
          <p:nvPr/>
        </p:nvCxnSpPr>
        <p:spPr>
          <a:xfrm>
            <a:off x="3738231" y="3564823"/>
            <a:ext cx="2667297" cy="572193"/>
          </a:xfrm>
          <a:prstGeom prst="curvedConnector3">
            <a:avLst>
              <a:gd name="adj1" fmla="val 50000"/>
            </a:avLst>
          </a:prstGeom>
          <a:ln w="508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2834D1E1-0E8E-0016-875B-908654BBA4BD}"/>
              </a:ext>
            </a:extLst>
          </p:cNvPr>
          <p:cNvSpPr/>
          <p:nvPr/>
        </p:nvSpPr>
        <p:spPr>
          <a:xfrm>
            <a:off x="6405528" y="2436183"/>
            <a:ext cx="864000" cy="864000"/>
          </a:xfrm>
          <a:prstGeom prst="ellipse">
            <a:avLst/>
          </a:prstGeom>
          <a:solidFill>
            <a:srgbClr val="BCC6DB"/>
          </a:solidFill>
          <a:ln w="412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20" name="Rectangle 19">
            <a:extLst>
              <a:ext uri="{FF2B5EF4-FFF2-40B4-BE49-F238E27FC236}">
                <a16:creationId xmlns:a16="http://schemas.microsoft.com/office/drawing/2014/main" id="{8F403CA4-B004-819A-2CA2-746CC7B4CEC9}"/>
              </a:ext>
            </a:extLst>
          </p:cNvPr>
          <p:cNvSpPr/>
          <p:nvPr/>
        </p:nvSpPr>
        <p:spPr>
          <a:xfrm>
            <a:off x="7338540" y="1167350"/>
            <a:ext cx="4212230" cy="84459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lumMod val="75000"/>
                    <a:lumOff val="25000"/>
                  </a:prstClr>
                </a:solidFill>
                <a:effectLst/>
                <a:uLnTx/>
                <a:uFillTx/>
                <a:latin typeface="Ubuntu" panose="020B0504030602030204" pitchFamily="34" charset="0"/>
                <a:ea typeface="+mn-ea"/>
                <a:cs typeface="Arial" panose="020B0604020202020204" pitchFamily="34" charset="0"/>
              </a:rPr>
              <a:t>…</a:t>
            </a:r>
          </a:p>
        </p:txBody>
      </p:sp>
      <p:sp>
        <p:nvSpPr>
          <p:cNvPr id="22" name="Rectangle 21">
            <a:extLst>
              <a:ext uri="{FF2B5EF4-FFF2-40B4-BE49-F238E27FC236}">
                <a16:creationId xmlns:a16="http://schemas.microsoft.com/office/drawing/2014/main" id="{F62CBA01-E086-66D0-153E-C2AF8069D271}"/>
              </a:ext>
            </a:extLst>
          </p:cNvPr>
          <p:cNvSpPr/>
          <p:nvPr/>
        </p:nvSpPr>
        <p:spPr>
          <a:xfrm>
            <a:off x="7338540" y="2436183"/>
            <a:ext cx="4212230" cy="84459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lumMod val="75000"/>
                    <a:lumOff val="25000"/>
                  </a:prstClr>
                </a:solidFill>
                <a:effectLst/>
                <a:uLnTx/>
                <a:uFillTx/>
                <a:latin typeface="Ubuntu" panose="020B0504030602030204" pitchFamily="34" charset="0"/>
                <a:ea typeface="+mn-ea"/>
                <a:cs typeface="Arial" panose="020B0604020202020204" pitchFamily="34" charset="0"/>
              </a:rPr>
              <a:t>…</a:t>
            </a:r>
          </a:p>
        </p:txBody>
      </p:sp>
      <p:sp>
        <p:nvSpPr>
          <p:cNvPr id="23" name="Rectangle 22">
            <a:extLst>
              <a:ext uri="{FF2B5EF4-FFF2-40B4-BE49-F238E27FC236}">
                <a16:creationId xmlns:a16="http://schemas.microsoft.com/office/drawing/2014/main" id="{44978DA1-C6D5-9E78-497D-1C577644F37E}"/>
              </a:ext>
            </a:extLst>
          </p:cNvPr>
          <p:cNvSpPr/>
          <p:nvPr/>
        </p:nvSpPr>
        <p:spPr>
          <a:xfrm>
            <a:off x="7338540" y="3705016"/>
            <a:ext cx="4212230" cy="84459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lumMod val="75000"/>
                    <a:lumOff val="25000"/>
                  </a:prstClr>
                </a:solidFill>
                <a:effectLst/>
                <a:uLnTx/>
                <a:uFillTx/>
                <a:latin typeface="Ubuntu" panose="020B0504030602030204" pitchFamily="34" charset="0"/>
                <a:ea typeface="+mn-ea"/>
                <a:cs typeface="Arial" panose="020B0604020202020204" pitchFamily="34" charset="0"/>
              </a:rPr>
              <a:t>…</a:t>
            </a:r>
          </a:p>
        </p:txBody>
      </p:sp>
      <p:sp>
        <p:nvSpPr>
          <p:cNvPr id="24" name="Rectangle 23">
            <a:extLst>
              <a:ext uri="{FF2B5EF4-FFF2-40B4-BE49-F238E27FC236}">
                <a16:creationId xmlns:a16="http://schemas.microsoft.com/office/drawing/2014/main" id="{8F817909-F942-5BDA-C15A-C9DB1BCDA43D}"/>
              </a:ext>
            </a:extLst>
          </p:cNvPr>
          <p:cNvSpPr/>
          <p:nvPr/>
        </p:nvSpPr>
        <p:spPr>
          <a:xfrm>
            <a:off x="7338540" y="4973850"/>
            <a:ext cx="4212230" cy="84459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lumMod val="75000"/>
                    <a:lumOff val="25000"/>
                  </a:prstClr>
                </a:solidFill>
                <a:effectLst/>
                <a:uLnTx/>
                <a:uFillTx/>
                <a:latin typeface="Ubuntu" panose="020B0504030602030204" pitchFamily="34" charset="0"/>
                <a:ea typeface="+mn-ea"/>
                <a:cs typeface="Arial" panose="020B0604020202020204" pitchFamily="34" charset="0"/>
              </a:rPr>
              <a:t>…</a:t>
            </a:r>
          </a:p>
        </p:txBody>
      </p:sp>
      <p:sp>
        <p:nvSpPr>
          <p:cNvPr id="25" name="Oval 24">
            <a:extLst>
              <a:ext uri="{FF2B5EF4-FFF2-40B4-BE49-F238E27FC236}">
                <a16:creationId xmlns:a16="http://schemas.microsoft.com/office/drawing/2014/main" id="{D6E51AFD-48B6-AD8F-E2D3-8A7AA33281FB}"/>
              </a:ext>
            </a:extLst>
          </p:cNvPr>
          <p:cNvSpPr/>
          <p:nvPr/>
        </p:nvSpPr>
        <p:spPr>
          <a:xfrm>
            <a:off x="741871" y="2599636"/>
            <a:ext cx="2985461" cy="1930374"/>
          </a:xfrm>
          <a:prstGeom prst="ellipse">
            <a:avLst/>
          </a:prstGeom>
          <a:solidFill>
            <a:srgbClr val="BCC6DB"/>
          </a:solidFill>
          <a:ln w="412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67AACB"/>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2520566311"/>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ustom layout 1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9AF948-D9B8-2C0C-681B-156F862987EE}"/>
              </a:ext>
            </a:extLst>
          </p:cNvPr>
          <p:cNvSpPr>
            <a:spLocks noGrp="1"/>
          </p:cNvSpPr>
          <p:nvPr>
            <p:ph type="title"/>
          </p:nvPr>
        </p:nvSpPr>
        <p:spPr/>
        <p:txBody>
          <a:bodyPr/>
          <a:lstStyle/>
          <a:p>
            <a:r>
              <a:rPr lang="en-US"/>
              <a:t>Click to edit Master title style</a:t>
            </a:r>
          </a:p>
        </p:txBody>
      </p:sp>
      <p:graphicFrame>
        <p:nvGraphicFramePr>
          <p:cNvPr id="4" name="Chart 3">
            <a:extLst>
              <a:ext uri="{FF2B5EF4-FFF2-40B4-BE49-F238E27FC236}">
                <a16:creationId xmlns:a16="http://schemas.microsoft.com/office/drawing/2014/main" id="{AC48EAC0-D3F5-22DE-1626-E03DAB4EB984}"/>
              </a:ext>
            </a:extLst>
          </p:cNvPr>
          <p:cNvGraphicFramePr>
            <a:graphicFrameLocks noChangeAspect="1"/>
          </p:cNvGraphicFramePr>
          <p:nvPr>
            <p:extLst>
              <p:ext uri="{D42A27DB-BD31-4B8C-83A1-F6EECF244321}">
                <p14:modId xmlns:p14="http://schemas.microsoft.com/office/powerpoint/2010/main" val="3334115244"/>
              </p:ext>
            </p:extLst>
          </p:nvPr>
        </p:nvGraphicFramePr>
        <p:xfrm>
          <a:off x="4220373" y="1591473"/>
          <a:ext cx="3751255" cy="375125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D4671846-84B6-2E90-9687-DF5C4AA6B7C2}"/>
              </a:ext>
            </a:extLst>
          </p:cNvPr>
          <p:cNvGraphicFramePr>
            <a:graphicFrameLocks noChangeAspect="1"/>
          </p:cNvGraphicFramePr>
          <p:nvPr>
            <p:extLst>
              <p:ext uri="{D42A27DB-BD31-4B8C-83A1-F6EECF244321}">
                <p14:modId xmlns:p14="http://schemas.microsoft.com/office/powerpoint/2010/main" val="2177559962"/>
              </p:ext>
            </p:extLst>
          </p:nvPr>
        </p:nvGraphicFramePr>
        <p:xfrm>
          <a:off x="4309130" y="1680231"/>
          <a:ext cx="3573738" cy="35737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D57CA9B2-7E3D-3456-4E87-CA2151240271}"/>
              </a:ext>
            </a:extLst>
          </p:cNvPr>
          <p:cNvGraphicFramePr>
            <a:graphicFrameLocks noChangeAspect="1"/>
          </p:cNvGraphicFramePr>
          <p:nvPr>
            <p:extLst>
              <p:ext uri="{D42A27DB-BD31-4B8C-83A1-F6EECF244321}">
                <p14:modId xmlns:p14="http://schemas.microsoft.com/office/powerpoint/2010/main" val="852252697"/>
              </p:ext>
            </p:extLst>
          </p:nvPr>
        </p:nvGraphicFramePr>
        <p:xfrm>
          <a:off x="5040403" y="2411503"/>
          <a:ext cx="2111195" cy="2111195"/>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a:extLst>
              <a:ext uri="{FF2B5EF4-FFF2-40B4-BE49-F238E27FC236}">
                <a16:creationId xmlns:a16="http://schemas.microsoft.com/office/drawing/2014/main" id="{A9C3D52B-DC84-805F-48D9-2B6A781831F9}"/>
              </a:ext>
            </a:extLst>
          </p:cNvPr>
          <p:cNvSpPr/>
          <p:nvPr/>
        </p:nvSpPr>
        <p:spPr>
          <a:xfrm rot="2700000">
            <a:off x="4624810" y="2491851"/>
            <a:ext cx="1235523" cy="24363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0000"/>
              </a:solidFill>
              <a:latin typeface="Ubuntu" panose="020B0504030602030204" pitchFamily="34" charset="0"/>
            </a:endParaRPr>
          </a:p>
        </p:txBody>
      </p:sp>
      <p:sp>
        <p:nvSpPr>
          <p:cNvPr id="8" name="Rectangle 7">
            <a:extLst>
              <a:ext uri="{FF2B5EF4-FFF2-40B4-BE49-F238E27FC236}">
                <a16:creationId xmlns:a16="http://schemas.microsoft.com/office/drawing/2014/main" id="{8EA72541-36AB-B0C8-2ACB-3CCD23A06825}"/>
              </a:ext>
            </a:extLst>
          </p:cNvPr>
          <p:cNvSpPr/>
          <p:nvPr/>
        </p:nvSpPr>
        <p:spPr>
          <a:xfrm rot="2700000">
            <a:off x="6331668" y="4198711"/>
            <a:ext cx="1235523" cy="24363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0000"/>
              </a:solidFill>
              <a:latin typeface="Ubuntu" panose="020B0504030602030204" pitchFamily="34" charset="0"/>
            </a:endParaRPr>
          </a:p>
        </p:txBody>
      </p:sp>
      <p:sp>
        <p:nvSpPr>
          <p:cNvPr id="9" name="Rectangle 8">
            <a:extLst>
              <a:ext uri="{FF2B5EF4-FFF2-40B4-BE49-F238E27FC236}">
                <a16:creationId xmlns:a16="http://schemas.microsoft.com/office/drawing/2014/main" id="{6BF7544B-6109-F68B-9894-87FB4C73D852}"/>
              </a:ext>
            </a:extLst>
          </p:cNvPr>
          <p:cNvSpPr/>
          <p:nvPr/>
        </p:nvSpPr>
        <p:spPr>
          <a:xfrm rot="8100000">
            <a:off x="6331668" y="2518748"/>
            <a:ext cx="1235523" cy="24363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0000"/>
              </a:solidFill>
              <a:latin typeface="Ubuntu" panose="020B0504030602030204" pitchFamily="34" charset="0"/>
            </a:endParaRPr>
          </a:p>
        </p:txBody>
      </p:sp>
      <p:sp>
        <p:nvSpPr>
          <p:cNvPr id="10" name="Rectangle 9">
            <a:extLst>
              <a:ext uri="{FF2B5EF4-FFF2-40B4-BE49-F238E27FC236}">
                <a16:creationId xmlns:a16="http://schemas.microsoft.com/office/drawing/2014/main" id="{C9356EC2-C401-A9AF-4A5D-45728E9C4783}"/>
              </a:ext>
            </a:extLst>
          </p:cNvPr>
          <p:cNvSpPr/>
          <p:nvPr/>
        </p:nvSpPr>
        <p:spPr>
          <a:xfrm rot="8100000">
            <a:off x="4624810" y="4154312"/>
            <a:ext cx="1235523" cy="24363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0000"/>
              </a:solidFill>
              <a:latin typeface="Ubuntu" panose="020B0504030602030204" pitchFamily="34" charset="0"/>
            </a:endParaRPr>
          </a:p>
        </p:txBody>
      </p:sp>
      <p:sp>
        <p:nvSpPr>
          <p:cNvPr id="11" name="TextBox 10">
            <a:extLst>
              <a:ext uri="{FF2B5EF4-FFF2-40B4-BE49-F238E27FC236}">
                <a16:creationId xmlns:a16="http://schemas.microsoft.com/office/drawing/2014/main" id="{C563771D-F987-DDAC-F560-C7A7435AD4CB}"/>
              </a:ext>
            </a:extLst>
          </p:cNvPr>
          <p:cNvSpPr txBox="1"/>
          <p:nvPr/>
        </p:nvSpPr>
        <p:spPr>
          <a:xfrm>
            <a:off x="5938721" y="2482700"/>
            <a:ext cx="307432" cy="369332"/>
          </a:xfrm>
          <a:prstGeom prst="rect">
            <a:avLst/>
          </a:prstGeom>
          <a:noFill/>
        </p:spPr>
        <p:txBody>
          <a:bodyPr wrap="square" rtlCol="0">
            <a:spAutoFit/>
          </a:bodyPr>
          <a:lstStyle/>
          <a:p>
            <a:r>
              <a:rPr lang="en-US" b="1">
                <a:solidFill>
                  <a:prstClr val="white"/>
                </a:solidFill>
                <a:latin typeface="Ubuntu" panose="020B0504030602030204" pitchFamily="34" charset="0"/>
              </a:rPr>
              <a:t>1</a:t>
            </a:r>
          </a:p>
        </p:txBody>
      </p:sp>
      <p:sp>
        <p:nvSpPr>
          <p:cNvPr id="12" name="TextBox 11">
            <a:extLst>
              <a:ext uri="{FF2B5EF4-FFF2-40B4-BE49-F238E27FC236}">
                <a16:creationId xmlns:a16="http://schemas.microsoft.com/office/drawing/2014/main" id="{EA9CD38C-4BC0-9189-765C-239B3ABCE594}"/>
              </a:ext>
            </a:extLst>
          </p:cNvPr>
          <p:cNvSpPr txBox="1"/>
          <p:nvPr/>
        </p:nvSpPr>
        <p:spPr>
          <a:xfrm>
            <a:off x="6727393" y="3281115"/>
            <a:ext cx="304699" cy="369332"/>
          </a:xfrm>
          <a:prstGeom prst="rect">
            <a:avLst/>
          </a:prstGeom>
          <a:noFill/>
        </p:spPr>
        <p:txBody>
          <a:bodyPr wrap="square" rtlCol="0">
            <a:spAutoFit/>
          </a:bodyPr>
          <a:lstStyle/>
          <a:p>
            <a:r>
              <a:rPr lang="en-US" b="1">
                <a:solidFill>
                  <a:prstClr val="white"/>
                </a:solidFill>
                <a:latin typeface="Ubuntu" panose="020B0504030602030204" pitchFamily="34" charset="0"/>
              </a:rPr>
              <a:t>2</a:t>
            </a:r>
          </a:p>
        </p:txBody>
      </p:sp>
      <p:sp>
        <p:nvSpPr>
          <p:cNvPr id="13" name="TextBox 12">
            <a:extLst>
              <a:ext uri="{FF2B5EF4-FFF2-40B4-BE49-F238E27FC236}">
                <a16:creationId xmlns:a16="http://schemas.microsoft.com/office/drawing/2014/main" id="{2745AB7A-D9AE-1B2D-7063-4AB40F98FAD6}"/>
              </a:ext>
            </a:extLst>
          </p:cNvPr>
          <p:cNvSpPr txBox="1"/>
          <p:nvPr/>
        </p:nvSpPr>
        <p:spPr>
          <a:xfrm>
            <a:off x="5953633" y="4074116"/>
            <a:ext cx="304699" cy="369332"/>
          </a:xfrm>
          <a:prstGeom prst="rect">
            <a:avLst/>
          </a:prstGeom>
          <a:noFill/>
        </p:spPr>
        <p:txBody>
          <a:bodyPr wrap="square" rtlCol="0">
            <a:spAutoFit/>
          </a:bodyPr>
          <a:lstStyle/>
          <a:p>
            <a:r>
              <a:rPr lang="en-US" b="1">
                <a:solidFill>
                  <a:prstClr val="white"/>
                </a:solidFill>
                <a:latin typeface="Ubuntu" panose="020B0504030602030204" pitchFamily="34" charset="0"/>
              </a:rPr>
              <a:t>3</a:t>
            </a:r>
          </a:p>
        </p:txBody>
      </p:sp>
      <p:sp>
        <p:nvSpPr>
          <p:cNvPr id="14" name="TextBox 13">
            <a:extLst>
              <a:ext uri="{FF2B5EF4-FFF2-40B4-BE49-F238E27FC236}">
                <a16:creationId xmlns:a16="http://schemas.microsoft.com/office/drawing/2014/main" id="{0EE8DBD7-140F-1EB6-1E4B-FFE8369EA297}"/>
              </a:ext>
            </a:extLst>
          </p:cNvPr>
          <p:cNvSpPr txBox="1"/>
          <p:nvPr/>
        </p:nvSpPr>
        <p:spPr>
          <a:xfrm>
            <a:off x="5154763" y="3278020"/>
            <a:ext cx="304699" cy="369332"/>
          </a:xfrm>
          <a:prstGeom prst="rect">
            <a:avLst/>
          </a:prstGeom>
          <a:noFill/>
        </p:spPr>
        <p:txBody>
          <a:bodyPr wrap="square" rtlCol="0">
            <a:spAutoFit/>
          </a:bodyPr>
          <a:lstStyle/>
          <a:p>
            <a:r>
              <a:rPr lang="en-US" b="1">
                <a:solidFill>
                  <a:prstClr val="white"/>
                </a:solidFill>
                <a:latin typeface="Ubuntu" panose="020B0504030602030204" pitchFamily="34" charset="0"/>
              </a:rPr>
              <a:t>4</a:t>
            </a:r>
          </a:p>
        </p:txBody>
      </p:sp>
      <p:sp>
        <p:nvSpPr>
          <p:cNvPr id="16" name="TextBox 15">
            <a:extLst>
              <a:ext uri="{FF2B5EF4-FFF2-40B4-BE49-F238E27FC236}">
                <a16:creationId xmlns:a16="http://schemas.microsoft.com/office/drawing/2014/main" id="{40AFA380-E1F7-D32E-B69D-76E2387C0709}"/>
              </a:ext>
            </a:extLst>
          </p:cNvPr>
          <p:cNvSpPr txBox="1"/>
          <p:nvPr/>
        </p:nvSpPr>
        <p:spPr>
          <a:xfrm>
            <a:off x="7985559" y="3182749"/>
            <a:ext cx="2773731" cy="492443"/>
          </a:xfrm>
          <a:prstGeom prst="rect">
            <a:avLst/>
          </a:prstGeom>
          <a:noFill/>
        </p:spPr>
        <p:txBody>
          <a:bodyPr wrap="square" rtlCol="0">
            <a:spAutoFit/>
          </a:bodyPr>
          <a:lstStyle/>
          <a:p>
            <a:r>
              <a:rPr lang="en-US" sz="1400" b="1">
                <a:solidFill>
                  <a:schemeClr val="tx2"/>
                </a:solidFill>
                <a:latin typeface="Ubuntu" panose="020B0504030602030204" pitchFamily="34" charset="0"/>
              </a:rPr>
              <a:t>…</a:t>
            </a:r>
            <a:br>
              <a:rPr lang="en-US" sz="1600" b="1">
                <a:solidFill>
                  <a:schemeClr val="tx1"/>
                </a:solidFill>
                <a:latin typeface="Ubuntu" panose="020B0504030602030204" pitchFamily="34" charset="0"/>
              </a:rPr>
            </a:br>
            <a:r>
              <a:rPr lang="en-US" sz="1200" b="1">
                <a:solidFill>
                  <a:schemeClr val="tx1"/>
                </a:solidFill>
                <a:latin typeface="Ubuntu" panose="020B0504030602030204" pitchFamily="34" charset="0"/>
              </a:rPr>
              <a:t>…</a:t>
            </a:r>
          </a:p>
        </p:txBody>
      </p:sp>
      <p:sp>
        <p:nvSpPr>
          <p:cNvPr id="23" name="TextBox 22">
            <a:extLst>
              <a:ext uri="{FF2B5EF4-FFF2-40B4-BE49-F238E27FC236}">
                <a16:creationId xmlns:a16="http://schemas.microsoft.com/office/drawing/2014/main" id="{85BBDE4A-0424-C8D7-8050-FBB318AB8C42}"/>
              </a:ext>
            </a:extLst>
          </p:cNvPr>
          <p:cNvSpPr txBox="1"/>
          <p:nvPr/>
        </p:nvSpPr>
        <p:spPr>
          <a:xfrm>
            <a:off x="1449316" y="3191221"/>
            <a:ext cx="2773731" cy="492443"/>
          </a:xfrm>
          <a:prstGeom prst="rect">
            <a:avLst/>
          </a:prstGeom>
          <a:noFill/>
        </p:spPr>
        <p:txBody>
          <a:bodyPr wrap="square" rtlCol="0">
            <a:spAutoFit/>
          </a:bodyPr>
          <a:lstStyle/>
          <a:p>
            <a:r>
              <a:rPr lang="en-US" sz="1400" b="1">
                <a:solidFill>
                  <a:schemeClr val="tx2"/>
                </a:solidFill>
                <a:latin typeface="Ubuntu" panose="020B0504030602030204" pitchFamily="34" charset="0"/>
              </a:rPr>
              <a:t>…</a:t>
            </a:r>
            <a:br>
              <a:rPr lang="en-US" sz="1600" b="1">
                <a:solidFill>
                  <a:schemeClr val="tx1"/>
                </a:solidFill>
                <a:latin typeface="Ubuntu" panose="020B0504030602030204" pitchFamily="34" charset="0"/>
              </a:rPr>
            </a:br>
            <a:r>
              <a:rPr lang="en-US" sz="1200" b="1">
                <a:solidFill>
                  <a:schemeClr val="tx1"/>
                </a:solidFill>
                <a:latin typeface="Ubuntu" panose="020B0504030602030204" pitchFamily="34" charset="0"/>
              </a:rPr>
              <a:t>…</a:t>
            </a:r>
          </a:p>
        </p:txBody>
      </p:sp>
      <p:sp>
        <p:nvSpPr>
          <p:cNvPr id="24" name="TextBox 23">
            <a:extLst>
              <a:ext uri="{FF2B5EF4-FFF2-40B4-BE49-F238E27FC236}">
                <a16:creationId xmlns:a16="http://schemas.microsoft.com/office/drawing/2014/main" id="{0560FB9A-8325-3C06-2BFA-6BC94031456B}"/>
              </a:ext>
            </a:extLst>
          </p:cNvPr>
          <p:cNvSpPr txBox="1"/>
          <p:nvPr/>
        </p:nvSpPr>
        <p:spPr>
          <a:xfrm>
            <a:off x="4711605" y="1134874"/>
            <a:ext cx="2773731" cy="492443"/>
          </a:xfrm>
          <a:prstGeom prst="rect">
            <a:avLst/>
          </a:prstGeom>
          <a:noFill/>
        </p:spPr>
        <p:txBody>
          <a:bodyPr wrap="square" rtlCol="0">
            <a:spAutoFit/>
          </a:bodyPr>
          <a:lstStyle/>
          <a:p>
            <a:r>
              <a:rPr lang="en-US" sz="1400" b="1">
                <a:solidFill>
                  <a:schemeClr val="tx2">
                    <a:lumMod val="60000"/>
                    <a:lumOff val="40000"/>
                  </a:schemeClr>
                </a:solidFill>
                <a:latin typeface="Ubuntu" panose="020B0504030602030204" pitchFamily="34" charset="0"/>
              </a:rPr>
              <a:t>…</a:t>
            </a:r>
            <a:br>
              <a:rPr lang="en-US" sz="1600" b="1">
                <a:solidFill>
                  <a:schemeClr val="tx1"/>
                </a:solidFill>
                <a:latin typeface="Ubuntu" panose="020B0504030602030204" pitchFamily="34" charset="0"/>
              </a:rPr>
            </a:br>
            <a:r>
              <a:rPr lang="en-US" sz="1200" b="1">
                <a:solidFill>
                  <a:schemeClr val="tx1"/>
                </a:solidFill>
                <a:latin typeface="Ubuntu" panose="020B0504030602030204" pitchFamily="34" charset="0"/>
              </a:rPr>
              <a:t>…</a:t>
            </a:r>
          </a:p>
        </p:txBody>
      </p:sp>
      <p:sp>
        <p:nvSpPr>
          <p:cNvPr id="25" name="TextBox 24">
            <a:extLst>
              <a:ext uri="{FF2B5EF4-FFF2-40B4-BE49-F238E27FC236}">
                <a16:creationId xmlns:a16="http://schemas.microsoft.com/office/drawing/2014/main" id="{68CC6ED4-1B62-7A55-E02B-25CEEEA7A8D3}"/>
              </a:ext>
            </a:extLst>
          </p:cNvPr>
          <p:cNvSpPr txBox="1"/>
          <p:nvPr/>
        </p:nvSpPr>
        <p:spPr>
          <a:xfrm>
            <a:off x="4711605" y="5287456"/>
            <a:ext cx="2773731" cy="492443"/>
          </a:xfrm>
          <a:prstGeom prst="rect">
            <a:avLst/>
          </a:prstGeom>
          <a:noFill/>
        </p:spPr>
        <p:txBody>
          <a:bodyPr wrap="square" rtlCol="0">
            <a:spAutoFit/>
          </a:bodyPr>
          <a:lstStyle/>
          <a:p>
            <a:r>
              <a:rPr lang="en-US" sz="1400" b="1">
                <a:solidFill>
                  <a:schemeClr val="tx2">
                    <a:lumMod val="60000"/>
                    <a:lumOff val="40000"/>
                  </a:schemeClr>
                </a:solidFill>
                <a:latin typeface="Ubuntu" panose="020B0504030602030204" pitchFamily="34" charset="0"/>
              </a:rPr>
              <a:t>…</a:t>
            </a:r>
            <a:br>
              <a:rPr lang="en-US" sz="1600" b="1">
                <a:solidFill>
                  <a:schemeClr val="tx1"/>
                </a:solidFill>
                <a:latin typeface="Ubuntu" panose="020B0504030602030204" pitchFamily="34" charset="0"/>
              </a:rPr>
            </a:br>
            <a:r>
              <a:rPr lang="en-US" sz="1200" b="1">
                <a:solidFill>
                  <a:schemeClr val="tx1"/>
                </a:solidFill>
                <a:latin typeface="Ubuntu" panose="020B0504030602030204" pitchFamily="34" charset="0"/>
              </a:rPr>
              <a:t>…</a:t>
            </a:r>
          </a:p>
        </p:txBody>
      </p:sp>
    </p:spTree>
    <p:extLst>
      <p:ext uri="{BB962C8B-B14F-4D97-AF65-F5344CB8AC3E}">
        <p14:creationId xmlns:p14="http://schemas.microsoft.com/office/powerpoint/2010/main" val="222498978"/>
      </p:ext>
    </p:extLst>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ustom layout 18">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29E4F544-3936-E74F-FA65-FA528FB513F1}"/>
              </a:ext>
            </a:extLst>
          </p:cNvPr>
          <p:cNvSpPr/>
          <p:nvPr/>
        </p:nvSpPr>
        <p:spPr>
          <a:xfrm rot="1775193">
            <a:off x="1512510" y="3891655"/>
            <a:ext cx="3408024" cy="243538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0000"/>
              </a:solidFill>
              <a:latin typeface="Ubuntu" panose="020B0504030602030204" pitchFamily="34" charset="0"/>
            </a:endParaRPr>
          </a:p>
        </p:txBody>
      </p:sp>
      <p:sp>
        <p:nvSpPr>
          <p:cNvPr id="2" name="Title 1">
            <a:extLst>
              <a:ext uri="{FF2B5EF4-FFF2-40B4-BE49-F238E27FC236}">
                <a16:creationId xmlns:a16="http://schemas.microsoft.com/office/drawing/2014/main" id="{45198CCA-2E31-3418-4C14-CFFA65CAFCFC}"/>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0DB1583C-2140-5C1E-95B1-80E1D71848BC}"/>
              </a:ext>
            </a:extLst>
          </p:cNvPr>
          <p:cNvGrpSpPr/>
          <p:nvPr/>
        </p:nvGrpSpPr>
        <p:grpSpPr>
          <a:xfrm>
            <a:off x="1688675" y="2256122"/>
            <a:ext cx="8814650" cy="4301593"/>
            <a:chOff x="1505473" y="1936561"/>
            <a:chExt cx="8814650" cy="4301593"/>
          </a:xfrm>
        </p:grpSpPr>
        <p:sp>
          <p:nvSpPr>
            <p:cNvPr id="18" name="Oval 17">
              <a:extLst>
                <a:ext uri="{FF2B5EF4-FFF2-40B4-BE49-F238E27FC236}">
                  <a16:creationId xmlns:a16="http://schemas.microsoft.com/office/drawing/2014/main" id="{60BCBFB3-B6C5-F922-92CD-4FFC08988281}"/>
                </a:ext>
              </a:extLst>
            </p:cNvPr>
            <p:cNvSpPr/>
            <p:nvPr/>
          </p:nvSpPr>
          <p:spPr>
            <a:xfrm>
              <a:off x="8313345" y="1936561"/>
              <a:ext cx="2006778" cy="2018923"/>
            </a:xfrm>
            <a:prstGeom prst="ellipse">
              <a:avLst/>
            </a:prstGeom>
            <a:solidFill>
              <a:schemeClr val="bg1"/>
            </a:solidFill>
            <a:ln w="508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0000"/>
                </a:solidFill>
                <a:latin typeface="Ubuntu" panose="020B0504030602030204" pitchFamily="34" charset="0"/>
              </a:endParaRPr>
            </a:p>
          </p:txBody>
        </p:sp>
        <p:grpSp>
          <p:nvGrpSpPr>
            <p:cNvPr id="29" name="Group 28">
              <a:extLst>
                <a:ext uri="{FF2B5EF4-FFF2-40B4-BE49-F238E27FC236}">
                  <a16:creationId xmlns:a16="http://schemas.microsoft.com/office/drawing/2014/main" id="{D4B2DD87-BA3F-25C3-9E5E-C0DAA7B9601A}"/>
                </a:ext>
              </a:extLst>
            </p:cNvPr>
            <p:cNvGrpSpPr/>
            <p:nvPr/>
          </p:nvGrpSpPr>
          <p:grpSpPr>
            <a:xfrm>
              <a:off x="1505473" y="2924269"/>
              <a:ext cx="6599642" cy="3313885"/>
              <a:chOff x="1505473" y="2924269"/>
              <a:chExt cx="6599642" cy="3313885"/>
            </a:xfrm>
          </p:grpSpPr>
          <p:cxnSp>
            <p:nvCxnSpPr>
              <p:cNvPr id="16" name="Connector: Curved 15">
                <a:extLst>
                  <a:ext uri="{FF2B5EF4-FFF2-40B4-BE49-F238E27FC236}">
                    <a16:creationId xmlns:a16="http://schemas.microsoft.com/office/drawing/2014/main" id="{820BC5F5-0E83-0EC2-FDD7-7546D34B4452}"/>
                  </a:ext>
                </a:extLst>
              </p:cNvPr>
              <p:cNvCxnSpPr>
                <a:cxnSpLocks/>
              </p:cNvCxnSpPr>
              <p:nvPr/>
            </p:nvCxnSpPr>
            <p:spPr>
              <a:xfrm flipV="1">
                <a:off x="4800601" y="2924269"/>
                <a:ext cx="3304514" cy="2213574"/>
              </a:xfrm>
              <a:prstGeom prst="curvedConnector3">
                <a:avLst>
                  <a:gd name="adj1" fmla="val -90822"/>
                </a:avLst>
              </a:prstGeom>
              <a:ln w="266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F9A11E0E-996B-307C-8D3C-702C0D6CDF86}"/>
                  </a:ext>
                </a:extLst>
              </p:cNvPr>
              <p:cNvSpPr/>
              <p:nvPr/>
            </p:nvSpPr>
            <p:spPr>
              <a:xfrm rot="1775193">
                <a:off x="1505473" y="3802772"/>
                <a:ext cx="3662068" cy="243538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0000"/>
                  </a:solidFill>
                  <a:latin typeface="Ubuntu" panose="020B0504030602030204" pitchFamily="34" charset="0"/>
                </a:endParaRPr>
              </a:p>
            </p:txBody>
          </p:sp>
        </p:grpSp>
        <p:sp>
          <p:nvSpPr>
            <p:cNvPr id="20" name="Oval 19">
              <a:extLst>
                <a:ext uri="{FF2B5EF4-FFF2-40B4-BE49-F238E27FC236}">
                  <a16:creationId xmlns:a16="http://schemas.microsoft.com/office/drawing/2014/main" id="{2946E075-3619-B27C-DC3B-A48CD1E1BFFB}"/>
                </a:ext>
              </a:extLst>
            </p:cNvPr>
            <p:cNvSpPr/>
            <p:nvPr/>
          </p:nvSpPr>
          <p:spPr>
            <a:xfrm>
              <a:off x="4832286" y="2507807"/>
              <a:ext cx="1080000" cy="10800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0000"/>
                </a:solidFill>
                <a:latin typeface="Ubuntu" panose="020B0504030602030204" pitchFamily="34" charset="0"/>
              </a:endParaRPr>
            </a:p>
          </p:txBody>
        </p:sp>
        <p:sp>
          <p:nvSpPr>
            <p:cNvPr id="17" name="Oval 16">
              <a:extLst>
                <a:ext uri="{FF2B5EF4-FFF2-40B4-BE49-F238E27FC236}">
                  <a16:creationId xmlns:a16="http://schemas.microsoft.com/office/drawing/2014/main" id="{FCCE2159-C4E9-3F6B-7242-252F23FA6640}"/>
                </a:ext>
              </a:extLst>
            </p:cNvPr>
            <p:cNvSpPr/>
            <p:nvPr/>
          </p:nvSpPr>
          <p:spPr>
            <a:xfrm>
              <a:off x="2432436" y="2862401"/>
              <a:ext cx="1080000" cy="10800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0000"/>
                </a:solidFill>
                <a:latin typeface="Ubuntu" panose="020B0504030602030204" pitchFamily="34" charset="0"/>
              </a:endParaRPr>
            </a:p>
          </p:txBody>
        </p:sp>
        <p:sp>
          <p:nvSpPr>
            <p:cNvPr id="19" name="TextBox 18">
              <a:extLst>
                <a:ext uri="{FF2B5EF4-FFF2-40B4-BE49-F238E27FC236}">
                  <a16:creationId xmlns:a16="http://schemas.microsoft.com/office/drawing/2014/main" id="{01B25A53-8CF5-4E8E-EA49-580446A63395}"/>
                </a:ext>
              </a:extLst>
            </p:cNvPr>
            <p:cNvSpPr txBox="1"/>
            <p:nvPr/>
          </p:nvSpPr>
          <p:spPr>
            <a:xfrm>
              <a:off x="8361593" y="2770885"/>
              <a:ext cx="1910282" cy="338554"/>
            </a:xfrm>
            <a:prstGeom prst="rect">
              <a:avLst/>
            </a:prstGeom>
            <a:noFill/>
          </p:spPr>
          <p:txBody>
            <a:bodyPr wrap="square" rtlCol="0">
              <a:spAutoFit/>
            </a:bodyPr>
            <a:lstStyle/>
            <a:p>
              <a:pPr algn="ctr"/>
              <a:r>
                <a:rPr lang="en-US" sz="1600" b="1">
                  <a:solidFill>
                    <a:schemeClr val="tx2"/>
                  </a:solidFill>
                  <a:latin typeface="Ubuntu" panose="020B0504030602030204" pitchFamily="34" charset="0"/>
                </a:rPr>
                <a:t>…</a:t>
              </a:r>
            </a:p>
          </p:txBody>
        </p:sp>
        <p:sp>
          <p:nvSpPr>
            <p:cNvPr id="21" name="Oval 20">
              <a:extLst>
                <a:ext uri="{FF2B5EF4-FFF2-40B4-BE49-F238E27FC236}">
                  <a16:creationId xmlns:a16="http://schemas.microsoft.com/office/drawing/2014/main" id="{BC475255-8812-81A5-7A6A-663BADE01151}"/>
                </a:ext>
              </a:extLst>
            </p:cNvPr>
            <p:cNvSpPr/>
            <p:nvPr/>
          </p:nvSpPr>
          <p:spPr>
            <a:xfrm rot="19849012">
              <a:off x="1589580" y="3800825"/>
              <a:ext cx="911393" cy="407406"/>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0000"/>
                </a:solidFill>
                <a:latin typeface="Ubuntu" panose="020B0504030602030204" pitchFamily="34" charset="0"/>
              </a:endParaRPr>
            </a:p>
          </p:txBody>
        </p:sp>
        <p:sp>
          <p:nvSpPr>
            <p:cNvPr id="27" name="TextBox 26">
              <a:extLst>
                <a:ext uri="{FF2B5EF4-FFF2-40B4-BE49-F238E27FC236}">
                  <a16:creationId xmlns:a16="http://schemas.microsoft.com/office/drawing/2014/main" id="{205A2705-2231-343E-716E-C2590D4224B1}"/>
                </a:ext>
              </a:extLst>
            </p:cNvPr>
            <p:cNvSpPr txBox="1"/>
            <p:nvPr/>
          </p:nvSpPr>
          <p:spPr>
            <a:xfrm>
              <a:off x="4113495" y="3630225"/>
              <a:ext cx="2520000" cy="461665"/>
            </a:xfrm>
            <a:prstGeom prst="rect">
              <a:avLst/>
            </a:prstGeom>
            <a:noFill/>
          </p:spPr>
          <p:txBody>
            <a:bodyPr wrap="square" rtlCol="0">
              <a:spAutoFit/>
            </a:bodyPr>
            <a:lstStyle/>
            <a:p>
              <a:pPr algn="ctr"/>
              <a:r>
                <a:rPr lang="en-US" sz="1200" b="1" i="0">
                  <a:solidFill>
                    <a:schemeClr val="tx2"/>
                  </a:solidFill>
                  <a:latin typeface="Ubuntu" panose="020B0504030602030204" pitchFamily="34" charset="0"/>
                </a:rPr>
                <a:t>…</a:t>
              </a:r>
              <a:br>
                <a:rPr lang="en-US" sz="1200" i="0">
                  <a:solidFill>
                    <a:schemeClr val="tx2"/>
                  </a:solidFill>
                  <a:latin typeface="Ubuntu" panose="020B0504030602030204" pitchFamily="34" charset="0"/>
                </a:rPr>
              </a:br>
              <a:r>
                <a:rPr lang="en-US" sz="1200" i="0">
                  <a:solidFill>
                    <a:schemeClr val="tx2"/>
                  </a:solidFill>
                  <a:latin typeface="Ubuntu" panose="020B0504030602030204" pitchFamily="34" charset="0"/>
                </a:rPr>
                <a:t>…</a:t>
              </a:r>
            </a:p>
          </p:txBody>
        </p:sp>
        <p:sp>
          <p:nvSpPr>
            <p:cNvPr id="26" name="TextBox 25">
              <a:extLst>
                <a:ext uri="{FF2B5EF4-FFF2-40B4-BE49-F238E27FC236}">
                  <a16:creationId xmlns:a16="http://schemas.microsoft.com/office/drawing/2014/main" id="{52CD0357-E74A-DEE9-7BB8-52DEB736A68E}"/>
                </a:ext>
              </a:extLst>
            </p:cNvPr>
            <p:cNvSpPr txBox="1"/>
            <p:nvPr/>
          </p:nvSpPr>
          <p:spPr>
            <a:xfrm>
              <a:off x="1712436" y="4031056"/>
              <a:ext cx="2520000" cy="461665"/>
            </a:xfrm>
            <a:prstGeom prst="rect">
              <a:avLst/>
            </a:prstGeom>
            <a:noFill/>
          </p:spPr>
          <p:txBody>
            <a:bodyPr wrap="square" rtlCol="0">
              <a:spAutoFit/>
            </a:bodyPr>
            <a:lstStyle/>
            <a:p>
              <a:pPr algn="ctr"/>
              <a:r>
                <a:rPr lang="en-US" sz="1200" b="1" i="0">
                  <a:solidFill>
                    <a:schemeClr val="tx2"/>
                  </a:solidFill>
                  <a:latin typeface="Ubuntu" panose="020B0504030602030204" pitchFamily="34" charset="0"/>
                </a:rPr>
                <a:t>…</a:t>
              </a:r>
              <a:br>
                <a:rPr lang="en-US" sz="1200" i="0">
                  <a:solidFill>
                    <a:schemeClr val="tx2"/>
                  </a:solidFill>
                  <a:latin typeface="Ubuntu" panose="020B0504030602030204" pitchFamily="34" charset="0"/>
                </a:rPr>
              </a:br>
              <a:r>
                <a:rPr lang="en-US" sz="1200" i="0">
                  <a:solidFill>
                    <a:schemeClr val="tx2"/>
                  </a:solidFill>
                  <a:latin typeface="Ubuntu" panose="020B0504030602030204" pitchFamily="34" charset="0"/>
                </a:rPr>
                <a:t>…</a:t>
              </a:r>
            </a:p>
          </p:txBody>
        </p:sp>
      </p:grpSp>
    </p:spTree>
    <p:extLst>
      <p:ext uri="{BB962C8B-B14F-4D97-AF65-F5344CB8AC3E}">
        <p14:creationId xmlns:p14="http://schemas.microsoft.com/office/powerpoint/2010/main" val="3850877595"/>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ustom layout 19">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D2B5BD-12D2-1AD1-55E3-D8F8BB78DBE6}"/>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CDD8696E-6575-2A1C-81EB-E1DB351A26AC}"/>
              </a:ext>
            </a:extLst>
          </p:cNvPr>
          <p:cNvSpPr/>
          <p:nvPr/>
        </p:nvSpPr>
        <p:spPr bwMode="auto">
          <a:xfrm>
            <a:off x="3353353" y="1201562"/>
            <a:ext cx="5627327" cy="4762776"/>
          </a:xfrm>
          <a:prstGeom prst="rect">
            <a:avLst/>
          </a:prstGeom>
          <a:noFill/>
          <a:ln w="12700">
            <a:noFill/>
            <a:round/>
            <a:headEnd/>
            <a:tailEnd/>
          </a:ln>
          <a:effectLst/>
        </p:spPr>
        <p:txBody>
          <a:bodyPr wrap="square" lIns="27432" tIns="18288" rIns="0" bIns="18288"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23438"/>
              </a:solidFill>
              <a:effectLst/>
              <a:uLnTx/>
              <a:uFillTx/>
              <a:latin typeface="Ubuntu" panose="020B0504030602030204" pitchFamily="34" charset="0"/>
              <a:ea typeface="+mn-ea"/>
              <a:cs typeface="Arial" pitchFamily="34" charset="0"/>
            </a:endParaRPr>
          </a:p>
        </p:txBody>
      </p:sp>
      <p:sp>
        <p:nvSpPr>
          <p:cNvPr id="6" name="Rectangle: Rounded Corners 5">
            <a:extLst>
              <a:ext uri="{FF2B5EF4-FFF2-40B4-BE49-F238E27FC236}">
                <a16:creationId xmlns:a16="http://schemas.microsoft.com/office/drawing/2014/main" id="{F15A5FE4-E14C-CB14-CB0B-C118D167C9E2}"/>
              </a:ext>
            </a:extLst>
          </p:cNvPr>
          <p:cNvSpPr/>
          <p:nvPr/>
        </p:nvSpPr>
        <p:spPr>
          <a:xfrm>
            <a:off x="6892626" y="1530398"/>
            <a:ext cx="2729821" cy="1502628"/>
          </a:xfrm>
          <a:prstGeom prst="roundRect">
            <a:avLst>
              <a:gd name="adj" fmla="val 906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lumMod val="75000"/>
                    <a:lumOff val="25000"/>
                  </a:schemeClr>
                </a:solidFill>
                <a:effectLst/>
                <a:uLnTx/>
                <a:uFillTx/>
                <a:latin typeface="Ubuntu" panose="020B0504030602030204" pitchFamily="34" charset="0"/>
                <a:ea typeface="+mn-ea"/>
                <a:cs typeface="+mn-cs"/>
              </a:rPr>
              <a:t>…</a:t>
            </a:r>
          </a:p>
          <a:p>
            <a:pPr marL="7200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lumMod val="75000"/>
                    <a:lumOff val="25000"/>
                  </a:schemeClr>
                </a:solidFill>
                <a:effectLst/>
                <a:uLnTx/>
                <a:uFillTx/>
                <a:latin typeface="Ubuntu" panose="020B0504030602030204" pitchFamily="34" charset="0"/>
                <a:ea typeface="+mn-ea"/>
                <a:cs typeface="+mn-cs"/>
              </a:rPr>
              <a:t>…</a:t>
            </a:r>
          </a:p>
          <a:p>
            <a:pPr marL="7200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lumMod val="75000"/>
                    <a:lumOff val="25000"/>
                  </a:schemeClr>
                </a:solidFill>
                <a:effectLst/>
                <a:uLnTx/>
                <a:uFillTx/>
                <a:latin typeface="Ubuntu" panose="020B0504030602030204" pitchFamily="34" charset="0"/>
                <a:ea typeface="+mn-ea"/>
                <a:cs typeface="+mn-cs"/>
              </a:rPr>
              <a:t>…</a:t>
            </a:r>
            <a:endParaRPr kumimoji="0" lang="en-US" sz="1000" b="0" i="0" u="none" strike="noStrike" kern="1200" cap="none" spc="0" normalizeH="0" baseline="0" noProof="0">
              <a:ln>
                <a:noFill/>
              </a:ln>
              <a:solidFill>
                <a:schemeClr val="tx1">
                  <a:lumMod val="75000"/>
                  <a:lumOff val="25000"/>
                </a:schemeClr>
              </a:solidFill>
              <a:effectLst/>
              <a:uLnTx/>
              <a:uFillTx/>
              <a:latin typeface="Ubuntu" panose="020B0504030602030204" pitchFamily="34" charset="0"/>
              <a:ea typeface="+mn-ea"/>
              <a:cs typeface="+mn-cs"/>
            </a:endParaRPr>
          </a:p>
        </p:txBody>
      </p:sp>
      <p:sp>
        <p:nvSpPr>
          <p:cNvPr id="8" name="Rectangle 7">
            <a:extLst>
              <a:ext uri="{FF2B5EF4-FFF2-40B4-BE49-F238E27FC236}">
                <a16:creationId xmlns:a16="http://schemas.microsoft.com/office/drawing/2014/main" id="{AFB286B1-E543-BCAE-300A-298D563AFEBB}"/>
              </a:ext>
            </a:extLst>
          </p:cNvPr>
          <p:cNvSpPr/>
          <p:nvPr/>
        </p:nvSpPr>
        <p:spPr bwMode="auto">
          <a:xfrm>
            <a:off x="3317463" y="1201562"/>
            <a:ext cx="5627327" cy="4762776"/>
          </a:xfrm>
          <a:prstGeom prst="rect">
            <a:avLst/>
          </a:prstGeom>
          <a:noFill/>
          <a:ln w="12700">
            <a:noFill/>
            <a:round/>
            <a:headEnd/>
            <a:tailEnd/>
          </a:ln>
          <a:effectLst/>
        </p:spPr>
        <p:txBody>
          <a:bodyPr wrap="square" lIns="27432" tIns="18288" rIns="0" bIns="18288"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23438"/>
              </a:solidFill>
              <a:effectLst/>
              <a:uLnTx/>
              <a:uFillTx/>
              <a:latin typeface="Ubuntu" panose="020B0504030602030204" pitchFamily="34" charset="0"/>
              <a:ea typeface="+mn-ea"/>
              <a:cs typeface="Arial" pitchFamily="34" charset="0"/>
            </a:endParaRPr>
          </a:p>
        </p:txBody>
      </p:sp>
      <p:graphicFrame>
        <p:nvGraphicFramePr>
          <p:cNvPr id="9" name="Chart 8">
            <a:extLst>
              <a:ext uri="{FF2B5EF4-FFF2-40B4-BE49-F238E27FC236}">
                <a16:creationId xmlns:a16="http://schemas.microsoft.com/office/drawing/2014/main" id="{B78B8494-D412-EA0B-0A19-EFA8EAFC48B2}"/>
              </a:ext>
            </a:extLst>
          </p:cNvPr>
          <p:cNvGraphicFramePr/>
          <p:nvPr>
            <p:extLst>
              <p:ext uri="{D42A27DB-BD31-4B8C-83A1-F6EECF244321}">
                <p14:modId xmlns:p14="http://schemas.microsoft.com/office/powerpoint/2010/main" val="3756844731"/>
              </p:ext>
            </p:extLst>
          </p:nvPr>
        </p:nvGraphicFramePr>
        <p:xfrm>
          <a:off x="4987143" y="1890324"/>
          <a:ext cx="2220010" cy="3649203"/>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339D068E-5E6A-26E3-FCFC-4028E0C644B5}"/>
              </a:ext>
            </a:extLst>
          </p:cNvPr>
          <p:cNvSpPr txBox="1"/>
          <p:nvPr/>
        </p:nvSpPr>
        <p:spPr>
          <a:xfrm>
            <a:off x="5712270" y="3497641"/>
            <a:ext cx="753129" cy="252377"/>
          </a:xfrm>
          <a:prstGeom prst="rect">
            <a:avLst/>
          </a:prstGeom>
          <a:noFill/>
        </p:spPr>
        <p:txBody>
          <a:bodyPr wrap="square" lIns="27432" tIns="18288" rIns="0" bIns="18288"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lumMod val="50000"/>
                    <a:lumOff val="50000"/>
                  </a:schemeClr>
                </a:solidFill>
                <a:effectLst/>
                <a:uLnTx/>
                <a:uFillTx/>
                <a:latin typeface="Ubuntu" panose="020B0504030602030204" pitchFamily="34" charset="0"/>
                <a:ea typeface="+mn-ea"/>
                <a:cs typeface="+mn-cs"/>
              </a:rPr>
              <a:t>…</a:t>
            </a:r>
          </a:p>
        </p:txBody>
      </p:sp>
      <p:sp>
        <p:nvSpPr>
          <p:cNvPr id="19" name="Rectangle: Rounded Corners 18">
            <a:extLst>
              <a:ext uri="{FF2B5EF4-FFF2-40B4-BE49-F238E27FC236}">
                <a16:creationId xmlns:a16="http://schemas.microsoft.com/office/drawing/2014/main" id="{44140BCA-52B2-6823-2693-1A2B8D843D75}"/>
              </a:ext>
            </a:extLst>
          </p:cNvPr>
          <p:cNvSpPr/>
          <p:nvPr/>
        </p:nvSpPr>
        <p:spPr>
          <a:xfrm>
            <a:off x="2587773" y="1299492"/>
            <a:ext cx="2729821" cy="1502628"/>
          </a:xfrm>
          <a:prstGeom prst="roundRect">
            <a:avLst>
              <a:gd name="adj" fmla="val 9060"/>
            </a:avLst>
          </a:prstGeom>
          <a:solidFill>
            <a:srgbClr val="F3B6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tx1">
                    <a:lumMod val="75000"/>
                    <a:lumOff val="25000"/>
                  </a:schemeClr>
                </a:solidFill>
                <a:effectLst/>
                <a:uLnTx/>
                <a:uFillTx/>
                <a:latin typeface="Ubuntu" panose="020B0504030602030204" pitchFamily="34" charset="0"/>
                <a:ea typeface="+mn-ea"/>
                <a:cs typeface="+mn-cs"/>
              </a:rPr>
              <a:t>…</a:t>
            </a:r>
          </a:p>
          <a:p>
            <a:pPr marL="7200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lumMod val="75000"/>
                    <a:lumOff val="25000"/>
                  </a:schemeClr>
                </a:solidFill>
                <a:effectLst/>
                <a:uLnTx/>
                <a:uFillTx/>
                <a:latin typeface="Ubuntu" panose="020B0504030602030204" pitchFamily="34" charset="0"/>
                <a:ea typeface="+mn-ea"/>
                <a:cs typeface="+mn-cs"/>
              </a:rPr>
              <a:t>…</a:t>
            </a:r>
          </a:p>
          <a:p>
            <a:pPr marL="7200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lumMod val="75000"/>
                    <a:lumOff val="25000"/>
                  </a:schemeClr>
                </a:solidFill>
                <a:effectLst/>
                <a:uLnTx/>
                <a:uFillTx/>
                <a:latin typeface="Ubuntu" panose="020B0504030602030204" pitchFamily="34" charset="0"/>
                <a:ea typeface="+mn-ea"/>
                <a:cs typeface="+mn-cs"/>
              </a:rPr>
              <a:t>…</a:t>
            </a:r>
            <a:endParaRPr kumimoji="0" lang="en-US" sz="1000" b="0" i="0" u="none" strike="noStrike" kern="1200" cap="none" spc="0" normalizeH="0" baseline="0" noProof="0">
              <a:ln>
                <a:noFill/>
              </a:ln>
              <a:solidFill>
                <a:schemeClr val="tx1">
                  <a:lumMod val="75000"/>
                  <a:lumOff val="25000"/>
                </a:schemeClr>
              </a:solidFill>
              <a:effectLst/>
              <a:uLnTx/>
              <a:uFillTx/>
              <a:latin typeface="Ubuntu" panose="020B0504030602030204" pitchFamily="34" charset="0"/>
              <a:ea typeface="+mn-ea"/>
              <a:cs typeface="+mn-cs"/>
            </a:endParaRPr>
          </a:p>
        </p:txBody>
      </p:sp>
      <p:sp>
        <p:nvSpPr>
          <p:cNvPr id="20" name="Rectangle: Rounded Corners 19">
            <a:extLst>
              <a:ext uri="{FF2B5EF4-FFF2-40B4-BE49-F238E27FC236}">
                <a16:creationId xmlns:a16="http://schemas.microsoft.com/office/drawing/2014/main" id="{0678C230-5978-3AD4-9E09-B4694C1E4F16}"/>
              </a:ext>
            </a:extLst>
          </p:cNvPr>
          <p:cNvSpPr/>
          <p:nvPr/>
        </p:nvSpPr>
        <p:spPr>
          <a:xfrm>
            <a:off x="2329155" y="4057756"/>
            <a:ext cx="2729821" cy="1502628"/>
          </a:xfrm>
          <a:prstGeom prst="roundRect">
            <a:avLst>
              <a:gd name="adj" fmla="val 9060"/>
            </a:avLst>
          </a:prstGeom>
          <a:solidFill>
            <a:srgbClr val="44546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Ubuntu" panose="020B0504030602030204" pitchFamily="34" charset="0"/>
                <a:ea typeface="+mn-ea"/>
                <a:cs typeface="+mn-cs"/>
              </a:rPr>
              <a:t>…</a:t>
            </a:r>
          </a:p>
          <a:p>
            <a:pPr marL="7200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bg1"/>
                </a:solidFill>
                <a:effectLst/>
                <a:uLnTx/>
                <a:uFillTx/>
                <a:latin typeface="Ubuntu" panose="020B0504030602030204" pitchFamily="34" charset="0"/>
                <a:ea typeface="+mn-ea"/>
                <a:cs typeface="+mn-cs"/>
              </a:rPr>
              <a:t>…</a:t>
            </a:r>
          </a:p>
          <a:p>
            <a:pPr marL="7200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bg1"/>
                </a:solidFill>
                <a:effectLst/>
                <a:uLnTx/>
                <a:uFillTx/>
                <a:latin typeface="Ubuntu" panose="020B0504030602030204" pitchFamily="34" charset="0"/>
                <a:ea typeface="+mn-ea"/>
                <a:cs typeface="+mn-cs"/>
              </a:rPr>
              <a:t>…</a:t>
            </a:r>
            <a:endParaRPr kumimoji="0" lang="en-US" sz="1000" b="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
        <p:nvSpPr>
          <p:cNvPr id="21" name="Rectangle: Rounded Corners 20">
            <a:extLst>
              <a:ext uri="{FF2B5EF4-FFF2-40B4-BE49-F238E27FC236}">
                <a16:creationId xmlns:a16="http://schemas.microsoft.com/office/drawing/2014/main" id="{3A773BD9-CE6C-F064-6FAA-C1DDBCE85BA4}"/>
              </a:ext>
            </a:extLst>
          </p:cNvPr>
          <p:cNvSpPr/>
          <p:nvPr/>
        </p:nvSpPr>
        <p:spPr>
          <a:xfrm>
            <a:off x="6985246" y="4344080"/>
            <a:ext cx="2729821" cy="1502628"/>
          </a:xfrm>
          <a:prstGeom prst="roundRect">
            <a:avLst>
              <a:gd name="adj" fmla="val 9060"/>
            </a:avLst>
          </a:prstGeom>
          <a:solidFill>
            <a:srgbClr val="04193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Ubuntu" panose="020B0504030602030204" pitchFamily="34" charset="0"/>
                <a:ea typeface="+mn-ea"/>
                <a:cs typeface="+mn-cs"/>
              </a:rPr>
              <a:t>…</a:t>
            </a:r>
          </a:p>
          <a:p>
            <a:pPr marL="7200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bg1"/>
                </a:solidFill>
                <a:effectLst/>
                <a:uLnTx/>
                <a:uFillTx/>
                <a:latin typeface="Ubuntu" panose="020B0504030602030204" pitchFamily="34" charset="0"/>
                <a:ea typeface="+mn-ea"/>
                <a:cs typeface="+mn-cs"/>
              </a:rPr>
              <a:t>…</a:t>
            </a:r>
          </a:p>
          <a:p>
            <a:pPr marL="7200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bg1"/>
                </a:solidFill>
                <a:effectLst/>
                <a:uLnTx/>
                <a:uFillTx/>
                <a:latin typeface="Ubuntu" panose="020B0504030602030204" pitchFamily="34" charset="0"/>
                <a:ea typeface="+mn-ea"/>
                <a:cs typeface="+mn-cs"/>
              </a:rPr>
              <a:t>…</a:t>
            </a:r>
            <a:endParaRPr kumimoji="0" lang="en-US" sz="1000" b="0" i="0" u="none" strike="noStrike" kern="1200" cap="none" spc="0" normalizeH="0" baseline="0" noProof="0">
              <a:ln>
                <a:noFill/>
              </a:ln>
              <a:solidFill>
                <a:schemeClr val="bg1"/>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3030199667"/>
      </p:ext>
    </p:extLst>
  </p:cSld>
  <p:clrMapOvr>
    <a:masterClrMapping/>
  </p:clrMapOvr>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ustom layout 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47BDF-66D4-B1FF-2932-27CF1B63A3AF}"/>
              </a:ext>
            </a:extLst>
          </p:cNvPr>
          <p:cNvSpPr>
            <a:spLocks noGrp="1"/>
          </p:cNvSpPr>
          <p:nvPr>
            <p:ph type="title"/>
          </p:nvPr>
        </p:nvSpPr>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7B209921-6923-4EDF-67E5-AF839B022C21}"/>
              </a:ext>
            </a:extLst>
          </p:cNvPr>
          <p:cNvCxnSpPr>
            <a:cxnSpLocks/>
            <a:stCxn id="11" idx="6"/>
          </p:cNvCxnSpPr>
          <p:nvPr/>
        </p:nvCxnSpPr>
        <p:spPr>
          <a:xfrm flipV="1">
            <a:off x="6599450" y="3494437"/>
            <a:ext cx="905243" cy="34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Arc 3">
            <a:extLst>
              <a:ext uri="{FF2B5EF4-FFF2-40B4-BE49-F238E27FC236}">
                <a16:creationId xmlns:a16="http://schemas.microsoft.com/office/drawing/2014/main" id="{FDF160D2-57F0-F094-CBCD-3A2EE61B7762}"/>
              </a:ext>
            </a:extLst>
          </p:cNvPr>
          <p:cNvSpPr/>
          <p:nvPr/>
        </p:nvSpPr>
        <p:spPr>
          <a:xfrm rot="10800000" flipH="1">
            <a:off x="5532713" y="2930862"/>
            <a:ext cx="1120521" cy="1120521"/>
          </a:xfrm>
          <a:prstGeom prst="arc">
            <a:avLst>
              <a:gd name="adj1" fmla="val 10822061"/>
              <a:gd name="adj2" fmla="val 21586342"/>
            </a:avLst>
          </a:prstGeom>
          <a:noFill/>
          <a:ln w="6985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cxnSp>
        <p:nvCxnSpPr>
          <p:cNvPr id="5" name="Straight Connector 4">
            <a:extLst>
              <a:ext uri="{FF2B5EF4-FFF2-40B4-BE49-F238E27FC236}">
                <a16:creationId xmlns:a16="http://schemas.microsoft.com/office/drawing/2014/main" id="{861CAD44-9E5C-1B6D-C332-72FCFF0335D9}"/>
              </a:ext>
            </a:extLst>
          </p:cNvPr>
          <p:cNvCxnSpPr>
            <a:cxnSpLocks/>
            <a:stCxn id="10" idx="2"/>
          </p:cNvCxnSpPr>
          <p:nvPr/>
        </p:nvCxnSpPr>
        <p:spPr>
          <a:xfrm flipV="1">
            <a:off x="3766204" y="3496397"/>
            <a:ext cx="1903275" cy="117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F9DD317-6F68-17D1-6023-9A76EA3800E5}"/>
              </a:ext>
            </a:extLst>
          </p:cNvPr>
          <p:cNvCxnSpPr>
            <a:cxnSpLocks/>
            <a:stCxn id="8" idx="6"/>
          </p:cNvCxnSpPr>
          <p:nvPr/>
        </p:nvCxnSpPr>
        <p:spPr>
          <a:xfrm flipV="1">
            <a:off x="2939674" y="3498052"/>
            <a:ext cx="909877" cy="6496"/>
          </a:xfrm>
          <a:prstGeom prst="line">
            <a:avLst/>
          </a:prstGeom>
          <a:ln w="9525"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D6F2E07-40FF-2AE9-F7F6-8A99255FDF55}"/>
              </a:ext>
            </a:extLst>
          </p:cNvPr>
          <p:cNvCxnSpPr>
            <a:cxnSpLocks/>
          </p:cNvCxnSpPr>
          <p:nvPr/>
        </p:nvCxnSpPr>
        <p:spPr>
          <a:xfrm flipV="1">
            <a:off x="1136359" y="3493401"/>
            <a:ext cx="877980" cy="103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20EB8F07-CCC8-C3EB-2606-0FC4C0141E2C}"/>
              </a:ext>
            </a:extLst>
          </p:cNvPr>
          <p:cNvSpPr/>
          <p:nvPr/>
        </p:nvSpPr>
        <p:spPr>
          <a:xfrm>
            <a:off x="1930709" y="3000065"/>
            <a:ext cx="1008965" cy="1008965"/>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p:txBody>
      </p:sp>
      <p:sp>
        <p:nvSpPr>
          <p:cNvPr id="9" name="TextBox 8">
            <a:extLst>
              <a:ext uri="{FF2B5EF4-FFF2-40B4-BE49-F238E27FC236}">
                <a16:creationId xmlns:a16="http://schemas.microsoft.com/office/drawing/2014/main" id="{F1CB65AA-69CB-7287-752C-80D5FA979889}"/>
              </a:ext>
            </a:extLst>
          </p:cNvPr>
          <p:cNvSpPr txBox="1"/>
          <p:nvPr/>
        </p:nvSpPr>
        <p:spPr>
          <a:xfrm>
            <a:off x="1833560" y="4230905"/>
            <a:ext cx="1189531"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Ubuntu" panose="020B0504030602030204" pitchFamily="34" charset="0"/>
                <a:ea typeface="Nexa XBold" panose="02000000000000000000" pitchFamily="2" charset="0"/>
                <a:cs typeface="Calibri Light" panose="020F0302020204030204" pitchFamily="34" charset="0"/>
              </a:rPr>
              <a:t>…</a:t>
            </a:r>
          </a:p>
        </p:txBody>
      </p:sp>
      <p:sp>
        <p:nvSpPr>
          <p:cNvPr id="10" name="Oval 9">
            <a:extLst>
              <a:ext uri="{FF2B5EF4-FFF2-40B4-BE49-F238E27FC236}">
                <a16:creationId xmlns:a16="http://schemas.microsoft.com/office/drawing/2014/main" id="{BD67E060-CB0C-2879-FF50-320AC528DC19}"/>
              </a:ext>
            </a:extLst>
          </p:cNvPr>
          <p:cNvSpPr/>
          <p:nvPr/>
        </p:nvSpPr>
        <p:spPr>
          <a:xfrm>
            <a:off x="3766204" y="3006042"/>
            <a:ext cx="1004269" cy="1004269"/>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p:txBody>
      </p:sp>
      <p:sp>
        <p:nvSpPr>
          <p:cNvPr id="11" name="Oval 10">
            <a:extLst>
              <a:ext uri="{FF2B5EF4-FFF2-40B4-BE49-F238E27FC236}">
                <a16:creationId xmlns:a16="http://schemas.microsoft.com/office/drawing/2014/main" id="{095E3B50-999C-EA72-E0A9-CC85F46042D6}"/>
              </a:ext>
            </a:extLst>
          </p:cNvPr>
          <p:cNvSpPr/>
          <p:nvPr/>
        </p:nvSpPr>
        <p:spPr>
          <a:xfrm>
            <a:off x="5595181" y="2995702"/>
            <a:ext cx="1004269" cy="1004269"/>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p:txBody>
      </p:sp>
      <p:cxnSp>
        <p:nvCxnSpPr>
          <p:cNvPr id="12" name="Straight Connector 11">
            <a:extLst>
              <a:ext uri="{FF2B5EF4-FFF2-40B4-BE49-F238E27FC236}">
                <a16:creationId xmlns:a16="http://schemas.microsoft.com/office/drawing/2014/main" id="{795EF903-B1C5-861C-C0E1-7DB0BD2796CA}"/>
              </a:ext>
            </a:extLst>
          </p:cNvPr>
          <p:cNvCxnSpPr>
            <a:cxnSpLocks/>
          </p:cNvCxnSpPr>
          <p:nvPr/>
        </p:nvCxnSpPr>
        <p:spPr>
          <a:xfrm flipV="1">
            <a:off x="7422128" y="3486299"/>
            <a:ext cx="1990002" cy="2027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46E2674-D6F0-CD74-4F8C-5F1AAC4B7F7F}"/>
              </a:ext>
            </a:extLst>
          </p:cNvPr>
          <p:cNvCxnSpPr>
            <a:cxnSpLocks/>
            <a:stCxn id="23" idx="6"/>
          </p:cNvCxnSpPr>
          <p:nvPr/>
        </p:nvCxnSpPr>
        <p:spPr>
          <a:xfrm>
            <a:off x="10242612" y="3498297"/>
            <a:ext cx="803449" cy="194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Arc 13">
            <a:extLst>
              <a:ext uri="{FF2B5EF4-FFF2-40B4-BE49-F238E27FC236}">
                <a16:creationId xmlns:a16="http://schemas.microsoft.com/office/drawing/2014/main" id="{7F8DC24E-C9D0-ED82-F035-18615048E9D9}"/>
              </a:ext>
            </a:extLst>
          </p:cNvPr>
          <p:cNvSpPr/>
          <p:nvPr/>
        </p:nvSpPr>
        <p:spPr>
          <a:xfrm rot="10800000" flipH="1">
            <a:off x="1871415" y="2934459"/>
            <a:ext cx="1128172" cy="1128172"/>
          </a:xfrm>
          <a:prstGeom prst="arc">
            <a:avLst>
              <a:gd name="adj1" fmla="val 10768857"/>
              <a:gd name="adj2" fmla="val 21563210"/>
            </a:avLst>
          </a:prstGeom>
          <a:ln w="698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15" name="Arc 14">
            <a:extLst>
              <a:ext uri="{FF2B5EF4-FFF2-40B4-BE49-F238E27FC236}">
                <a16:creationId xmlns:a16="http://schemas.microsoft.com/office/drawing/2014/main" id="{A9E46D2E-5069-DA7D-57A1-A0E1CFB577B8}"/>
              </a:ext>
            </a:extLst>
          </p:cNvPr>
          <p:cNvSpPr/>
          <p:nvPr/>
        </p:nvSpPr>
        <p:spPr>
          <a:xfrm rot="10800000" flipH="1">
            <a:off x="3703736" y="2937208"/>
            <a:ext cx="1129206" cy="1129206"/>
          </a:xfrm>
          <a:prstGeom prst="arc">
            <a:avLst>
              <a:gd name="adj1" fmla="val 10821736"/>
              <a:gd name="adj2" fmla="val 21597890"/>
            </a:avLst>
          </a:prstGeom>
          <a:noFill/>
          <a:ln w="698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16" name="Oval 15">
            <a:extLst>
              <a:ext uri="{FF2B5EF4-FFF2-40B4-BE49-F238E27FC236}">
                <a16:creationId xmlns:a16="http://schemas.microsoft.com/office/drawing/2014/main" id="{B8BB58C8-294B-0E3C-BEF1-AFB7BA1EBACC}"/>
              </a:ext>
            </a:extLst>
          </p:cNvPr>
          <p:cNvSpPr/>
          <p:nvPr/>
        </p:nvSpPr>
        <p:spPr>
          <a:xfrm>
            <a:off x="7422128" y="3015922"/>
            <a:ext cx="996545" cy="996545"/>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p:txBody>
      </p:sp>
      <p:sp>
        <p:nvSpPr>
          <p:cNvPr id="17" name="Arc 16">
            <a:extLst>
              <a:ext uri="{FF2B5EF4-FFF2-40B4-BE49-F238E27FC236}">
                <a16:creationId xmlns:a16="http://schemas.microsoft.com/office/drawing/2014/main" id="{687EAF88-B0AA-8338-996D-0B2EDA348C17}"/>
              </a:ext>
            </a:extLst>
          </p:cNvPr>
          <p:cNvSpPr/>
          <p:nvPr/>
        </p:nvSpPr>
        <p:spPr>
          <a:xfrm rot="10800000" flipH="1">
            <a:off x="7360140" y="2944237"/>
            <a:ext cx="1120521" cy="1120521"/>
          </a:xfrm>
          <a:prstGeom prst="arc">
            <a:avLst>
              <a:gd name="adj1" fmla="val 10730278"/>
              <a:gd name="adj2" fmla="val 39303"/>
            </a:avLst>
          </a:prstGeom>
          <a:noFill/>
          <a:ln w="6985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18" name="Arc 17">
            <a:extLst>
              <a:ext uri="{FF2B5EF4-FFF2-40B4-BE49-F238E27FC236}">
                <a16:creationId xmlns:a16="http://schemas.microsoft.com/office/drawing/2014/main" id="{9046545B-BC24-F3AB-2F44-BC431031EF03}"/>
              </a:ext>
            </a:extLst>
          </p:cNvPr>
          <p:cNvSpPr/>
          <p:nvPr/>
        </p:nvSpPr>
        <p:spPr>
          <a:xfrm rot="10800000" flipH="1">
            <a:off x="9176605" y="2928856"/>
            <a:ext cx="1128172" cy="1128172"/>
          </a:xfrm>
          <a:prstGeom prst="arc">
            <a:avLst>
              <a:gd name="adj1" fmla="val 10782360"/>
              <a:gd name="adj2" fmla="val 21557631"/>
            </a:avLst>
          </a:prstGeom>
          <a:noFill/>
          <a:ln w="6985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panose="020B0504030602030204" pitchFamily="34" charset="0"/>
              <a:ea typeface="+mn-ea"/>
              <a:cs typeface="+mn-cs"/>
            </a:endParaRPr>
          </a:p>
        </p:txBody>
      </p:sp>
      <p:sp>
        <p:nvSpPr>
          <p:cNvPr id="19" name="TextBox 18">
            <a:extLst>
              <a:ext uri="{FF2B5EF4-FFF2-40B4-BE49-F238E27FC236}">
                <a16:creationId xmlns:a16="http://schemas.microsoft.com/office/drawing/2014/main" id="{CA2CC7A5-394B-7FD9-3611-A2174DB0C237}"/>
              </a:ext>
            </a:extLst>
          </p:cNvPr>
          <p:cNvSpPr txBox="1"/>
          <p:nvPr/>
        </p:nvSpPr>
        <p:spPr>
          <a:xfrm>
            <a:off x="3649912" y="4230905"/>
            <a:ext cx="1261943"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chemeClr val="tx1"/>
                </a:solidFill>
                <a:effectLst/>
                <a:uLnTx/>
                <a:uFillTx/>
                <a:latin typeface="Ubuntu" panose="020B0504030602030204" pitchFamily="34" charset="0"/>
                <a:ea typeface="Nexa XBold" panose="02000000000000000000" pitchFamily="2" charset="0"/>
                <a:cs typeface="+mn-cs"/>
              </a:rPr>
              <a:t>…</a:t>
            </a:r>
            <a:endParaRPr kumimoji="0" lang="en-US" sz="1200" b="0" i="0" u="none" strike="noStrike" kern="1200" cap="none" spc="0" normalizeH="0" baseline="0" noProof="0">
              <a:ln>
                <a:noFill/>
              </a:ln>
              <a:solidFill>
                <a:schemeClr val="tx1"/>
              </a:solidFill>
              <a:effectLst/>
              <a:uLnTx/>
              <a:uFillTx/>
              <a:latin typeface="Ubuntu" panose="020B0504030602030204" pitchFamily="34" charset="0"/>
              <a:ea typeface="Nexa XBold" panose="02000000000000000000" pitchFamily="2" charset="0"/>
              <a:cs typeface="+mn-cs"/>
            </a:endParaRPr>
          </a:p>
        </p:txBody>
      </p:sp>
      <p:sp>
        <p:nvSpPr>
          <p:cNvPr id="20" name="TextBox 19">
            <a:extLst>
              <a:ext uri="{FF2B5EF4-FFF2-40B4-BE49-F238E27FC236}">
                <a16:creationId xmlns:a16="http://schemas.microsoft.com/office/drawing/2014/main" id="{3BEFBC25-26A6-883A-9BB9-837077943E5B}"/>
              </a:ext>
            </a:extLst>
          </p:cNvPr>
          <p:cNvSpPr txBox="1"/>
          <p:nvPr/>
        </p:nvSpPr>
        <p:spPr>
          <a:xfrm>
            <a:off x="5501437" y="4230905"/>
            <a:ext cx="1189531"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chemeClr val="tx1"/>
                </a:solidFill>
                <a:effectLst/>
                <a:uLnTx/>
                <a:uFillTx/>
                <a:latin typeface="Ubuntu" panose="020B0504030602030204" pitchFamily="34" charset="0"/>
                <a:ea typeface="Nexa XBold" panose="02000000000000000000" pitchFamily="2" charset="0"/>
                <a:cs typeface="+mn-cs"/>
              </a:rPr>
              <a:t>...</a:t>
            </a:r>
            <a:endParaRPr kumimoji="0" lang="en-US" sz="1200" b="0" i="0" u="none" strike="noStrike" kern="1200" cap="none" spc="0" normalizeH="0" baseline="0" noProof="0">
              <a:ln>
                <a:noFill/>
              </a:ln>
              <a:solidFill>
                <a:schemeClr val="tx1"/>
              </a:solidFill>
              <a:effectLst/>
              <a:uLnTx/>
              <a:uFillTx/>
              <a:latin typeface="Ubuntu" panose="020B0504030602030204" pitchFamily="34" charset="0"/>
              <a:ea typeface="Nexa XBold" panose="02000000000000000000" pitchFamily="2" charset="0"/>
              <a:cs typeface="+mn-cs"/>
            </a:endParaRPr>
          </a:p>
        </p:txBody>
      </p:sp>
      <p:sp>
        <p:nvSpPr>
          <p:cNvPr id="21" name="TextBox 20">
            <a:extLst>
              <a:ext uri="{FF2B5EF4-FFF2-40B4-BE49-F238E27FC236}">
                <a16:creationId xmlns:a16="http://schemas.microsoft.com/office/drawing/2014/main" id="{A11C5382-C984-8628-D9C1-E505BED4AE7B}"/>
              </a:ext>
            </a:extLst>
          </p:cNvPr>
          <p:cNvSpPr txBox="1"/>
          <p:nvPr/>
        </p:nvSpPr>
        <p:spPr>
          <a:xfrm>
            <a:off x="7342086" y="4230905"/>
            <a:ext cx="1189531"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Ubuntu" panose="020B0504030602030204" pitchFamily="34" charset="0"/>
                <a:ea typeface="Nexa XBold" panose="02000000000000000000" pitchFamily="2" charset="0"/>
                <a:cs typeface="+mn-cs"/>
              </a:rPr>
              <a:t>…</a:t>
            </a:r>
          </a:p>
        </p:txBody>
      </p:sp>
      <p:sp>
        <p:nvSpPr>
          <p:cNvPr id="22" name="TextBox 21">
            <a:extLst>
              <a:ext uri="{FF2B5EF4-FFF2-40B4-BE49-F238E27FC236}">
                <a16:creationId xmlns:a16="http://schemas.microsoft.com/office/drawing/2014/main" id="{95026FAE-7829-FA81-25CA-E690C02D84DF}"/>
              </a:ext>
            </a:extLst>
          </p:cNvPr>
          <p:cNvSpPr txBox="1"/>
          <p:nvPr/>
        </p:nvSpPr>
        <p:spPr>
          <a:xfrm>
            <a:off x="9156579" y="4230905"/>
            <a:ext cx="1189531"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Ubuntu" panose="020B0504030602030204" pitchFamily="34" charset="0"/>
                <a:ea typeface="Nexa XBold" panose="02000000000000000000" pitchFamily="2" charset="0"/>
                <a:cs typeface="+mn-cs"/>
              </a:rPr>
              <a:t>…</a:t>
            </a:r>
          </a:p>
        </p:txBody>
      </p:sp>
      <p:sp>
        <p:nvSpPr>
          <p:cNvPr id="23" name="Oval 22">
            <a:extLst>
              <a:ext uri="{FF2B5EF4-FFF2-40B4-BE49-F238E27FC236}">
                <a16:creationId xmlns:a16="http://schemas.microsoft.com/office/drawing/2014/main" id="{2200199F-33D2-9989-3A24-E7A2919E589A}"/>
              </a:ext>
            </a:extLst>
          </p:cNvPr>
          <p:cNvSpPr/>
          <p:nvPr/>
        </p:nvSpPr>
        <p:spPr>
          <a:xfrm>
            <a:off x="9239263" y="2996622"/>
            <a:ext cx="1003349" cy="1003349"/>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4093125123"/>
      </p:ext>
    </p:extLst>
  </p:cSld>
  <p:clrMapOvr>
    <a:masterClrMapping/>
  </p:clrMapOvr>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ustom layout 2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0722F-D5CB-5E03-E75A-66C8A00A97F1}"/>
              </a:ext>
            </a:extLst>
          </p:cNvPr>
          <p:cNvSpPr>
            <a:spLocks noGrp="1"/>
          </p:cNvSpPr>
          <p:nvPr>
            <p:ph type="title"/>
          </p:nvPr>
        </p:nvSpPr>
        <p:spPr/>
        <p:txBody>
          <a:bodyPr/>
          <a:lstStyle/>
          <a:p>
            <a:r>
              <a:rPr lang="en-US"/>
              <a:t>Click to edit Master title style</a:t>
            </a:r>
          </a:p>
        </p:txBody>
      </p:sp>
      <p:sp>
        <p:nvSpPr>
          <p:cNvPr id="11" name="Isosceles Triangle 10">
            <a:extLst>
              <a:ext uri="{FF2B5EF4-FFF2-40B4-BE49-F238E27FC236}">
                <a16:creationId xmlns:a16="http://schemas.microsoft.com/office/drawing/2014/main" id="{C0C12E18-A7DD-AFCB-5411-5C286E656146}"/>
              </a:ext>
            </a:extLst>
          </p:cNvPr>
          <p:cNvSpPr/>
          <p:nvPr/>
        </p:nvSpPr>
        <p:spPr>
          <a:xfrm rot="5400000">
            <a:off x="8691769" y="3173148"/>
            <a:ext cx="1296272" cy="914400"/>
          </a:xfrm>
          <a:prstGeom prst="triangle">
            <a:avLst/>
          </a:prstGeom>
          <a:solidFill>
            <a:schemeClr val="tx2">
              <a:alpha val="80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accent6"/>
              </a:solidFill>
              <a:latin typeface="Ubuntu" panose="020B0504030602030204" pitchFamily="34" charset="0"/>
            </a:endParaRPr>
          </a:p>
        </p:txBody>
      </p:sp>
      <p:sp>
        <p:nvSpPr>
          <p:cNvPr id="12" name="Isosceles Triangle 11">
            <a:extLst>
              <a:ext uri="{FF2B5EF4-FFF2-40B4-BE49-F238E27FC236}">
                <a16:creationId xmlns:a16="http://schemas.microsoft.com/office/drawing/2014/main" id="{5F92EAFC-D651-16B1-6BB5-F0AA0D59FFCF}"/>
              </a:ext>
            </a:extLst>
          </p:cNvPr>
          <p:cNvSpPr/>
          <p:nvPr/>
        </p:nvSpPr>
        <p:spPr>
          <a:xfrm rot="5400000">
            <a:off x="2358269" y="3178876"/>
            <a:ext cx="1296272" cy="914400"/>
          </a:xfrm>
          <a:prstGeom prst="triangle">
            <a:avLst/>
          </a:prstGeom>
          <a:solidFill>
            <a:schemeClr val="tx2">
              <a:alpha val="80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accent6"/>
              </a:solidFill>
              <a:latin typeface="Ubuntu" panose="020B0504030602030204" pitchFamily="34" charset="0"/>
            </a:endParaRPr>
          </a:p>
        </p:txBody>
      </p:sp>
      <p:sp>
        <p:nvSpPr>
          <p:cNvPr id="13" name="Isosceles Triangle 12">
            <a:extLst>
              <a:ext uri="{FF2B5EF4-FFF2-40B4-BE49-F238E27FC236}">
                <a16:creationId xmlns:a16="http://schemas.microsoft.com/office/drawing/2014/main" id="{003F2408-D2C0-BE59-22DA-397984381A78}"/>
              </a:ext>
            </a:extLst>
          </p:cNvPr>
          <p:cNvSpPr/>
          <p:nvPr/>
        </p:nvSpPr>
        <p:spPr>
          <a:xfrm rot="5400000">
            <a:off x="4501120" y="3193674"/>
            <a:ext cx="1296272" cy="914400"/>
          </a:xfrm>
          <a:prstGeom prst="triangle">
            <a:avLst/>
          </a:prstGeom>
          <a:solidFill>
            <a:schemeClr val="tx2">
              <a:alpha val="80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accent6"/>
              </a:solidFill>
              <a:latin typeface="Ubuntu" panose="020B0504030602030204" pitchFamily="34" charset="0"/>
            </a:endParaRPr>
          </a:p>
        </p:txBody>
      </p:sp>
      <p:sp>
        <p:nvSpPr>
          <p:cNvPr id="14" name="Isosceles Triangle 13">
            <a:extLst>
              <a:ext uri="{FF2B5EF4-FFF2-40B4-BE49-F238E27FC236}">
                <a16:creationId xmlns:a16="http://schemas.microsoft.com/office/drawing/2014/main" id="{15352DD5-8852-6382-5BE1-FA603E0FED29}"/>
              </a:ext>
            </a:extLst>
          </p:cNvPr>
          <p:cNvSpPr/>
          <p:nvPr/>
        </p:nvSpPr>
        <p:spPr>
          <a:xfrm rot="5400000">
            <a:off x="6547878" y="3178876"/>
            <a:ext cx="1296272" cy="914400"/>
          </a:xfrm>
          <a:prstGeom prst="triangle">
            <a:avLst/>
          </a:prstGeom>
          <a:solidFill>
            <a:schemeClr val="tx2">
              <a:alpha val="80000"/>
            </a:schemeClr>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chemeClr val="accent6"/>
              </a:solidFill>
              <a:latin typeface="Ubuntu" panose="020B0504030602030204" pitchFamily="34" charset="0"/>
            </a:endParaRPr>
          </a:p>
        </p:txBody>
      </p:sp>
      <p:sp>
        <p:nvSpPr>
          <p:cNvPr id="15" name="Rectangle 14">
            <a:extLst>
              <a:ext uri="{FF2B5EF4-FFF2-40B4-BE49-F238E27FC236}">
                <a16:creationId xmlns:a16="http://schemas.microsoft.com/office/drawing/2014/main" id="{4147F667-D0F1-7D0E-57A7-C6EB1EEA830E}"/>
              </a:ext>
            </a:extLst>
          </p:cNvPr>
          <p:cNvSpPr/>
          <p:nvPr/>
        </p:nvSpPr>
        <p:spPr>
          <a:xfrm>
            <a:off x="960031" y="2884407"/>
            <a:ext cx="1828800" cy="1403221"/>
          </a:xfrm>
          <a:prstGeom prst="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400"/>
              </a:spcAft>
            </a:pPr>
            <a:r>
              <a:rPr lang="en-US" sz="1100" b="1">
                <a:solidFill>
                  <a:schemeClr val="tx1"/>
                </a:solidFill>
                <a:latin typeface="Ubuntu" panose="020B0504030602030204" pitchFamily="34" charset="0"/>
              </a:rPr>
              <a:t>…</a:t>
            </a:r>
            <a:endParaRPr lang="en-US" sz="1000">
              <a:solidFill>
                <a:schemeClr val="tx1"/>
              </a:solidFill>
              <a:latin typeface="Ubuntu" panose="020B0504030602030204" pitchFamily="34" charset="0"/>
            </a:endParaRPr>
          </a:p>
          <a:p>
            <a:pPr algn="ctr"/>
            <a:r>
              <a:rPr lang="en-US" sz="1000">
                <a:solidFill>
                  <a:schemeClr val="tx1"/>
                </a:solidFill>
                <a:latin typeface="Ubuntu" panose="020B0504030602030204" pitchFamily="34" charset="0"/>
              </a:rPr>
              <a:t>…</a:t>
            </a:r>
          </a:p>
        </p:txBody>
      </p:sp>
      <p:sp>
        <p:nvSpPr>
          <p:cNvPr id="16" name="Rectangle 15">
            <a:extLst>
              <a:ext uri="{FF2B5EF4-FFF2-40B4-BE49-F238E27FC236}">
                <a16:creationId xmlns:a16="http://schemas.microsoft.com/office/drawing/2014/main" id="{3B1F379A-2E8C-F87F-617D-22C3DD613C0D}"/>
              </a:ext>
            </a:extLst>
          </p:cNvPr>
          <p:cNvSpPr/>
          <p:nvPr/>
        </p:nvSpPr>
        <p:spPr>
          <a:xfrm>
            <a:off x="3082633" y="2880991"/>
            <a:ext cx="1828800" cy="1403221"/>
          </a:xfrm>
          <a:prstGeom prst="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400"/>
              </a:spcAft>
            </a:pPr>
            <a:r>
              <a:rPr lang="en-US" sz="1100" b="1">
                <a:solidFill>
                  <a:schemeClr val="tx1"/>
                </a:solidFill>
                <a:latin typeface="Ubuntu" panose="020B0504030602030204" pitchFamily="34" charset="0"/>
              </a:rPr>
              <a:t>…</a:t>
            </a:r>
          </a:p>
          <a:p>
            <a:pPr algn="ctr"/>
            <a:r>
              <a:rPr lang="en-US" sz="1000">
                <a:solidFill>
                  <a:schemeClr val="tx1"/>
                </a:solidFill>
                <a:latin typeface="Ubuntu" panose="020B0504030602030204" pitchFamily="34" charset="0"/>
              </a:rPr>
              <a:t>…</a:t>
            </a:r>
          </a:p>
        </p:txBody>
      </p:sp>
      <p:sp>
        <p:nvSpPr>
          <p:cNvPr id="17" name="Rectangle 16">
            <a:extLst>
              <a:ext uri="{FF2B5EF4-FFF2-40B4-BE49-F238E27FC236}">
                <a16:creationId xmlns:a16="http://schemas.microsoft.com/office/drawing/2014/main" id="{861A3F59-700B-912A-A562-9A2AD0A6F5DD}"/>
              </a:ext>
            </a:extLst>
          </p:cNvPr>
          <p:cNvSpPr/>
          <p:nvPr/>
        </p:nvSpPr>
        <p:spPr>
          <a:xfrm>
            <a:off x="5187075" y="2880991"/>
            <a:ext cx="1828800" cy="1403221"/>
          </a:xfrm>
          <a:prstGeom prst="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400"/>
              </a:spcAft>
            </a:pPr>
            <a:r>
              <a:rPr lang="en-US" sz="1100" b="1">
                <a:solidFill>
                  <a:schemeClr val="tx1"/>
                </a:solidFill>
                <a:latin typeface="Ubuntu" panose="020B0504030602030204" pitchFamily="34" charset="0"/>
              </a:rPr>
              <a:t>…</a:t>
            </a:r>
          </a:p>
          <a:p>
            <a:pPr algn="ctr"/>
            <a:r>
              <a:rPr lang="en-US" sz="1000">
                <a:solidFill>
                  <a:schemeClr val="tx1"/>
                </a:solidFill>
                <a:latin typeface="Ubuntu" panose="020B0504030602030204" pitchFamily="34" charset="0"/>
              </a:rPr>
              <a:t>…</a:t>
            </a:r>
          </a:p>
        </p:txBody>
      </p:sp>
      <p:sp>
        <p:nvSpPr>
          <p:cNvPr id="18" name="Rectangle 17">
            <a:extLst>
              <a:ext uri="{FF2B5EF4-FFF2-40B4-BE49-F238E27FC236}">
                <a16:creationId xmlns:a16="http://schemas.microsoft.com/office/drawing/2014/main" id="{C6F627E0-BBE7-A307-A13F-017139E36703}"/>
              </a:ext>
            </a:extLst>
          </p:cNvPr>
          <p:cNvSpPr/>
          <p:nvPr/>
        </p:nvSpPr>
        <p:spPr>
          <a:xfrm>
            <a:off x="7280191" y="2880991"/>
            <a:ext cx="1828800" cy="1403221"/>
          </a:xfrm>
          <a:prstGeom prst="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400"/>
              </a:spcAft>
            </a:pPr>
            <a:r>
              <a:rPr lang="en-US" sz="1100" b="1">
                <a:solidFill>
                  <a:schemeClr val="tx1"/>
                </a:solidFill>
                <a:latin typeface="Ubuntu" panose="020B0504030602030204" pitchFamily="34" charset="0"/>
              </a:rPr>
              <a:t>…</a:t>
            </a:r>
          </a:p>
          <a:p>
            <a:pPr algn="ctr"/>
            <a:r>
              <a:rPr lang="en-US" sz="1000">
                <a:solidFill>
                  <a:schemeClr val="tx1"/>
                </a:solidFill>
                <a:latin typeface="Ubuntu" panose="020B0504030602030204" pitchFamily="34" charset="0"/>
              </a:rPr>
              <a:t>…</a:t>
            </a:r>
          </a:p>
        </p:txBody>
      </p:sp>
      <p:sp>
        <p:nvSpPr>
          <p:cNvPr id="19" name="Oval 18">
            <a:extLst>
              <a:ext uri="{FF2B5EF4-FFF2-40B4-BE49-F238E27FC236}">
                <a16:creationId xmlns:a16="http://schemas.microsoft.com/office/drawing/2014/main" id="{E27CEC31-C31F-7DFD-2A84-A34730C78430}"/>
              </a:ext>
            </a:extLst>
          </p:cNvPr>
          <p:cNvSpPr/>
          <p:nvPr/>
        </p:nvSpPr>
        <p:spPr>
          <a:xfrm>
            <a:off x="835002" y="2877441"/>
            <a:ext cx="274320" cy="27432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Ubuntu" panose="020B0504030602030204" pitchFamily="34" charset="0"/>
              </a:rPr>
              <a:t>1</a:t>
            </a:r>
            <a:endParaRPr lang="en-US" sz="1000" b="1">
              <a:solidFill>
                <a:schemeClr val="tx1"/>
              </a:solidFill>
              <a:latin typeface="Ubuntu" panose="020B0504030602030204" pitchFamily="34" charset="0"/>
            </a:endParaRPr>
          </a:p>
        </p:txBody>
      </p:sp>
      <p:sp>
        <p:nvSpPr>
          <p:cNvPr id="20" name="Oval 19">
            <a:extLst>
              <a:ext uri="{FF2B5EF4-FFF2-40B4-BE49-F238E27FC236}">
                <a16:creationId xmlns:a16="http://schemas.microsoft.com/office/drawing/2014/main" id="{926A3507-3D64-C920-2093-7131B0174C12}"/>
              </a:ext>
            </a:extLst>
          </p:cNvPr>
          <p:cNvSpPr/>
          <p:nvPr/>
        </p:nvSpPr>
        <p:spPr>
          <a:xfrm>
            <a:off x="2967880" y="2889302"/>
            <a:ext cx="274320" cy="27432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Ubuntu" panose="020B0504030602030204" pitchFamily="34" charset="0"/>
              </a:rPr>
              <a:t>2</a:t>
            </a:r>
            <a:endParaRPr lang="en-US" sz="1000" b="1">
              <a:solidFill>
                <a:schemeClr val="tx1"/>
              </a:solidFill>
              <a:latin typeface="Ubuntu" panose="020B0504030602030204" pitchFamily="34" charset="0"/>
            </a:endParaRPr>
          </a:p>
        </p:txBody>
      </p:sp>
      <p:sp>
        <p:nvSpPr>
          <p:cNvPr id="21" name="Oval 20">
            <a:extLst>
              <a:ext uri="{FF2B5EF4-FFF2-40B4-BE49-F238E27FC236}">
                <a16:creationId xmlns:a16="http://schemas.microsoft.com/office/drawing/2014/main" id="{C11B3B02-9E2A-4B7F-545E-46400708D6CA}"/>
              </a:ext>
            </a:extLst>
          </p:cNvPr>
          <p:cNvSpPr/>
          <p:nvPr/>
        </p:nvSpPr>
        <p:spPr>
          <a:xfrm>
            <a:off x="5069581" y="2877441"/>
            <a:ext cx="274320" cy="27432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Ubuntu" panose="020B0504030602030204" pitchFamily="34" charset="0"/>
              </a:rPr>
              <a:t>3</a:t>
            </a:r>
            <a:endParaRPr lang="en-US" sz="1000" b="1">
              <a:solidFill>
                <a:schemeClr val="tx1"/>
              </a:solidFill>
              <a:latin typeface="Ubuntu" panose="020B0504030602030204" pitchFamily="34" charset="0"/>
            </a:endParaRPr>
          </a:p>
        </p:txBody>
      </p:sp>
      <p:sp>
        <p:nvSpPr>
          <p:cNvPr id="22" name="Oval 21">
            <a:extLst>
              <a:ext uri="{FF2B5EF4-FFF2-40B4-BE49-F238E27FC236}">
                <a16:creationId xmlns:a16="http://schemas.microsoft.com/office/drawing/2014/main" id="{87A67E33-B771-0C2B-BFE0-52D278182E85}"/>
              </a:ext>
            </a:extLst>
          </p:cNvPr>
          <p:cNvSpPr/>
          <p:nvPr/>
        </p:nvSpPr>
        <p:spPr>
          <a:xfrm>
            <a:off x="7166281" y="2877441"/>
            <a:ext cx="274320" cy="27432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Ubuntu" panose="020B0504030602030204" pitchFamily="34" charset="0"/>
              </a:rPr>
              <a:t>4</a:t>
            </a:r>
            <a:endParaRPr lang="en-US" sz="1000" b="1">
              <a:solidFill>
                <a:schemeClr val="tx1"/>
              </a:solidFill>
              <a:latin typeface="Ubuntu" panose="020B0504030602030204" pitchFamily="34" charset="0"/>
            </a:endParaRPr>
          </a:p>
        </p:txBody>
      </p:sp>
      <p:sp>
        <p:nvSpPr>
          <p:cNvPr id="23" name="Rectangle 22">
            <a:extLst>
              <a:ext uri="{FF2B5EF4-FFF2-40B4-BE49-F238E27FC236}">
                <a16:creationId xmlns:a16="http://schemas.microsoft.com/office/drawing/2014/main" id="{67B07B3A-BE2B-8F1F-E2DC-9DAE64135E1D}"/>
              </a:ext>
            </a:extLst>
          </p:cNvPr>
          <p:cNvSpPr/>
          <p:nvPr/>
        </p:nvSpPr>
        <p:spPr>
          <a:xfrm>
            <a:off x="9376891" y="2853484"/>
            <a:ext cx="1828800" cy="1403221"/>
          </a:xfrm>
          <a:prstGeom prst="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400"/>
              </a:spcAft>
            </a:pPr>
            <a:r>
              <a:rPr lang="en-US" sz="1100" b="1">
                <a:solidFill>
                  <a:schemeClr val="tx1"/>
                </a:solidFill>
                <a:latin typeface="Ubuntu" panose="020B0504030602030204" pitchFamily="34" charset="0"/>
              </a:rPr>
              <a:t>…</a:t>
            </a:r>
          </a:p>
          <a:p>
            <a:pPr algn="ctr"/>
            <a:r>
              <a:rPr lang="en-US" sz="1000">
                <a:solidFill>
                  <a:schemeClr val="tx1"/>
                </a:solidFill>
                <a:latin typeface="Ubuntu" panose="020B0504030602030204" pitchFamily="34" charset="0"/>
              </a:rPr>
              <a:t>…</a:t>
            </a:r>
          </a:p>
        </p:txBody>
      </p:sp>
      <p:sp>
        <p:nvSpPr>
          <p:cNvPr id="24" name="Oval 23">
            <a:extLst>
              <a:ext uri="{FF2B5EF4-FFF2-40B4-BE49-F238E27FC236}">
                <a16:creationId xmlns:a16="http://schemas.microsoft.com/office/drawing/2014/main" id="{C7D367B3-00E5-CC31-9A3F-4894C37D22AC}"/>
              </a:ext>
            </a:extLst>
          </p:cNvPr>
          <p:cNvSpPr/>
          <p:nvPr/>
        </p:nvSpPr>
        <p:spPr>
          <a:xfrm>
            <a:off x="9262981" y="2849934"/>
            <a:ext cx="274320" cy="27432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Ubuntu" panose="020B0504030602030204" pitchFamily="34" charset="0"/>
              </a:rPr>
              <a:t>5</a:t>
            </a:r>
            <a:endParaRPr lang="en-US" sz="1000" b="1">
              <a:solidFill>
                <a:schemeClr val="tx1"/>
              </a:solidFill>
              <a:latin typeface="Ubuntu" panose="020B0504030602030204" pitchFamily="34" charset="0"/>
            </a:endParaRPr>
          </a:p>
        </p:txBody>
      </p:sp>
    </p:spTree>
    <p:extLst>
      <p:ext uri="{BB962C8B-B14F-4D97-AF65-F5344CB8AC3E}">
        <p14:creationId xmlns:p14="http://schemas.microsoft.com/office/powerpoint/2010/main" val="2622967603"/>
      </p:ext>
    </p:extLst>
  </p:cSld>
  <p:clrMapOvr>
    <a:masterClrMapping/>
  </p:clrMapOvr>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me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755EAE-BF74-F27F-94DA-6680991E8834}"/>
              </a:ext>
            </a:extLst>
          </p:cNvPr>
          <p:cNvSpPr>
            <a:spLocks noGrp="1"/>
          </p:cNvSpPr>
          <p:nvPr>
            <p:ph type="title"/>
          </p:nvPr>
        </p:nvSpPr>
        <p:spPr/>
        <p:txBody>
          <a:bodyPr/>
          <a:lstStyle/>
          <a:p>
            <a:r>
              <a:rPr lang="en-US"/>
              <a:t>Click to edit Master title style</a:t>
            </a:r>
          </a:p>
        </p:txBody>
      </p:sp>
      <p:sp>
        <p:nvSpPr>
          <p:cNvPr id="4" name="Arrow: Right 3">
            <a:extLst>
              <a:ext uri="{FF2B5EF4-FFF2-40B4-BE49-F238E27FC236}">
                <a16:creationId xmlns:a16="http://schemas.microsoft.com/office/drawing/2014/main" id="{FF628FAC-8392-B6DD-5063-2919AB295173}"/>
              </a:ext>
            </a:extLst>
          </p:cNvPr>
          <p:cNvSpPr/>
          <p:nvPr/>
        </p:nvSpPr>
        <p:spPr>
          <a:xfrm>
            <a:off x="1543051" y="2556472"/>
            <a:ext cx="9143997" cy="398833"/>
          </a:xfrm>
          <a:prstGeom prst="rightArrow">
            <a:avLst>
              <a:gd name="adj1" fmla="val 50000"/>
              <a:gd name="adj2" fmla="val 60976"/>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2B49">
                  <a:lumMod val="90000"/>
                  <a:lumOff val="10000"/>
                </a:srgbClr>
              </a:solidFill>
              <a:latin typeface="Ubuntu" panose="020B0504030602030204" pitchFamily="34" charset="0"/>
            </a:endParaRPr>
          </a:p>
        </p:txBody>
      </p:sp>
      <p:sp>
        <p:nvSpPr>
          <p:cNvPr id="5" name="Oval 4">
            <a:extLst>
              <a:ext uri="{FF2B5EF4-FFF2-40B4-BE49-F238E27FC236}">
                <a16:creationId xmlns:a16="http://schemas.microsoft.com/office/drawing/2014/main" id="{B84E20DA-2A05-6340-4E93-84E6D326B087}"/>
              </a:ext>
            </a:extLst>
          </p:cNvPr>
          <p:cNvSpPr/>
          <p:nvPr/>
        </p:nvSpPr>
        <p:spPr>
          <a:xfrm>
            <a:off x="2550921" y="2377887"/>
            <a:ext cx="756000" cy="756000"/>
          </a:xfrm>
          <a:prstGeom prst="ellipse">
            <a:avLst/>
          </a:prstGeom>
          <a:solidFill>
            <a:schemeClr val="bg1"/>
          </a:solidFill>
          <a:ln w="920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0000"/>
              </a:solidFill>
              <a:latin typeface="Ubuntu" panose="020B0504030602030204" pitchFamily="34" charset="0"/>
            </a:endParaRPr>
          </a:p>
        </p:txBody>
      </p:sp>
      <p:sp>
        <p:nvSpPr>
          <p:cNvPr id="6" name="Oval 5">
            <a:extLst>
              <a:ext uri="{FF2B5EF4-FFF2-40B4-BE49-F238E27FC236}">
                <a16:creationId xmlns:a16="http://schemas.microsoft.com/office/drawing/2014/main" id="{5BD0EF29-105B-1B32-3B91-0E177C2FD5FB}"/>
              </a:ext>
            </a:extLst>
          </p:cNvPr>
          <p:cNvSpPr/>
          <p:nvPr/>
        </p:nvSpPr>
        <p:spPr>
          <a:xfrm>
            <a:off x="5721922" y="2377887"/>
            <a:ext cx="756000" cy="756000"/>
          </a:xfrm>
          <a:prstGeom prst="ellipse">
            <a:avLst/>
          </a:prstGeom>
          <a:solidFill>
            <a:schemeClr val="bg1"/>
          </a:solidFill>
          <a:ln w="920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0000"/>
              </a:solidFill>
              <a:latin typeface="Ubuntu" panose="020B0504030602030204" pitchFamily="34" charset="0"/>
            </a:endParaRPr>
          </a:p>
        </p:txBody>
      </p:sp>
      <p:sp>
        <p:nvSpPr>
          <p:cNvPr id="7" name="Oval 6">
            <a:extLst>
              <a:ext uri="{FF2B5EF4-FFF2-40B4-BE49-F238E27FC236}">
                <a16:creationId xmlns:a16="http://schemas.microsoft.com/office/drawing/2014/main" id="{5CACE4F4-5E17-94E2-B074-767DF473D566}"/>
              </a:ext>
            </a:extLst>
          </p:cNvPr>
          <p:cNvSpPr/>
          <p:nvPr/>
        </p:nvSpPr>
        <p:spPr>
          <a:xfrm>
            <a:off x="8885174" y="2377887"/>
            <a:ext cx="756000" cy="756000"/>
          </a:xfrm>
          <a:prstGeom prst="ellipse">
            <a:avLst/>
          </a:prstGeom>
          <a:solidFill>
            <a:schemeClr val="bg1"/>
          </a:solidFill>
          <a:ln w="920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000000"/>
              </a:solidFill>
              <a:latin typeface="Ubuntu" panose="020B0504030602030204" pitchFamily="34" charset="0"/>
            </a:endParaRPr>
          </a:p>
        </p:txBody>
      </p:sp>
      <p:sp>
        <p:nvSpPr>
          <p:cNvPr id="8" name="Rectangle 7">
            <a:extLst>
              <a:ext uri="{FF2B5EF4-FFF2-40B4-BE49-F238E27FC236}">
                <a16:creationId xmlns:a16="http://schemas.microsoft.com/office/drawing/2014/main" id="{0FA2DD6D-1383-7FD9-8BC7-D593336490AF}"/>
              </a:ext>
            </a:extLst>
          </p:cNvPr>
          <p:cNvSpPr/>
          <p:nvPr/>
        </p:nvSpPr>
        <p:spPr>
          <a:xfrm>
            <a:off x="1610913" y="3651807"/>
            <a:ext cx="2610172" cy="1068922"/>
          </a:xfrm>
          <a:prstGeom prst="rect">
            <a:avLst/>
          </a:prstGeom>
          <a:solidFill>
            <a:schemeClr val="bg1"/>
          </a:solidFill>
          <a:ln w="254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b="1">
              <a:solidFill>
                <a:srgbClr val="000000"/>
              </a:solidFill>
              <a:latin typeface="Ubuntu" panose="020B0504030602030204" pitchFamily="34" charset="0"/>
            </a:endParaRPr>
          </a:p>
          <a:p>
            <a:pPr algn="ctr"/>
            <a:r>
              <a:rPr lang="en-US" sz="1200" b="1">
                <a:solidFill>
                  <a:srgbClr val="000000"/>
                </a:solidFill>
                <a:latin typeface="Ubuntu" panose="020B0504030602030204" pitchFamily="34" charset="0"/>
              </a:rPr>
              <a:t>dd/mm/</a:t>
            </a:r>
            <a:r>
              <a:rPr lang="en-US" sz="1200" b="1" err="1">
                <a:solidFill>
                  <a:srgbClr val="000000"/>
                </a:solidFill>
                <a:latin typeface="Ubuntu" panose="020B0504030602030204" pitchFamily="34" charset="0"/>
              </a:rPr>
              <a:t>yy</a:t>
            </a:r>
            <a:endParaRPr lang="en-US" sz="1200" b="1">
              <a:solidFill>
                <a:srgbClr val="000000"/>
              </a:solidFill>
              <a:latin typeface="Ubuntu" panose="020B0504030602030204" pitchFamily="34" charset="0"/>
            </a:endParaRPr>
          </a:p>
          <a:p>
            <a:pPr algn="ctr"/>
            <a:endParaRPr lang="en-US" sz="1200">
              <a:solidFill>
                <a:srgbClr val="000000"/>
              </a:solidFill>
              <a:latin typeface="Ubuntu" panose="020B0504030602030204" pitchFamily="34" charset="0"/>
            </a:endParaRPr>
          </a:p>
          <a:p>
            <a:pPr algn="ctr"/>
            <a:r>
              <a:rPr lang="en-US" sz="1200">
                <a:solidFill>
                  <a:srgbClr val="000000"/>
                </a:solidFill>
                <a:latin typeface="Ubuntu" panose="020B0504030602030204" pitchFamily="34" charset="0"/>
              </a:rPr>
              <a:t>…</a:t>
            </a:r>
          </a:p>
        </p:txBody>
      </p:sp>
      <p:sp>
        <p:nvSpPr>
          <p:cNvPr id="9" name="Rectangle 8">
            <a:extLst>
              <a:ext uri="{FF2B5EF4-FFF2-40B4-BE49-F238E27FC236}">
                <a16:creationId xmlns:a16="http://schemas.microsoft.com/office/drawing/2014/main" id="{0D29EB18-BE97-72A0-335B-A0EC8D99119E}"/>
              </a:ext>
            </a:extLst>
          </p:cNvPr>
          <p:cNvSpPr/>
          <p:nvPr/>
        </p:nvSpPr>
        <p:spPr>
          <a:xfrm>
            <a:off x="4809024" y="3651807"/>
            <a:ext cx="2610172" cy="1068923"/>
          </a:xfrm>
          <a:prstGeom prst="rect">
            <a:avLst/>
          </a:prstGeom>
          <a:solidFill>
            <a:schemeClr val="bg1"/>
          </a:solidFill>
          <a:ln w="254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b="1">
              <a:solidFill>
                <a:srgbClr val="000000"/>
              </a:solidFill>
              <a:latin typeface="Ubuntu" panose="020B0504030602030204" pitchFamily="34" charset="0"/>
            </a:endParaRPr>
          </a:p>
          <a:p>
            <a:pPr algn="ctr"/>
            <a:r>
              <a:rPr lang="en-US" sz="1200" b="1">
                <a:solidFill>
                  <a:srgbClr val="000000"/>
                </a:solidFill>
                <a:latin typeface="Ubuntu" panose="020B0504030602030204" pitchFamily="34" charset="0"/>
              </a:rPr>
              <a:t>dd/mm/</a:t>
            </a:r>
            <a:r>
              <a:rPr lang="en-US" sz="1200" b="1" err="1">
                <a:solidFill>
                  <a:srgbClr val="000000"/>
                </a:solidFill>
                <a:latin typeface="Ubuntu" panose="020B0504030602030204" pitchFamily="34" charset="0"/>
              </a:rPr>
              <a:t>yy</a:t>
            </a:r>
            <a:endParaRPr lang="en-US" sz="1200" b="1">
              <a:solidFill>
                <a:srgbClr val="000000"/>
              </a:solidFill>
              <a:latin typeface="Ubuntu" panose="020B0504030602030204" pitchFamily="34" charset="0"/>
            </a:endParaRPr>
          </a:p>
          <a:p>
            <a:pPr algn="ctr"/>
            <a:endParaRPr lang="en-US" sz="1200">
              <a:solidFill>
                <a:srgbClr val="000000"/>
              </a:solidFill>
              <a:latin typeface="Ubuntu" panose="020B0504030602030204" pitchFamily="34" charset="0"/>
            </a:endParaRPr>
          </a:p>
          <a:p>
            <a:pPr algn="ctr"/>
            <a:r>
              <a:rPr lang="en-US" sz="1200">
                <a:solidFill>
                  <a:srgbClr val="000000"/>
                </a:solidFill>
                <a:latin typeface="Ubuntu" panose="020B0504030602030204" pitchFamily="34" charset="0"/>
              </a:rPr>
              <a:t>…</a:t>
            </a:r>
          </a:p>
          <a:p>
            <a:pPr algn="ctr"/>
            <a:endParaRPr lang="en-US" sz="1200" b="1">
              <a:solidFill>
                <a:srgbClr val="000000"/>
              </a:solidFill>
              <a:latin typeface="Ubuntu" panose="020B0504030602030204" pitchFamily="34" charset="0"/>
            </a:endParaRPr>
          </a:p>
        </p:txBody>
      </p:sp>
      <p:sp>
        <p:nvSpPr>
          <p:cNvPr id="10" name="Rectangle 9">
            <a:extLst>
              <a:ext uri="{FF2B5EF4-FFF2-40B4-BE49-F238E27FC236}">
                <a16:creationId xmlns:a16="http://schemas.microsoft.com/office/drawing/2014/main" id="{2B5BFEF7-AD4A-5E5B-389C-5842CA0C1538}"/>
              </a:ext>
            </a:extLst>
          </p:cNvPr>
          <p:cNvSpPr/>
          <p:nvPr/>
        </p:nvSpPr>
        <p:spPr>
          <a:xfrm>
            <a:off x="7999385" y="3651805"/>
            <a:ext cx="2610172" cy="1068923"/>
          </a:xfrm>
          <a:prstGeom prst="rect">
            <a:avLst/>
          </a:prstGeom>
          <a:solidFill>
            <a:schemeClr val="bg1"/>
          </a:solidFill>
          <a:ln w="25400">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b="1">
              <a:solidFill>
                <a:srgbClr val="000000"/>
              </a:solidFill>
              <a:latin typeface="Ubuntu" panose="020B0504030602030204" pitchFamily="34" charset="0"/>
            </a:endParaRPr>
          </a:p>
          <a:p>
            <a:pPr algn="ctr"/>
            <a:r>
              <a:rPr lang="en-US" sz="1200" b="1">
                <a:solidFill>
                  <a:srgbClr val="000000"/>
                </a:solidFill>
                <a:latin typeface="Ubuntu" panose="020B0504030602030204" pitchFamily="34" charset="0"/>
              </a:rPr>
              <a:t>dd/mm/</a:t>
            </a:r>
            <a:r>
              <a:rPr lang="en-US" sz="1200" b="1" err="1">
                <a:solidFill>
                  <a:srgbClr val="000000"/>
                </a:solidFill>
                <a:latin typeface="Ubuntu" panose="020B0504030602030204" pitchFamily="34" charset="0"/>
              </a:rPr>
              <a:t>yy</a:t>
            </a:r>
            <a:endParaRPr lang="en-US" sz="1200" b="1">
              <a:solidFill>
                <a:srgbClr val="000000"/>
              </a:solidFill>
              <a:latin typeface="Ubuntu" panose="020B0504030602030204" pitchFamily="34" charset="0"/>
            </a:endParaRPr>
          </a:p>
          <a:p>
            <a:pPr algn="ctr"/>
            <a:endParaRPr lang="en-US" sz="1200">
              <a:solidFill>
                <a:srgbClr val="000000"/>
              </a:solidFill>
              <a:latin typeface="Ubuntu" panose="020B0504030602030204" pitchFamily="34" charset="0"/>
            </a:endParaRPr>
          </a:p>
          <a:p>
            <a:pPr algn="ctr"/>
            <a:r>
              <a:rPr lang="en-US" sz="1200">
                <a:solidFill>
                  <a:srgbClr val="000000"/>
                </a:solidFill>
                <a:latin typeface="Ubuntu" panose="020B0504030602030204" pitchFamily="34" charset="0"/>
              </a:rPr>
              <a:t>…</a:t>
            </a:r>
          </a:p>
        </p:txBody>
      </p:sp>
      <p:cxnSp>
        <p:nvCxnSpPr>
          <p:cNvPr id="14" name="Straight Connector 13">
            <a:extLst>
              <a:ext uri="{FF2B5EF4-FFF2-40B4-BE49-F238E27FC236}">
                <a16:creationId xmlns:a16="http://schemas.microsoft.com/office/drawing/2014/main" id="{61D5CF97-6D62-E837-B7CD-8F650C16614A}"/>
              </a:ext>
            </a:extLst>
          </p:cNvPr>
          <p:cNvCxnSpPr>
            <a:cxnSpLocks/>
          </p:cNvCxnSpPr>
          <p:nvPr/>
        </p:nvCxnSpPr>
        <p:spPr>
          <a:xfrm>
            <a:off x="9270925" y="3161004"/>
            <a:ext cx="0" cy="509080"/>
          </a:xfrm>
          <a:prstGeom prst="line">
            <a:avLst/>
          </a:prstGeom>
          <a:ln w="63500">
            <a:solidFill>
              <a:srgbClr val="44546A"/>
            </a:solidFill>
            <a:tailEnd type="ova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5796869-B0D5-39B5-7867-646C34AC2E72}"/>
              </a:ext>
            </a:extLst>
          </p:cNvPr>
          <p:cNvCxnSpPr>
            <a:cxnSpLocks/>
          </p:cNvCxnSpPr>
          <p:nvPr/>
        </p:nvCxnSpPr>
        <p:spPr>
          <a:xfrm>
            <a:off x="6095059" y="3151276"/>
            <a:ext cx="0" cy="509080"/>
          </a:xfrm>
          <a:prstGeom prst="line">
            <a:avLst/>
          </a:prstGeom>
          <a:ln w="63500">
            <a:solidFill>
              <a:srgbClr val="44546A"/>
            </a:solidFil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93CAEA0-76C9-2FAA-9D85-B81988AD94BC}"/>
              </a:ext>
            </a:extLst>
          </p:cNvPr>
          <p:cNvCxnSpPr>
            <a:cxnSpLocks/>
          </p:cNvCxnSpPr>
          <p:nvPr/>
        </p:nvCxnSpPr>
        <p:spPr>
          <a:xfrm>
            <a:off x="2926942" y="3125336"/>
            <a:ext cx="0" cy="509080"/>
          </a:xfrm>
          <a:prstGeom prst="line">
            <a:avLst/>
          </a:prstGeom>
          <a:ln w="63500">
            <a:solidFill>
              <a:srgbClr val="44546A"/>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7809068"/>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ontent or divider page w/ photo">
    <p:bg>
      <p:bgPr>
        <a:blipFill dpi="0" rotWithShape="1">
          <a:blip r:embed="rId2">
            <a:lum/>
          </a:blip>
          <a:srcRect/>
          <a:tile tx="-184150" ty="-95250" sx="100000" sy="100000" flip="none" algn="tl"/>
        </a:blipFill>
        <a:effectLst/>
      </p:bgPr>
    </p:bg>
    <p:spTree>
      <p:nvGrpSpPr>
        <p:cNvPr id="1" name=""/>
        <p:cNvGrpSpPr/>
        <p:nvPr/>
      </p:nvGrpSpPr>
      <p:grpSpPr>
        <a:xfrm>
          <a:off x="0" y="0"/>
          <a:ext cx="0" cy="0"/>
          <a:chOff x="0" y="0"/>
          <a:chExt cx="0" cy="0"/>
        </a:xfrm>
      </p:grpSpPr>
      <p:sp>
        <p:nvSpPr>
          <p:cNvPr id="8" name="cover_dark_blue">
            <a:extLst>
              <a:ext uri="{FF2B5EF4-FFF2-40B4-BE49-F238E27FC236}">
                <a16:creationId xmlns:a16="http://schemas.microsoft.com/office/drawing/2014/main" id="{BD6BD013-CBB5-9A60-845D-5BB9EE0D58EC}"/>
              </a:ext>
            </a:extLst>
          </p:cNvPr>
          <p:cNvSpPr>
            <a:spLocks/>
          </p:cNvSpPr>
          <p:nvPr/>
        </p:nvSpPr>
        <p:spPr>
          <a:xfrm>
            <a:off x="0" y="0"/>
            <a:ext cx="12192000" cy="6858000"/>
          </a:xfrm>
          <a:prstGeom prst="rect">
            <a:avLst/>
          </a:prstGeom>
          <a:gradFill flip="none" rotWithShape="1">
            <a:gsLst>
              <a:gs pos="62000">
                <a:srgbClr val="1A2C58">
                  <a:alpha val="64791"/>
                </a:srgbClr>
              </a:gs>
              <a:gs pos="0">
                <a:srgbClr val="03132B">
                  <a:alpha val="65343"/>
                </a:srgbClr>
              </a:gs>
            </a:gsLst>
            <a:lin ang="13500000" scaled="1"/>
            <a:tileRect/>
          </a:gra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accent6"/>
              </a:solidFill>
              <a:latin typeface="Ubuntu" panose="020B0504030602030204" pitchFamily="34" charset="0"/>
            </a:endParaRPr>
          </a:p>
        </p:txBody>
      </p:sp>
      <p:pic>
        <p:nvPicPr>
          <p:cNvPr id="7" name="Graphic 6">
            <a:extLst>
              <a:ext uri="{FF2B5EF4-FFF2-40B4-BE49-F238E27FC236}">
                <a16:creationId xmlns:a16="http://schemas.microsoft.com/office/drawing/2014/main" id="{DC85D206-E47C-69DE-F952-4059781325A7}"/>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671" r="8674" b="46902"/>
          <a:stretch/>
        </p:blipFill>
        <p:spPr>
          <a:xfrm>
            <a:off x="-1" y="5257800"/>
            <a:ext cx="12192001" cy="1600200"/>
          </a:xfrm>
          <a:prstGeom prst="rect">
            <a:avLst/>
          </a:prstGeom>
        </p:spPr>
      </p:pic>
      <p:pic>
        <p:nvPicPr>
          <p:cNvPr id="9" name="Graphic 8">
            <a:extLst>
              <a:ext uri="{FF2B5EF4-FFF2-40B4-BE49-F238E27FC236}">
                <a16:creationId xmlns:a16="http://schemas.microsoft.com/office/drawing/2014/main" id="{CF785EA5-AA32-FA84-6876-D2F296C76D17}"/>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671" r="8674" b="46902"/>
          <a:stretch/>
        </p:blipFill>
        <p:spPr>
          <a:xfrm>
            <a:off x="0" y="5257800"/>
            <a:ext cx="12192001" cy="1600200"/>
          </a:xfrm>
          <a:prstGeom prst="rect">
            <a:avLst/>
          </a:prstGeom>
        </p:spPr>
      </p:pic>
      <p:sp>
        <p:nvSpPr>
          <p:cNvPr id="4" name="cover_blue" hidden="1">
            <a:extLst>
              <a:ext uri="{FF2B5EF4-FFF2-40B4-BE49-F238E27FC236}">
                <a16:creationId xmlns:a16="http://schemas.microsoft.com/office/drawing/2014/main" id="{B2C7C4E9-AE3D-6833-7962-769FF96ED7AF}"/>
              </a:ext>
            </a:extLst>
          </p:cNvPr>
          <p:cNvSpPr>
            <a:spLocks/>
          </p:cNvSpPr>
          <p:nvPr/>
        </p:nvSpPr>
        <p:spPr>
          <a:xfrm>
            <a:off x="0" y="0"/>
            <a:ext cx="12192000" cy="6858000"/>
          </a:xfrm>
          <a:prstGeom prst="rect">
            <a:avLst/>
          </a:prstGeom>
          <a:gradFill flip="none" rotWithShape="1">
            <a:gsLst>
              <a:gs pos="21000">
                <a:srgbClr val="497E9E">
                  <a:alpha val="64733"/>
                </a:srgbClr>
              </a:gs>
              <a:gs pos="0">
                <a:srgbClr val="67AACB">
                  <a:alpha val="64575"/>
                </a:srgbClr>
              </a:gs>
              <a:gs pos="56000">
                <a:srgbClr val="041938">
                  <a:alpha val="65000"/>
                </a:srgbClr>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6" name="cover_green" hidden="1">
            <a:extLst>
              <a:ext uri="{FF2B5EF4-FFF2-40B4-BE49-F238E27FC236}">
                <a16:creationId xmlns:a16="http://schemas.microsoft.com/office/drawing/2014/main" id="{1BCCE156-B7D0-5354-8274-A6986F2F2088}"/>
              </a:ext>
            </a:extLst>
          </p:cNvPr>
          <p:cNvSpPr/>
          <p:nvPr/>
        </p:nvSpPr>
        <p:spPr>
          <a:xfrm>
            <a:off x="0" y="0"/>
            <a:ext cx="12192000" cy="6858000"/>
          </a:xfrm>
          <a:prstGeom prst="rect">
            <a:avLst/>
          </a:prstGeom>
          <a:gradFill flip="none" rotWithShape="1">
            <a:gsLst>
              <a:gs pos="21000">
                <a:srgbClr val="748367">
                  <a:alpha val="64776"/>
                </a:srgbClr>
              </a:gs>
              <a:gs pos="0">
                <a:srgbClr val="DCE692">
                  <a:alpha val="64761"/>
                </a:srgbClr>
              </a:gs>
              <a:gs pos="55000">
                <a:srgbClr val="041938">
                  <a:alpha val="65000"/>
                </a:srgbClr>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sp>
        <p:nvSpPr>
          <p:cNvPr id="12" name="cover_orange" hidden="1">
            <a:extLst>
              <a:ext uri="{FF2B5EF4-FFF2-40B4-BE49-F238E27FC236}">
                <a16:creationId xmlns:a16="http://schemas.microsoft.com/office/drawing/2014/main" id="{F4A2787A-1944-8C55-C7E1-2EF1465C22BC}"/>
              </a:ext>
            </a:extLst>
          </p:cNvPr>
          <p:cNvSpPr/>
          <p:nvPr/>
        </p:nvSpPr>
        <p:spPr>
          <a:xfrm>
            <a:off x="0" y="0"/>
            <a:ext cx="12192000" cy="6858002"/>
          </a:xfrm>
          <a:prstGeom prst="rect">
            <a:avLst/>
          </a:prstGeom>
          <a:gradFill flip="none" rotWithShape="1">
            <a:gsLst>
              <a:gs pos="0">
                <a:srgbClr val="E58843">
                  <a:alpha val="64912"/>
                </a:srgbClr>
              </a:gs>
              <a:gs pos="21000">
                <a:srgbClr val="93603F">
                  <a:alpha val="65024"/>
                </a:srgbClr>
              </a:gs>
              <a:gs pos="54000">
                <a:srgbClr val="041938">
                  <a:alpha val="65143"/>
                </a:srgbClr>
              </a:gs>
            </a:gsLst>
            <a:lin ang="13500000" scaled="1"/>
            <a:tileRect/>
          </a:gradFill>
          <a:ln w="6350" cap="flat" cmpd="sng" algn="ctr">
            <a:solidFill>
              <a:sysClr val="window" lastClr="FFFFFF">
                <a:lumMod val="50000"/>
              </a:sys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67AACB"/>
              </a:solidFill>
              <a:effectLst/>
              <a:uLnTx/>
              <a:uFillTx/>
              <a:latin typeface="Ubuntu" panose="020B0504030602030204" pitchFamily="34" charset="0"/>
              <a:ea typeface="+mn-ea"/>
              <a:cs typeface="+mn-cs"/>
            </a:endParaRPr>
          </a:p>
        </p:txBody>
      </p:sp>
      <p:pic>
        <p:nvPicPr>
          <p:cNvPr id="11" name="Graphic 10">
            <a:extLst>
              <a:ext uri="{FF2B5EF4-FFF2-40B4-BE49-F238E27FC236}">
                <a16:creationId xmlns:a16="http://schemas.microsoft.com/office/drawing/2014/main" id="{853F27FD-6381-32C0-C0F9-C2D8A87AA52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60219" y="267272"/>
            <a:ext cx="2657064" cy="667944"/>
          </a:xfrm>
          <a:prstGeom prst="rect">
            <a:avLst/>
          </a:prstGeom>
        </p:spPr>
      </p:pic>
    </p:spTree>
    <p:extLst>
      <p:ext uri="{BB962C8B-B14F-4D97-AF65-F5344CB8AC3E}">
        <p14:creationId xmlns:p14="http://schemas.microsoft.com/office/powerpoint/2010/main" val="1615050934"/>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me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449C1-2904-4E4C-9D4B-37576CAB3048}"/>
              </a:ext>
            </a:extLst>
          </p:cNvPr>
          <p:cNvSpPr>
            <a:spLocks noGrp="1"/>
          </p:cNvSpPr>
          <p:nvPr>
            <p:ph type="title"/>
          </p:nvPr>
        </p:nvSpPr>
        <p:spPr/>
        <p:txBody>
          <a:bodyPr/>
          <a:lstStyle/>
          <a:p>
            <a:r>
              <a:rPr lang="en-US"/>
              <a:t>Click to edit Master title style</a:t>
            </a:r>
          </a:p>
        </p:txBody>
      </p:sp>
      <p:cxnSp>
        <p:nvCxnSpPr>
          <p:cNvPr id="7" name="Straight Connector 6">
            <a:extLst>
              <a:ext uri="{FF2B5EF4-FFF2-40B4-BE49-F238E27FC236}">
                <a16:creationId xmlns:a16="http://schemas.microsoft.com/office/drawing/2014/main" id="{B3213AA3-20A2-48CB-5219-05D790A4E8D9}"/>
              </a:ext>
            </a:extLst>
          </p:cNvPr>
          <p:cNvCxnSpPr>
            <a:cxnSpLocks/>
          </p:cNvCxnSpPr>
          <p:nvPr/>
        </p:nvCxnSpPr>
        <p:spPr>
          <a:xfrm>
            <a:off x="1930417" y="3095334"/>
            <a:ext cx="0" cy="1122146"/>
          </a:xfrm>
          <a:prstGeom prst="line">
            <a:avLst/>
          </a:prstGeom>
          <a:ln w="190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F68DC5D7-001A-BDDA-3FF1-5CFA5E0173A7}"/>
              </a:ext>
            </a:extLst>
          </p:cNvPr>
          <p:cNvSpPr/>
          <p:nvPr/>
        </p:nvSpPr>
        <p:spPr>
          <a:xfrm>
            <a:off x="822745" y="4341305"/>
            <a:ext cx="2214777" cy="83338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a:solidFill>
                  <a:schemeClr val="tx2">
                    <a:lumMod val="75000"/>
                  </a:schemeClr>
                </a:solidFill>
                <a:latin typeface="Ubuntu" panose="020B0504030602030204" pitchFamily="34" charset="0"/>
              </a:rPr>
              <a:t>…</a:t>
            </a:r>
          </a:p>
        </p:txBody>
      </p:sp>
      <p:sp>
        <p:nvSpPr>
          <p:cNvPr id="9" name="Rectangle: Rounded Corners 8">
            <a:extLst>
              <a:ext uri="{FF2B5EF4-FFF2-40B4-BE49-F238E27FC236}">
                <a16:creationId xmlns:a16="http://schemas.microsoft.com/office/drawing/2014/main" id="{E4A28204-19D7-DAE7-6CB3-D67F6F112A25}"/>
              </a:ext>
            </a:extLst>
          </p:cNvPr>
          <p:cNvSpPr/>
          <p:nvPr/>
        </p:nvSpPr>
        <p:spPr>
          <a:xfrm>
            <a:off x="822745" y="2618189"/>
            <a:ext cx="2215346" cy="503495"/>
          </a:xfrm>
          <a:prstGeom prst="roundRect">
            <a:avLst/>
          </a:prstGeom>
          <a:solidFill>
            <a:schemeClr val="tx2">
              <a:lumMod val="40000"/>
              <a:lumOff val="60000"/>
            </a:schemeClr>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Ubuntu" panose="020B0504030602030204" pitchFamily="34" charset="0"/>
              </a:rPr>
              <a:t>Date</a:t>
            </a:r>
          </a:p>
        </p:txBody>
      </p:sp>
      <p:cxnSp>
        <p:nvCxnSpPr>
          <p:cNvPr id="11" name="Straight Connector 10">
            <a:extLst>
              <a:ext uri="{FF2B5EF4-FFF2-40B4-BE49-F238E27FC236}">
                <a16:creationId xmlns:a16="http://schemas.microsoft.com/office/drawing/2014/main" id="{6514AE89-05F6-D62C-F684-3922BFF6622B}"/>
              </a:ext>
            </a:extLst>
          </p:cNvPr>
          <p:cNvCxnSpPr>
            <a:cxnSpLocks/>
          </p:cNvCxnSpPr>
          <p:nvPr/>
        </p:nvCxnSpPr>
        <p:spPr>
          <a:xfrm>
            <a:off x="4476874" y="3095334"/>
            <a:ext cx="0" cy="1122146"/>
          </a:xfrm>
          <a:prstGeom prst="line">
            <a:avLst/>
          </a:prstGeom>
          <a:ln w="190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3E1F73FC-E8C5-F7D4-2DDE-14D3189E5436}"/>
              </a:ext>
            </a:extLst>
          </p:cNvPr>
          <p:cNvSpPr/>
          <p:nvPr/>
        </p:nvSpPr>
        <p:spPr>
          <a:xfrm>
            <a:off x="3369201" y="2618189"/>
            <a:ext cx="2215346" cy="503495"/>
          </a:xfrm>
          <a:prstGeom prst="roundRect">
            <a:avLst/>
          </a:prstGeom>
          <a:solidFill>
            <a:schemeClr val="tx2">
              <a:lumMod val="40000"/>
              <a:lumOff val="60000"/>
            </a:schemeClr>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Ubuntu" panose="020B0504030602030204" pitchFamily="34" charset="0"/>
              </a:rPr>
              <a:t>Date</a:t>
            </a:r>
            <a:endParaRPr lang="en-US" sz="1200" i="1">
              <a:solidFill>
                <a:schemeClr val="bg1"/>
              </a:solidFill>
              <a:latin typeface="Ubuntu" panose="020B0504030602030204" pitchFamily="34" charset="0"/>
            </a:endParaRPr>
          </a:p>
        </p:txBody>
      </p:sp>
      <p:cxnSp>
        <p:nvCxnSpPr>
          <p:cNvPr id="15" name="Straight Connector 14">
            <a:extLst>
              <a:ext uri="{FF2B5EF4-FFF2-40B4-BE49-F238E27FC236}">
                <a16:creationId xmlns:a16="http://schemas.microsoft.com/office/drawing/2014/main" id="{E573BD50-C950-0739-EB9B-D145B9A8EA82}"/>
              </a:ext>
            </a:extLst>
          </p:cNvPr>
          <p:cNvCxnSpPr>
            <a:cxnSpLocks/>
          </p:cNvCxnSpPr>
          <p:nvPr/>
        </p:nvCxnSpPr>
        <p:spPr>
          <a:xfrm>
            <a:off x="7023326" y="3095334"/>
            <a:ext cx="0" cy="1122146"/>
          </a:xfrm>
          <a:prstGeom prst="line">
            <a:avLst/>
          </a:prstGeom>
          <a:ln w="190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B9017AF8-6FCF-EAFE-D072-4A37B37E29EE}"/>
              </a:ext>
            </a:extLst>
          </p:cNvPr>
          <p:cNvSpPr/>
          <p:nvPr/>
        </p:nvSpPr>
        <p:spPr>
          <a:xfrm>
            <a:off x="5915654" y="2618189"/>
            <a:ext cx="2215346" cy="503495"/>
          </a:xfrm>
          <a:prstGeom prst="roundRect">
            <a:avLst/>
          </a:prstGeom>
          <a:solidFill>
            <a:schemeClr val="tx2">
              <a:lumMod val="40000"/>
              <a:lumOff val="60000"/>
            </a:schemeClr>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Ubuntu" panose="020B0504030602030204" pitchFamily="34" charset="0"/>
              </a:rPr>
              <a:t>Date</a:t>
            </a:r>
            <a:endParaRPr lang="en-US" sz="1200" i="1">
              <a:solidFill>
                <a:schemeClr val="bg1"/>
              </a:solidFill>
              <a:latin typeface="Ubuntu" panose="020B0504030602030204" pitchFamily="34" charset="0"/>
            </a:endParaRPr>
          </a:p>
        </p:txBody>
      </p:sp>
      <p:cxnSp>
        <p:nvCxnSpPr>
          <p:cNvPr id="19" name="Straight Connector 18">
            <a:extLst>
              <a:ext uri="{FF2B5EF4-FFF2-40B4-BE49-F238E27FC236}">
                <a16:creationId xmlns:a16="http://schemas.microsoft.com/office/drawing/2014/main" id="{F4514B06-82BA-8DC2-612D-8C5405B4EE01}"/>
              </a:ext>
            </a:extLst>
          </p:cNvPr>
          <p:cNvCxnSpPr>
            <a:cxnSpLocks/>
          </p:cNvCxnSpPr>
          <p:nvPr/>
        </p:nvCxnSpPr>
        <p:spPr>
          <a:xfrm>
            <a:off x="9541561" y="3095334"/>
            <a:ext cx="0" cy="1122146"/>
          </a:xfrm>
          <a:prstGeom prst="line">
            <a:avLst/>
          </a:prstGeom>
          <a:ln w="190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DA7F2490-6C8A-205E-E0F8-020E5B06E205}"/>
              </a:ext>
            </a:extLst>
          </p:cNvPr>
          <p:cNvSpPr/>
          <p:nvPr/>
        </p:nvSpPr>
        <p:spPr>
          <a:xfrm>
            <a:off x="8433889" y="2618189"/>
            <a:ext cx="2215346" cy="503495"/>
          </a:xfrm>
          <a:prstGeom prst="roundRect">
            <a:avLst/>
          </a:prstGeom>
          <a:solidFill>
            <a:schemeClr val="tx2">
              <a:lumMod val="40000"/>
              <a:lumOff val="60000"/>
            </a:schemeClr>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Ubuntu" panose="020B0504030602030204" pitchFamily="34" charset="0"/>
              </a:rPr>
              <a:t>Date</a:t>
            </a:r>
            <a:endParaRPr lang="en-US" sz="1200" i="1">
              <a:solidFill>
                <a:schemeClr val="bg1"/>
              </a:solidFill>
              <a:latin typeface="Ubuntu" panose="020B0504030602030204" pitchFamily="34" charset="0"/>
            </a:endParaRPr>
          </a:p>
        </p:txBody>
      </p:sp>
      <p:sp>
        <p:nvSpPr>
          <p:cNvPr id="23" name="Arrow: Right 22">
            <a:extLst>
              <a:ext uri="{FF2B5EF4-FFF2-40B4-BE49-F238E27FC236}">
                <a16:creationId xmlns:a16="http://schemas.microsoft.com/office/drawing/2014/main" id="{093C5681-2744-17DD-6F96-9E6B3855C789}"/>
              </a:ext>
            </a:extLst>
          </p:cNvPr>
          <p:cNvSpPr/>
          <p:nvPr/>
        </p:nvSpPr>
        <p:spPr>
          <a:xfrm>
            <a:off x="442913" y="3075382"/>
            <a:ext cx="11306175" cy="1162050"/>
          </a:xfrm>
          <a:prstGeom prst="rightArrow">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Ubuntu" panose="020B0504030602030204" pitchFamily="34" charset="0"/>
              </a:rPr>
              <a:t>XXX</a:t>
            </a:r>
            <a:endParaRPr lang="en-US" sz="1000" b="1">
              <a:solidFill>
                <a:schemeClr val="bg1"/>
              </a:solidFill>
              <a:latin typeface="Ubuntu" panose="020B0504030602030204" pitchFamily="34" charset="0"/>
            </a:endParaRPr>
          </a:p>
        </p:txBody>
      </p:sp>
      <p:sp>
        <p:nvSpPr>
          <p:cNvPr id="24" name="Rectangle 23">
            <a:extLst>
              <a:ext uri="{FF2B5EF4-FFF2-40B4-BE49-F238E27FC236}">
                <a16:creationId xmlns:a16="http://schemas.microsoft.com/office/drawing/2014/main" id="{6362EAA4-85A1-41CE-5EF0-8ED89934F364}"/>
              </a:ext>
            </a:extLst>
          </p:cNvPr>
          <p:cNvSpPr/>
          <p:nvPr/>
        </p:nvSpPr>
        <p:spPr>
          <a:xfrm>
            <a:off x="3369770" y="4341305"/>
            <a:ext cx="2214777" cy="83338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a:solidFill>
                  <a:schemeClr val="tx2">
                    <a:lumMod val="75000"/>
                  </a:schemeClr>
                </a:solidFill>
                <a:latin typeface="Ubuntu" panose="020B0504030602030204" pitchFamily="34" charset="0"/>
              </a:rPr>
              <a:t>…</a:t>
            </a:r>
          </a:p>
        </p:txBody>
      </p:sp>
      <p:sp>
        <p:nvSpPr>
          <p:cNvPr id="25" name="Rectangle 24">
            <a:extLst>
              <a:ext uri="{FF2B5EF4-FFF2-40B4-BE49-F238E27FC236}">
                <a16:creationId xmlns:a16="http://schemas.microsoft.com/office/drawing/2014/main" id="{14970043-B9EB-F6D7-9332-3B893C7A02C7}"/>
              </a:ext>
            </a:extLst>
          </p:cNvPr>
          <p:cNvSpPr/>
          <p:nvPr/>
        </p:nvSpPr>
        <p:spPr>
          <a:xfrm>
            <a:off x="5915654" y="4341305"/>
            <a:ext cx="2214777" cy="83338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a:solidFill>
                  <a:schemeClr val="tx2">
                    <a:lumMod val="75000"/>
                  </a:schemeClr>
                </a:solidFill>
                <a:latin typeface="Ubuntu" panose="020B0504030602030204" pitchFamily="34" charset="0"/>
              </a:rPr>
              <a:t>…</a:t>
            </a:r>
          </a:p>
        </p:txBody>
      </p:sp>
      <p:sp>
        <p:nvSpPr>
          <p:cNvPr id="26" name="Rectangle 25">
            <a:extLst>
              <a:ext uri="{FF2B5EF4-FFF2-40B4-BE49-F238E27FC236}">
                <a16:creationId xmlns:a16="http://schemas.microsoft.com/office/drawing/2014/main" id="{439718EC-7637-A91B-26AC-D9D210D48640}"/>
              </a:ext>
            </a:extLst>
          </p:cNvPr>
          <p:cNvSpPr/>
          <p:nvPr/>
        </p:nvSpPr>
        <p:spPr>
          <a:xfrm>
            <a:off x="8433889" y="4341305"/>
            <a:ext cx="2214777" cy="83338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a:solidFill>
                  <a:schemeClr val="tx2">
                    <a:lumMod val="75000"/>
                  </a:schemeClr>
                </a:solidFill>
                <a:latin typeface="Ubuntu" panose="020B0504030602030204" pitchFamily="34" charset="0"/>
              </a:rPr>
              <a:t>…</a:t>
            </a:r>
          </a:p>
        </p:txBody>
      </p:sp>
    </p:spTree>
    <p:extLst>
      <p:ext uri="{BB962C8B-B14F-4D97-AF65-F5344CB8AC3E}">
        <p14:creationId xmlns:p14="http://schemas.microsoft.com/office/powerpoint/2010/main" val="3677460473"/>
      </p:ext>
    </p:extLst>
  </p:cSld>
  <p:clrMapOvr>
    <a:masterClrMapping/>
  </p:clrMapOvr>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melin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06574-6B1A-038D-2124-2C963711D73D}"/>
              </a:ext>
            </a:extLst>
          </p:cNvPr>
          <p:cNvSpPr>
            <a:spLocks noGrp="1"/>
          </p:cNvSpPr>
          <p:nvPr>
            <p:ph type="title"/>
          </p:nvPr>
        </p:nvSpPr>
        <p:spPr/>
        <p:txBody>
          <a:bodyPr/>
          <a:lstStyle/>
          <a:p>
            <a:r>
              <a:rPr lang="en-US"/>
              <a:t>Click to edit Master title style</a:t>
            </a:r>
          </a:p>
        </p:txBody>
      </p:sp>
      <p:cxnSp>
        <p:nvCxnSpPr>
          <p:cNvPr id="3" name="Straight Arrow Connector 2">
            <a:extLst>
              <a:ext uri="{FF2B5EF4-FFF2-40B4-BE49-F238E27FC236}">
                <a16:creationId xmlns:a16="http://schemas.microsoft.com/office/drawing/2014/main" id="{4DF8A8D8-A5EA-A9D6-3867-74F8E66E5E92}"/>
              </a:ext>
            </a:extLst>
          </p:cNvPr>
          <p:cNvCxnSpPr/>
          <p:nvPr/>
        </p:nvCxnSpPr>
        <p:spPr>
          <a:xfrm>
            <a:off x="1484744" y="3645238"/>
            <a:ext cx="9220200" cy="0"/>
          </a:xfrm>
          <a:prstGeom prst="straightConnector1">
            <a:avLst/>
          </a:prstGeom>
          <a:ln w="28575">
            <a:solidFill>
              <a:schemeClr val="tx2"/>
            </a:solidFill>
            <a:tailEnd type="stealth" w="lg" len="lg"/>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FFD00F2B-8A9F-B93A-BCC5-45E851E245BD}"/>
              </a:ext>
            </a:extLst>
          </p:cNvPr>
          <p:cNvSpPr/>
          <p:nvPr/>
        </p:nvSpPr>
        <p:spPr bwMode="auto">
          <a:xfrm>
            <a:off x="2542852" y="3591238"/>
            <a:ext cx="108000" cy="108000"/>
          </a:xfrm>
          <a:prstGeom prst="ellipse">
            <a:avLst/>
          </a:prstGeom>
          <a:solidFill>
            <a:schemeClr val="tx2"/>
          </a:solidFill>
          <a:ln w="12700">
            <a:solidFill>
              <a:schemeClr val="tx2"/>
            </a:solidFill>
            <a:round/>
            <a:headEnd/>
            <a:tailEnd/>
          </a:ln>
          <a:effectLst/>
        </p:spPr>
        <p:txBody>
          <a:bodyPr wrap="square" lIns="27432" tIns="18288" rIns="0" bIns="18288" rtlCol="0" anchor="t"/>
          <a:lstStyle/>
          <a:p>
            <a:pPr algn="ctr" defTabSz="914400" eaLnBrk="0" fontAlgn="base" hangingPunct="0">
              <a:spcBef>
                <a:spcPct val="0"/>
              </a:spcBef>
              <a:spcAft>
                <a:spcPct val="0"/>
              </a:spcAft>
            </a:pPr>
            <a:endParaRPr lang="en-US" sz="1000">
              <a:solidFill>
                <a:srgbClr val="323438"/>
              </a:solidFill>
              <a:latin typeface="Ubuntu" panose="020B0504030602030204" pitchFamily="34" charset="0"/>
              <a:ea typeface="Geneva" pitchFamily="1" charset="-128"/>
              <a:cs typeface="Arial" pitchFamily="34" charset="0"/>
            </a:endParaRPr>
          </a:p>
        </p:txBody>
      </p:sp>
      <p:sp>
        <p:nvSpPr>
          <p:cNvPr id="5" name="Oval 4">
            <a:extLst>
              <a:ext uri="{FF2B5EF4-FFF2-40B4-BE49-F238E27FC236}">
                <a16:creationId xmlns:a16="http://schemas.microsoft.com/office/drawing/2014/main" id="{EB4FED0D-8CD7-74C7-ACDB-0883AF3F3156}"/>
              </a:ext>
            </a:extLst>
          </p:cNvPr>
          <p:cNvSpPr/>
          <p:nvPr/>
        </p:nvSpPr>
        <p:spPr bwMode="auto">
          <a:xfrm>
            <a:off x="3708960" y="3591238"/>
            <a:ext cx="108000" cy="108000"/>
          </a:xfrm>
          <a:prstGeom prst="ellipse">
            <a:avLst/>
          </a:prstGeom>
          <a:solidFill>
            <a:schemeClr val="tx2"/>
          </a:solidFill>
          <a:ln w="12700">
            <a:solidFill>
              <a:schemeClr val="tx2"/>
            </a:solidFill>
            <a:round/>
            <a:headEnd/>
            <a:tailEnd/>
          </a:ln>
          <a:effectLst/>
        </p:spPr>
        <p:txBody>
          <a:bodyPr wrap="square" lIns="27432" tIns="18288" rIns="0" bIns="18288" rtlCol="0" anchor="t"/>
          <a:lstStyle/>
          <a:p>
            <a:pPr algn="ctr" defTabSz="914400" eaLnBrk="0" fontAlgn="base" hangingPunct="0">
              <a:spcBef>
                <a:spcPct val="0"/>
              </a:spcBef>
              <a:spcAft>
                <a:spcPct val="0"/>
              </a:spcAft>
            </a:pPr>
            <a:endParaRPr lang="en-US" sz="1000">
              <a:solidFill>
                <a:srgbClr val="323438"/>
              </a:solidFill>
              <a:latin typeface="Ubuntu" panose="020B0504030602030204" pitchFamily="34" charset="0"/>
              <a:ea typeface="Geneva" pitchFamily="1" charset="-128"/>
              <a:cs typeface="Arial" pitchFamily="34" charset="0"/>
            </a:endParaRPr>
          </a:p>
        </p:txBody>
      </p:sp>
      <p:sp>
        <p:nvSpPr>
          <p:cNvPr id="6" name="Oval 5">
            <a:extLst>
              <a:ext uri="{FF2B5EF4-FFF2-40B4-BE49-F238E27FC236}">
                <a16:creationId xmlns:a16="http://schemas.microsoft.com/office/drawing/2014/main" id="{80BA12F9-166E-5E03-8C01-21F07093EB79}"/>
              </a:ext>
            </a:extLst>
          </p:cNvPr>
          <p:cNvSpPr/>
          <p:nvPr/>
        </p:nvSpPr>
        <p:spPr bwMode="auto">
          <a:xfrm>
            <a:off x="4875068" y="3591238"/>
            <a:ext cx="108000" cy="108000"/>
          </a:xfrm>
          <a:prstGeom prst="ellipse">
            <a:avLst/>
          </a:prstGeom>
          <a:solidFill>
            <a:schemeClr val="tx2"/>
          </a:solidFill>
          <a:ln w="12700">
            <a:solidFill>
              <a:schemeClr val="tx2"/>
            </a:solidFill>
            <a:round/>
            <a:headEnd/>
            <a:tailEnd/>
          </a:ln>
          <a:effectLst/>
        </p:spPr>
        <p:txBody>
          <a:bodyPr wrap="square" lIns="27432" tIns="18288" rIns="0" bIns="18288" rtlCol="0" anchor="t"/>
          <a:lstStyle/>
          <a:p>
            <a:pPr algn="ctr" defTabSz="914400" eaLnBrk="0" fontAlgn="base" hangingPunct="0">
              <a:spcBef>
                <a:spcPct val="0"/>
              </a:spcBef>
              <a:spcAft>
                <a:spcPct val="0"/>
              </a:spcAft>
            </a:pPr>
            <a:endParaRPr lang="en-US" sz="1000">
              <a:solidFill>
                <a:srgbClr val="323438"/>
              </a:solidFill>
              <a:latin typeface="Ubuntu" panose="020B0504030602030204" pitchFamily="34" charset="0"/>
              <a:ea typeface="Geneva" pitchFamily="1" charset="-128"/>
              <a:cs typeface="Arial" pitchFamily="34" charset="0"/>
            </a:endParaRPr>
          </a:p>
        </p:txBody>
      </p:sp>
      <p:sp>
        <p:nvSpPr>
          <p:cNvPr id="7" name="Oval 6">
            <a:extLst>
              <a:ext uri="{FF2B5EF4-FFF2-40B4-BE49-F238E27FC236}">
                <a16:creationId xmlns:a16="http://schemas.microsoft.com/office/drawing/2014/main" id="{63A7DD3B-A840-7227-0FF4-89E4E83A558F}"/>
              </a:ext>
            </a:extLst>
          </p:cNvPr>
          <p:cNvSpPr/>
          <p:nvPr/>
        </p:nvSpPr>
        <p:spPr bwMode="auto">
          <a:xfrm>
            <a:off x="6041176" y="3591238"/>
            <a:ext cx="108000" cy="108000"/>
          </a:xfrm>
          <a:prstGeom prst="ellipse">
            <a:avLst/>
          </a:prstGeom>
          <a:solidFill>
            <a:schemeClr val="tx2"/>
          </a:solidFill>
          <a:ln w="12700">
            <a:solidFill>
              <a:schemeClr val="tx2"/>
            </a:solidFill>
            <a:round/>
            <a:headEnd/>
            <a:tailEnd/>
          </a:ln>
          <a:effectLst/>
        </p:spPr>
        <p:txBody>
          <a:bodyPr wrap="square" lIns="27432" tIns="18288" rIns="0" bIns="18288" rtlCol="0" anchor="t"/>
          <a:lstStyle/>
          <a:p>
            <a:pPr algn="ctr" defTabSz="914400" eaLnBrk="0" fontAlgn="base" hangingPunct="0">
              <a:spcBef>
                <a:spcPct val="0"/>
              </a:spcBef>
              <a:spcAft>
                <a:spcPct val="0"/>
              </a:spcAft>
            </a:pPr>
            <a:endParaRPr lang="en-US" sz="1000">
              <a:solidFill>
                <a:srgbClr val="323438"/>
              </a:solidFill>
              <a:latin typeface="Ubuntu" panose="020B0504030602030204" pitchFamily="34" charset="0"/>
              <a:ea typeface="Geneva" pitchFamily="1" charset="-128"/>
              <a:cs typeface="Arial" pitchFamily="34" charset="0"/>
            </a:endParaRPr>
          </a:p>
        </p:txBody>
      </p:sp>
      <p:sp>
        <p:nvSpPr>
          <p:cNvPr id="8" name="Oval 7">
            <a:extLst>
              <a:ext uri="{FF2B5EF4-FFF2-40B4-BE49-F238E27FC236}">
                <a16:creationId xmlns:a16="http://schemas.microsoft.com/office/drawing/2014/main" id="{CBBA3D17-B022-2AF8-D267-21F48CD2527F}"/>
              </a:ext>
            </a:extLst>
          </p:cNvPr>
          <p:cNvSpPr/>
          <p:nvPr/>
        </p:nvSpPr>
        <p:spPr bwMode="auto">
          <a:xfrm>
            <a:off x="7207284" y="3591238"/>
            <a:ext cx="108000" cy="108000"/>
          </a:xfrm>
          <a:prstGeom prst="ellipse">
            <a:avLst/>
          </a:prstGeom>
          <a:solidFill>
            <a:schemeClr val="tx2"/>
          </a:solidFill>
          <a:ln w="12700">
            <a:solidFill>
              <a:schemeClr val="tx2"/>
            </a:solidFill>
            <a:round/>
            <a:headEnd/>
            <a:tailEnd/>
          </a:ln>
          <a:effectLst/>
        </p:spPr>
        <p:txBody>
          <a:bodyPr wrap="square" lIns="27432" tIns="18288" rIns="0" bIns="18288" rtlCol="0" anchor="t"/>
          <a:lstStyle/>
          <a:p>
            <a:pPr algn="ctr" defTabSz="914400" eaLnBrk="0" fontAlgn="base" hangingPunct="0">
              <a:spcBef>
                <a:spcPct val="0"/>
              </a:spcBef>
              <a:spcAft>
                <a:spcPct val="0"/>
              </a:spcAft>
            </a:pPr>
            <a:endParaRPr lang="en-US" sz="1000">
              <a:solidFill>
                <a:srgbClr val="323438"/>
              </a:solidFill>
              <a:latin typeface="Ubuntu" panose="020B0504030602030204" pitchFamily="34" charset="0"/>
              <a:ea typeface="Geneva" pitchFamily="1" charset="-128"/>
              <a:cs typeface="Arial" pitchFamily="34" charset="0"/>
            </a:endParaRPr>
          </a:p>
        </p:txBody>
      </p:sp>
      <p:sp>
        <p:nvSpPr>
          <p:cNvPr id="9" name="Oval 8">
            <a:extLst>
              <a:ext uri="{FF2B5EF4-FFF2-40B4-BE49-F238E27FC236}">
                <a16:creationId xmlns:a16="http://schemas.microsoft.com/office/drawing/2014/main" id="{0C2038FA-633F-0A86-21E3-A2CA9462FF59}"/>
              </a:ext>
            </a:extLst>
          </p:cNvPr>
          <p:cNvSpPr/>
          <p:nvPr/>
        </p:nvSpPr>
        <p:spPr bwMode="auto">
          <a:xfrm>
            <a:off x="8373392" y="3591238"/>
            <a:ext cx="108000" cy="108000"/>
          </a:xfrm>
          <a:prstGeom prst="ellipse">
            <a:avLst/>
          </a:prstGeom>
          <a:solidFill>
            <a:schemeClr val="tx2"/>
          </a:solidFill>
          <a:ln w="12700">
            <a:solidFill>
              <a:schemeClr val="tx2"/>
            </a:solidFill>
            <a:round/>
            <a:headEnd/>
            <a:tailEnd/>
          </a:ln>
          <a:effectLst/>
        </p:spPr>
        <p:txBody>
          <a:bodyPr wrap="square" lIns="27432" tIns="18288" rIns="0" bIns="18288" rtlCol="0" anchor="t"/>
          <a:lstStyle/>
          <a:p>
            <a:pPr algn="ctr" defTabSz="914400" eaLnBrk="0" fontAlgn="base" hangingPunct="0">
              <a:spcBef>
                <a:spcPct val="0"/>
              </a:spcBef>
              <a:spcAft>
                <a:spcPct val="0"/>
              </a:spcAft>
            </a:pPr>
            <a:endParaRPr lang="en-US" sz="1000">
              <a:solidFill>
                <a:srgbClr val="323438"/>
              </a:solidFill>
              <a:latin typeface="Ubuntu" panose="020B0504030602030204" pitchFamily="34" charset="0"/>
              <a:ea typeface="Geneva" pitchFamily="1" charset="-128"/>
              <a:cs typeface="Arial" pitchFamily="34" charset="0"/>
            </a:endParaRPr>
          </a:p>
        </p:txBody>
      </p:sp>
      <p:sp>
        <p:nvSpPr>
          <p:cNvPr id="10" name="Oval 9">
            <a:extLst>
              <a:ext uri="{FF2B5EF4-FFF2-40B4-BE49-F238E27FC236}">
                <a16:creationId xmlns:a16="http://schemas.microsoft.com/office/drawing/2014/main" id="{88B3DFC1-F5B9-65AC-FA65-24E686A8A69B}"/>
              </a:ext>
            </a:extLst>
          </p:cNvPr>
          <p:cNvSpPr/>
          <p:nvPr/>
        </p:nvSpPr>
        <p:spPr bwMode="auto">
          <a:xfrm>
            <a:off x="9539500" y="3591238"/>
            <a:ext cx="108000" cy="108000"/>
          </a:xfrm>
          <a:prstGeom prst="ellipse">
            <a:avLst/>
          </a:prstGeom>
          <a:solidFill>
            <a:schemeClr val="tx2"/>
          </a:solidFill>
          <a:ln w="12700">
            <a:solidFill>
              <a:schemeClr val="tx2"/>
            </a:solidFill>
            <a:round/>
            <a:headEnd/>
            <a:tailEnd/>
          </a:ln>
          <a:effectLst/>
        </p:spPr>
        <p:txBody>
          <a:bodyPr wrap="square" lIns="27432" tIns="18288" rIns="0" bIns="18288" rtlCol="0" anchor="t"/>
          <a:lstStyle/>
          <a:p>
            <a:pPr algn="ctr" defTabSz="914400" eaLnBrk="0" fontAlgn="base" hangingPunct="0">
              <a:spcBef>
                <a:spcPct val="0"/>
              </a:spcBef>
              <a:spcAft>
                <a:spcPct val="0"/>
              </a:spcAft>
            </a:pPr>
            <a:endParaRPr lang="en-US" sz="1000">
              <a:solidFill>
                <a:srgbClr val="323438"/>
              </a:solidFill>
              <a:latin typeface="Ubuntu" panose="020B0504030602030204" pitchFamily="34" charset="0"/>
              <a:ea typeface="Geneva" pitchFamily="1" charset="-128"/>
              <a:cs typeface="Arial" pitchFamily="34" charset="0"/>
            </a:endParaRPr>
          </a:p>
        </p:txBody>
      </p:sp>
      <p:sp>
        <p:nvSpPr>
          <p:cNvPr id="11" name="TextBox 10">
            <a:extLst>
              <a:ext uri="{FF2B5EF4-FFF2-40B4-BE49-F238E27FC236}">
                <a16:creationId xmlns:a16="http://schemas.microsoft.com/office/drawing/2014/main" id="{71B8BC0F-E9D7-FD72-9CE3-B01D676E3E3B}"/>
              </a:ext>
            </a:extLst>
          </p:cNvPr>
          <p:cNvSpPr txBox="1"/>
          <p:nvPr/>
        </p:nvSpPr>
        <p:spPr>
          <a:xfrm>
            <a:off x="1484745" y="2338741"/>
            <a:ext cx="1559859" cy="873044"/>
          </a:xfrm>
          <a:prstGeom prst="rect">
            <a:avLst/>
          </a:prstGeom>
          <a:noFill/>
          <a:ln>
            <a:solidFill>
              <a:schemeClr val="tx2"/>
            </a:solidFill>
            <a:prstDash val="dash"/>
          </a:ln>
        </p:spPr>
        <p:txBody>
          <a:bodyPr wrap="square" lIns="27432" tIns="18288" rIns="0" bIns="18288" rtlCol="0" anchor="ctr">
            <a:noAutofit/>
          </a:bodyPr>
          <a:lstStyle/>
          <a:p>
            <a:pPr defTabSz="914400" eaLnBrk="0" fontAlgn="base" hangingPunct="0">
              <a:spcBef>
                <a:spcPct val="0"/>
              </a:spcBef>
              <a:spcAft>
                <a:spcPct val="0"/>
              </a:spcAft>
            </a:pPr>
            <a:r>
              <a:rPr lang="en-US" sz="1000" b="1" err="1">
                <a:solidFill>
                  <a:srgbClr val="959595">
                    <a:lumMod val="50000"/>
                  </a:srgbClr>
                </a:solidFill>
                <a:latin typeface="Ubuntu" panose="020B0504030602030204" pitchFamily="34" charset="0"/>
                <a:ea typeface="Geneva" pitchFamily="1" charset="-128"/>
              </a:rPr>
              <a:t>dd.mm.yyyy</a:t>
            </a:r>
            <a:r>
              <a:rPr lang="en-US" sz="1000" b="1">
                <a:solidFill>
                  <a:srgbClr val="959595">
                    <a:lumMod val="50000"/>
                  </a:srgb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000" i="1">
                <a:solidFill>
                  <a:srgbClr val="959595">
                    <a:lumMod val="50000"/>
                  </a:srgbClr>
                </a:solidFill>
                <a:latin typeface="Ubuntu" panose="020B0504030602030204" pitchFamily="34" charset="0"/>
                <a:ea typeface="Geneva" pitchFamily="1" charset="-128"/>
              </a:rPr>
              <a:t>Lorem ipsum dolor sit </a:t>
            </a:r>
            <a:r>
              <a:rPr lang="en-US" sz="1000" i="1" err="1">
                <a:solidFill>
                  <a:srgbClr val="959595">
                    <a:lumMod val="50000"/>
                  </a:srgbClr>
                </a:solidFill>
                <a:latin typeface="Ubuntu" panose="020B0504030602030204" pitchFamily="34" charset="0"/>
                <a:ea typeface="Geneva" pitchFamily="1" charset="-128"/>
              </a:rPr>
              <a:t>amet</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consectetur</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adipiscing</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elit</a:t>
            </a:r>
            <a:r>
              <a:rPr lang="en-US" sz="1000" i="1">
                <a:solidFill>
                  <a:srgbClr val="959595">
                    <a:lumMod val="50000"/>
                  </a:srgbClr>
                </a:solidFill>
                <a:latin typeface="Ubuntu" panose="020B0504030602030204" pitchFamily="34" charset="0"/>
                <a:ea typeface="Geneva" pitchFamily="1" charset="-128"/>
              </a:rPr>
              <a:t>.</a:t>
            </a:r>
            <a:endParaRPr lang="en-US" sz="1000" b="1">
              <a:solidFill>
                <a:srgbClr val="959595">
                  <a:lumMod val="50000"/>
                </a:srgbClr>
              </a:solidFill>
              <a:latin typeface="Ubuntu" panose="020B0504030602030204" pitchFamily="34" charset="0"/>
              <a:ea typeface="Geneva" pitchFamily="1" charset="-128"/>
            </a:endParaRPr>
          </a:p>
        </p:txBody>
      </p:sp>
      <p:cxnSp>
        <p:nvCxnSpPr>
          <p:cNvPr id="12" name="Straight Connector 11">
            <a:extLst>
              <a:ext uri="{FF2B5EF4-FFF2-40B4-BE49-F238E27FC236}">
                <a16:creationId xmlns:a16="http://schemas.microsoft.com/office/drawing/2014/main" id="{5D3E08C0-5D5A-192A-BB99-9130847E4756}"/>
              </a:ext>
            </a:extLst>
          </p:cNvPr>
          <p:cNvCxnSpPr>
            <a:stCxn id="11" idx="2"/>
            <a:endCxn id="4" idx="0"/>
          </p:cNvCxnSpPr>
          <p:nvPr/>
        </p:nvCxnSpPr>
        <p:spPr>
          <a:xfrm>
            <a:off x="2264674" y="3211786"/>
            <a:ext cx="332178" cy="379453"/>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A7D3819-A38D-0E1F-742A-B81EF4BEF6B9}"/>
              </a:ext>
            </a:extLst>
          </p:cNvPr>
          <p:cNvSpPr txBox="1"/>
          <p:nvPr/>
        </p:nvSpPr>
        <p:spPr>
          <a:xfrm>
            <a:off x="2651094" y="4078691"/>
            <a:ext cx="1559859" cy="873044"/>
          </a:xfrm>
          <a:prstGeom prst="rect">
            <a:avLst/>
          </a:prstGeom>
          <a:noFill/>
          <a:ln>
            <a:solidFill>
              <a:schemeClr val="tx2"/>
            </a:solidFill>
            <a:prstDash val="dash"/>
          </a:ln>
        </p:spPr>
        <p:txBody>
          <a:bodyPr wrap="square" lIns="27432" tIns="18288" rIns="0" bIns="18288" rtlCol="0" anchor="ctr">
            <a:noAutofit/>
          </a:bodyPr>
          <a:lstStyle/>
          <a:p>
            <a:pPr defTabSz="914400" eaLnBrk="0" fontAlgn="base" hangingPunct="0">
              <a:spcBef>
                <a:spcPct val="0"/>
              </a:spcBef>
              <a:spcAft>
                <a:spcPct val="0"/>
              </a:spcAft>
            </a:pPr>
            <a:r>
              <a:rPr lang="en-US" sz="1000" b="1" err="1">
                <a:solidFill>
                  <a:srgbClr val="959595">
                    <a:lumMod val="50000"/>
                  </a:srgbClr>
                </a:solidFill>
                <a:latin typeface="Ubuntu" panose="020B0504030602030204" pitchFamily="34" charset="0"/>
                <a:ea typeface="Geneva" pitchFamily="1" charset="-128"/>
              </a:rPr>
              <a:t>dd.mm.yyyy</a:t>
            </a:r>
            <a:r>
              <a:rPr lang="en-US" sz="1000" b="1">
                <a:solidFill>
                  <a:srgbClr val="959595">
                    <a:lumMod val="50000"/>
                  </a:srgb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000" i="1">
                <a:solidFill>
                  <a:srgbClr val="959595">
                    <a:lumMod val="50000"/>
                  </a:srgbClr>
                </a:solidFill>
                <a:latin typeface="Ubuntu" panose="020B0504030602030204" pitchFamily="34" charset="0"/>
                <a:ea typeface="Geneva" pitchFamily="1" charset="-128"/>
              </a:rPr>
              <a:t>Lorem ipsum dolor sit </a:t>
            </a:r>
            <a:r>
              <a:rPr lang="en-US" sz="1000" i="1" err="1">
                <a:solidFill>
                  <a:srgbClr val="959595">
                    <a:lumMod val="50000"/>
                  </a:srgbClr>
                </a:solidFill>
                <a:latin typeface="Ubuntu" panose="020B0504030602030204" pitchFamily="34" charset="0"/>
                <a:ea typeface="Geneva" pitchFamily="1" charset="-128"/>
              </a:rPr>
              <a:t>amet</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consectetur</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adipiscing</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elit</a:t>
            </a:r>
            <a:r>
              <a:rPr lang="en-US" sz="1000" i="1">
                <a:solidFill>
                  <a:srgbClr val="959595">
                    <a:lumMod val="50000"/>
                  </a:srgbClr>
                </a:solidFill>
                <a:latin typeface="Ubuntu" panose="020B0504030602030204" pitchFamily="34" charset="0"/>
                <a:ea typeface="Geneva" pitchFamily="1" charset="-128"/>
              </a:rPr>
              <a:t>.</a:t>
            </a:r>
            <a:endParaRPr lang="en-US" sz="1000" b="1">
              <a:solidFill>
                <a:srgbClr val="959595">
                  <a:lumMod val="50000"/>
                </a:srgbClr>
              </a:solidFill>
              <a:latin typeface="Ubuntu" panose="020B0504030602030204" pitchFamily="34" charset="0"/>
              <a:ea typeface="Geneva" pitchFamily="1" charset="-128"/>
            </a:endParaRPr>
          </a:p>
        </p:txBody>
      </p:sp>
      <p:cxnSp>
        <p:nvCxnSpPr>
          <p:cNvPr id="14" name="Straight Connector 13">
            <a:extLst>
              <a:ext uri="{FF2B5EF4-FFF2-40B4-BE49-F238E27FC236}">
                <a16:creationId xmlns:a16="http://schemas.microsoft.com/office/drawing/2014/main" id="{3D1B0B07-78A8-3E2F-4FB6-AD139963D22E}"/>
              </a:ext>
            </a:extLst>
          </p:cNvPr>
          <p:cNvCxnSpPr>
            <a:stCxn id="13" idx="0"/>
            <a:endCxn id="5" idx="4"/>
          </p:cNvCxnSpPr>
          <p:nvPr/>
        </p:nvCxnSpPr>
        <p:spPr>
          <a:xfrm flipV="1">
            <a:off x="3431024" y="3699238"/>
            <a:ext cx="331936" cy="379453"/>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1581FB4-2EFD-BC6F-3E69-A1B9F0FF4DC2}"/>
              </a:ext>
            </a:extLst>
          </p:cNvPr>
          <p:cNvSpPr txBox="1"/>
          <p:nvPr/>
        </p:nvSpPr>
        <p:spPr>
          <a:xfrm>
            <a:off x="8482838" y="2338741"/>
            <a:ext cx="1559859" cy="873044"/>
          </a:xfrm>
          <a:prstGeom prst="rect">
            <a:avLst/>
          </a:prstGeom>
          <a:noFill/>
          <a:ln>
            <a:solidFill>
              <a:schemeClr val="tx2"/>
            </a:solidFill>
            <a:prstDash val="dash"/>
          </a:ln>
        </p:spPr>
        <p:txBody>
          <a:bodyPr wrap="square" lIns="27432" tIns="18288" rIns="0" bIns="18288" rtlCol="0" anchor="ctr">
            <a:noAutofit/>
          </a:bodyPr>
          <a:lstStyle/>
          <a:p>
            <a:pPr defTabSz="914400" eaLnBrk="0" fontAlgn="base" hangingPunct="0">
              <a:spcBef>
                <a:spcPct val="0"/>
              </a:spcBef>
              <a:spcAft>
                <a:spcPct val="0"/>
              </a:spcAft>
            </a:pPr>
            <a:r>
              <a:rPr lang="en-US" sz="1000" b="1" err="1">
                <a:solidFill>
                  <a:srgbClr val="959595">
                    <a:lumMod val="50000"/>
                  </a:srgbClr>
                </a:solidFill>
                <a:latin typeface="Ubuntu" panose="020B0504030602030204" pitchFamily="34" charset="0"/>
                <a:ea typeface="Geneva" pitchFamily="1" charset="-128"/>
              </a:rPr>
              <a:t>dd.mm.yyyy</a:t>
            </a:r>
            <a:r>
              <a:rPr lang="en-US" sz="1000" b="1">
                <a:solidFill>
                  <a:srgbClr val="959595">
                    <a:lumMod val="50000"/>
                  </a:srgb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000" i="1">
                <a:solidFill>
                  <a:srgbClr val="959595">
                    <a:lumMod val="50000"/>
                  </a:srgbClr>
                </a:solidFill>
                <a:latin typeface="Ubuntu" panose="020B0504030602030204" pitchFamily="34" charset="0"/>
                <a:ea typeface="Geneva" pitchFamily="1" charset="-128"/>
              </a:rPr>
              <a:t>Lorem ipsum dolor sit </a:t>
            </a:r>
            <a:r>
              <a:rPr lang="en-US" sz="1000" i="1" err="1">
                <a:solidFill>
                  <a:srgbClr val="959595">
                    <a:lumMod val="50000"/>
                  </a:srgbClr>
                </a:solidFill>
                <a:latin typeface="Ubuntu" panose="020B0504030602030204" pitchFamily="34" charset="0"/>
                <a:ea typeface="Geneva" pitchFamily="1" charset="-128"/>
              </a:rPr>
              <a:t>amet</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consectetur</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adipiscing</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elit</a:t>
            </a:r>
            <a:r>
              <a:rPr lang="en-US" sz="1000" i="1">
                <a:solidFill>
                  <a:srgbClr val="959595">
                    <a:lumMod val="50000"/>
                  </a:srgbClr>
                </a:solidFill>
                <a:latin typeface="Ubuntu" panose="020B0504030602030204" pitchFamily="34" charset="0"/>
                <a:ea typeface="Geneva" pitchFamily="1" charset="-128"/>
              </a:rPr>
              <a:t>.</a:t>
            </a:r>
            <a:endParaRPr lang="en-US" sz="1000" b="1">
              <a:solidFill>
                <a:srgbClr val="959595">
                  <a:lumMod val="50000"/>
                </a:srgbClr>
              </a:solidFill>
              <a:latin typeface="Ubuntu" panose="020B0504030602030204" pitchFamily="34" charset="0"/>
              <a:ea typeface="Geneva" pitchFamily="1" charset="-128"/>
            </a:endParaRPr>
          </a:p>
        </p:txBody>
      </p:sp>
      <p:cxnSp>
        <p:nvCxnSpPr>
          <p:cNvPr id="16" name="Straight Connector 15">
            <a:extLst>
              <a:ext uri="{FF2B5EF4-FFF2-40B4-BE49-F238E27FC236}">
                <a16:creationId xmlns:a16="http://schemas.microsoft.com/office/drawing/2014/main" id="{B46077FF-4ED3-B1FA-3790-36FBDBBE9B60}"/>
              </a:ext>
            </a:extLst>
          </p:cNvPr>
          <p:cNvCxnSpPr>
            <a:stCxn id="15" idx="2"/>
            <a:endCxn id="10" idx="0"/>
          </p:cNvCxnSpPr>
          <p:nvPr/>
        </p:nvCxnSpPr>
        <p:spPr>
          <a:xfrm>
            <a:off x="9262768" y="3211786"/>
            <a:ext cx="330733" cy="379453"/>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7BEC21D-C61E-5840-D085-BFC35B4F3621}"/>
              </a:ext>
            </a:extLst>
          </p:cNvPr>
          <p:cNvSpPr txBox="1"/>
          <p:nvPr/>
        </p:nvSpPr>
        <p:spPr>
          <a:xfrm>
            <a:off x="6150141" y="2338741"/>
            <a:ext cx="1559859" cy="873044"/>
          </a:xfrm>
          <a:prstGeom prst="rect">
            <a:avLst/>
          </a:prstGeom>
          <a:noFill/>
          <a:ln>
            <a:solidFill>
              <a:schemeClr val="tx2"/>
            </a:solidFill>
            <a:prstDash val="dash"/>
          </a:ln>
        </p:spPr>
        <p:txBody>
          <a:bodyPr wrap="square" lIns="27432" tIns="18288" rIns="0" bIns="18288" rtlCol="0" anchor="ctr">
            <a:noAutofit/>
          </a:bodyPr>
          <a:lstStyle/>
          <a:p>
            <a:pPr defTabSz="914400" eaLnBrk="0" fontAlgn="base" hangingPunct="0">
              <a:spcBef>
                <a:spcPct val="0"/>
              </a:spcBef>
              <a:spcAft>
                <a:spcPct val="0"/>
              </a:spcAft>
            </a:pPr>
            <a:r>
              <a:rPr lang="en-US" sz="1000" b="1" err="1">
                <a:solidFill>
                  <a:srgbClr val="959595">
                    <a:lumMod val="50000"/>
                  </a:srgbClr>
                </a:solidFill>
                <a:latin typeface="Ubuntu" panose="020B0504030602030204" pitchFamily="34" charset="0"/>
                <a:ea typeface="Geneva" pitchFamily="1" charset="-128"/>
              </a:rPr>
              <a:t>dd.mm.yyyy</a:t>
            </a:r>
            <a:r>
              <a:rPr lang="en-US" sz="1000" b="1">
                <a:solidFill>
                  <a:srgbClr val="959595">
                    <a:lumMod val="50000"/>
                  </a:srgb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000" i="1">
                <a:solidFill>
                  <a:srgbClr val="959595">
                    <a:lumMod val="50000"/>
                  </a:srgbClr>
                </a:solidFill>
                <a:latin typeface="Ubuntu" panose="020B0504030602030204" pitchFamily="34" charset="0"/>
                <a:ea typeface="Geneva" pitchFamily="1" charset="-128"/>
              </a:rPr>
              <a:t>Lorem ipsum dolor sit </a:t>
            </a:r>
            <a:r>
              <a:rPr lang="en-US" sz="1000" i="1" err="1">
                <a:solidFill>
                  <a:srgbClr val="959595">
                    <a:lumMod val="50000"/>
                  </a:srgbClr>
                </a:solidFill>
                <a:latin typeface="Ubuntu" panose="020B0504030602030204" pitchFamily="34" charset="0"/>
                <a:ea typeface="Geneva" pitchFamily="1" charset="-128"/>
              </a:rPr>
              <a:t>amet</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consectetur</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adipiscing</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elit</a:t>
            </a:r>
            <a:r>
              <a:rPr lang="en-US" sz="1000" i="1">
                <a:solidFill>
                  <a:srgbClr val="959595">
                    <a:lumMod val="50000"/>
                  </a:srgbClr>
                </a:solidFill>
                <a:latin typeface="Ubuntu" panose="020B0504030602030204" pitchFamily="34" charset="0"/>
                <a:ea typeface="Geneva" pitchFamily="1" charset="-128"/>
              </a:rPr>
              <a:t>.</a:t>
            </a:r>
            <a:endParaRPr lang="en-US" sz="1000" b="1">
              <a:solidFill>
                <a:srgbClr val="959595">
                  <a:lumMod val="50000"/>
                </a:srgbClr>
              </a:solidFill>
              <a:latin typeface="Ubuntu" panose="020B0504030602030204" pitchFamily="34" charset="0"/>
              <a:ea typeface="Geneva" pitchFamily="1" charset="-128"/>
            </a:endParaRPr>
          </a:p>
        </p:txBody>
      </p:sp>
      <p:cxnSp>
        <p:nvCxnSpPr>
          <p:cNvPr id="18" name="Straight Connector 17">
            <a:extLst>
              <a:ext uri="{FF2B5EF4-FFF2-40B4-BE49-F238E27FC236}">
                <a16:creationId xmlns:a16="http://schemas.microsoft.com/office/drawing/2014/main" id="{F081D0AB-79B7-2750-AE3A-10DD8B0AE452}"/>
              </a:ext>
            </a:extLst>
          </p:cNvPr>
          <p:cNvCxnSpPr>
            <a:stCxn id="17" idx="2"/>
            <a:endCxn id="8" idx="0"/>
          </p:cNvCxnSpPr>
          <p:nvPr/>
        </p:nvCxnSpPr>
        <p:spPr>
          <a:xfrm>
            <a:off x="6930071" y="3211785"/>
            <a:ext cx="331213" cy="379453"/>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043EBD2-64D6-C66C-F2E8-0C72B6D6875E}"/>
              </a:ext>
            </a:extLst>
          </p:cNvPr>
          <p:cNvSpPr txBox="1"/>
          <p:nvPr/>
        </p:nvSpPr>
        <p:spPr>
          <a:xfrm>
            <a:off x="3817443" y="2338741"/>
            <a:ext cx="1559859" cy="873044"/>
          </a:xfrm>
          <a:prstGeom prst="rect">
            <a:avLst/>
          </a:prstGeom>
          <a:noFill/>
          <a:ln>
            <a:solidFill>
              <a:schemeClr val="tx2"/>
            </a:solidFill>
            <a:prstDash val="dash"/>
          </a:ln>
        </p:spPr>
        <p:txBody>
          <a:bodyPr wrap="square" lIns="27432" tIns="18288" rIns="0" bIns="18288" rtlCol="0" anchor="ctr">
            <a:noAutofit/>
          </a:bodyPr>
          <a:lstStyle/>
          <a:p>
            <a:pPr defTabSz="914400" eaLnBrk="0" fontAlgn="base" hangingPunct="0">
              <a:spcBef>
                <a:spcPct val="0"/>
              </a:spcBef>
              <a:spcAft>
                <a:spcPct val="0"/>
              </a:spcAft>
            </a:pPr>
            <a:r>
              <a:rPr lang="en-US" sz="1000" b="1" err="1">
                <a:solidFill>
                  <a:srgbClr val="959595">
                    <a:lumMod val="50000"/>
                  </a:srgbClr>
                </a:solidFill>
                <a:latin typeface="Ubuntu" panose="020B0504030602030204" pitchFamily="34" charset="0"/>
                <a:ea typeface="Geneva" pitchFamily="1" charset="-128"/>
              </a:rPr>
              <a:t>dd.mm.yyyy</a:t>
            </a:r>
            <a:r>
              <a:rPr lang="en-US" sz="1000" b="1">
                <a:solidFill>
                  <a:srgbClr val="959595">
                    <a:lumMod val="50000"/>
                  </a:srgb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000" i="1">
                <a:solidFill>
                  <a:srgbClr val="959595">
                    <a:lumMod val="50000"/>
                  </a:srgbClr>
                </a:solidFill>
                <a:latin typeface="Ubuntu" panose="020B0504030602030204" pitchFamily="34" charset="0"/>
                <a:ea typeface="Geneva" pitchFamily="1" charset="-128"/>
              </a:rPr>
              <a:t>Lorem ipsum dolor sit </a:t>
            </a:r>
            <a:r>
              <a:rPr lang="en-US" sz="1000" i="1" err="1">
                <a:solidFill>
                  <a:srgbClr val="959595">
                    <a:lumMod val="50000"/>
                  </a:srgbClr>
                </a:solidFill>
                <a:latin typeface="Ubuntu" panose="020B0504030602030204" pitchFamily="34" charset="0"/>
                <a:ea typeface="Geneva" pitchFamily="1" charset="-128"/>
              </a:rPr>
              <a:t>amet</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consectetur</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adipiscing</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elit</a:t>
            </a:r>
            <a:r>
              <a:rPr lang="en-US" sz="1000" i="1">
                <a:solidFill>
                  <a:srgbClr val="959595">
                    <a:lumMod val="50000"/>
                  </a:srgbClr>
                </a:solidFill>
                <a:latin typeface="Ubuntu" panose="020B0504030602030204" pitchFamily="34" charset="0"/>
                <a:ea typeface="Geneva" pitchFamily="1" charset="-128"/>
              </a:rPr>
              <a:t>.</a:t>
            </a:r>
            <a:endParaRPr lang="en-US" sz="1000" b="1">
              <a:solidFill>
                <a:srgbClr val="959595">
                  <a:lumMod val="50000"/>
                </a:srgbClr>
              </a:solidFill>
              <a:latin typeface="Ubuntu" panose="020B0504030602030204" pitchFamily="34" charset="0"/>
              <a:ea typeface="Geneva" pitchFamily="1" charset="-128"/>
            </a:endParaRPr>
          </a:p>
        </p:txBody>
      </p:sp>
      <p:cxnSp>
        <p:nvCxnSpPr>
          <p:cNvPr id="20" name="Straight Connector 19">
            <a:extLst>
              <a:ext uri="{FF2B5EF4-FFF2-40B4-BE49-F238E27FC236}">
                <a16:creationId xmlns:a16="http://schemas.microsoft.com/office/drawing/2014/main" id="{78E224BE-FF33-6FA3-7E6C-7E47A6DEF324}"/>
              </a:ext>
            </a:extLst>
          </p:cNvPr>
          <p:cNvCxnSpPr>
            <a:stCxn id="19" idx="2"/>
            <a:endCxn id="6" idx="0"/>
          </p:cNvCxnSpPr>
          <p:nvPr/>
        </p:nvCxnSpPr>
        <p:spPr>
          <a:xfrm>
            <a:off x="4597373" y="3211785"/>
            <a:ext cx="331695" cy="379453"/>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04037DF-AF44-EB62-3C91-09503104BE84}"/>
              </a:ext>
            </a:extLst>
          </p:cNvPr>
          <p:cNvSpPr txBox="1"/>
          <p:nvPr/>
        </p:nvSpPr>
        <p:spPr>
          <a:xfrm>
            <a:off x="4983792" y="4078691"/>
            <a:ext cx="1559859" cy="873044"/>
          </a:xfrm>
          <a:prstGeom prst="rect">
            <a:avLst/>
          </a:prstGeom>
          <a:noFill/>
          <a:ln>
            <a:solidFill>
              <a:schemeClr val="tx2"/>
            </a:solidFill>
            <a:prstDash val="dash"/>
          </a:ln>
        </p:spPr>
        <p:txBody>
          <a:bodyPr wrap="square" lIns="27432" tIns="18288" rIns="0" bIns="18288" rtlCol="0" anchor="ctr">
            <a:noAutofit/>
          </a:bodyPr>
          <a:lstStyle/>
          <a:p>
            <a:pPr defTabSz="914400" eaLnBrk="0" fontAlgn="base" hangingPunct="0">
              <a:spcBef>
                <a:spcPct val="0"/>
              </a:spcBef>
              <a:spcAft>
                <a:spcPct val="0"/>
              </a:spcAft>
            </a:pPr>
            <a:r>
              <a:rPr lang="en-US" sz="1000" b="1" err="1">
                <a:solidFill>
                  <a:srgbClr val="959595">
                    <a:lumMod val="50000"/>
                  </a:srgbClr>
                </a:solidFill>
                <a:latin typeface="Ubuntu" panose="020B0504030602030204" pitchFamily="34" charset="0"/>
                <a:ea typeface="Geneva" pitchFamily="1" charset="-128"/>
              </a:rPr>
              <a:t>dd.mm.yyyy</a:t>
            </a:r>
            <a:r>
              <a:rPr lang="en-US" sz="1000" b="1">
                <a:solidFill>
                  <a:srgbClr val="959595">
                    <a:lumMod val="50000"/>
                  </a:srgb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000" i="1">
                <a:solidFill>
                  <a:srgbClr val="959595">
                    <a:lumMod val="50000"/>
                  </a:srgbClr>
                </a:solidFill>
                <a:latin typeface="Ubuntu" panose="020B0504030602030204" pitchFamily="34" charset="0"/>
                <a:ea typeface="Geneva" pitchFamily="1" charset="-128"/>
              </a:rPr>
              <a:t>Lorem ipsum dolor sit </a:t>
            </a:r>
            <a:r>
              <a:rPr lang="en-US" sz="1000" i="1" err="1">
                <a:solidFill>
                  <a:srgbClr val="959595">
                    <a:lumMod val="50000"/>
                  </a:srgbClr>
                </a:solidFill>
                <a:latin typeface="Ubuntu" panose="020B0504030602030204" pitchFamily="34" charset="0"/>
                <a:ea typeface="Geneva" pitchFamily="1" charset="-128"/>
              </a:rPr>
              <a:t>amet</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consectetur</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adipiscing</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elit</a:t>
            </a:r>
            <a:r>
              <a:rPr lang="en-US" sz="1000" i="1">
                <a:solidFill>
                  <a:srgbClr val="959595">
                    <a:lumMod val="50000"/>
                  </a:srgbClr>
                </a:solidFill>
                <a:latin typeface="Ubuntu" panose="020B0504030602030204" pitchFamily="34" charset="0"/>
                <a:ea typeface="Geneva" pitchFamily="1" charset="-128"/>
              </a:rPr>
              <a:t>.</a:t>
            </a:r>
            <a:endParaRPr lang="en-US" sz="1000" b="1">
              <a:solidFill>
                <a:srgbClr val="959595">
                  <a:lumMod val="50000"/>
                </a:srgbClr>
              </a:solidFill>
              <a:latin typeface="Ubuntu" panose="020B0504030602030204" pitchFamily="34" charset="0"/>
              <a:ea typeface="Geneva" pitchFamily="1" charset="-128"/>
            </a:endParaRPr>
          </a:p>
        </p:txBody>
      </p:sp>
      <p:cxnSp>
        <p:nvCxnSpPr>
          <p:cNvPr id="22" name="Straight Connector 21">
            <a:extLst>
              <a:ext uri="{FF2B5EF4-FFF2-40B4-BE49-F238E27FC236}">
                <a16:creationId xmlns:a16="http://schemas.microsoft.com/office/drawing/2014/main" id="{0C3C09C1-D4CC-460E-9D95-D06F70E6AEB1}"/>
              </a:ext>
            </a:extLst>
          </p:cNvPr>
          <p:cNvCxnSpPr>
            <a:stCxn id="21" idx="0"/>
            <a:endCxn id="7" idx="4"/>
          </p:cNvCxnSpPr>
          <p:nvPr/>
        </p:nvCxnSpPr>
        <p:spPr>
          <a:xfrm flipV="1">
            <a:off x="5763722" y="3699238"/>
            <a:ext cx="331454" cy="379453"/>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D625146-2B97-D0D4-04EE-C80430CB87B6}"/>
              </a:ext>
            </a:extLst>
          </p:cNvPr>
          <p:cNvSpPr txBox="1"/>
          <p:nvPr/>
        </p:nvSpPr>
        <p:spPr>
          <a:xfrm>
            <a:off x="7316490" y="4078691"/>
            <a:ext cx="1559859" cy="873044"/>
          </a:xfrm>
          <a:prstGeom prst="rect">
            <a:avLst/>
          </a:prstGeom>
          <a:noFill/>
          <a:ln>
            <a:solidFill>
              <a:schemeClr val="tx2"/>
            </a:solidFill>
            <a:prstDash val="dash"/>
          </a:ln>
        </p:spPr>
        <p:txBody>
          <a:bodyPr wrap="square" lIns="27432" tIns="18288" rIns="0" bIns="18288" rtlCol="0" anchor="ctr">
            <a:noAutofit/>
          </a:bodyPr>
          <a:lstStyle/>
          <a:p>
            <a:pPr defTabSz="914400" eaLnBrk="0" fontAlgn="base" hangingPunct="0">
              <a:spcBef>
                <a:spcPct val="0"/>
              </a:spcBef>
              <a:spcAft>
                <a:spcPct val="0"/>
              </a:spcAft>
            </a:pPr>
            <a:r>
              <a:rPr lang="en-US" sz="1000" b="1" err="1">
                <a:solidFill>
                  <a:srgbClr val="959595">
                    <a:lumMod val="50000"/>
                  </a:srgbClr>
                </a:solidFill>
                <a:latin typeface="Ubuntu" panose="020B0504030602030204" pitchFamily="34" charset="0"/>
                <a:ea typeface="Geneva" pitchFamily="1" charset="-128"/>
              </a:rPr>
              <a:t>dd.mm.yyyy</a:t>
            </a:r>
            <a:r>
              <a:rPr lang="en-US" sz="1000" b="1">
                <a:solidFill>
                  <a:srgbClr val="959595">
                    <a:lumMod val="50000"/>
                  </a:srgb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000" i="1">
                <a:solidFill>
                  <a:srgbClr val="959595">
                    <a:lumMod val="50000"/>
                  </a:srgbClr>
                </a:solidFill>
                <a:latin typeface="Ubuntu" panose="020B0504030602030204" pitchFamily="34" charset="0"/>
                <a:ea typeface="Geneva" pitchFamily="1" charset="-128"/>
              </a:rPr>
              <a:t>Lorem ipsum dolor sit </a:t>
            </a:r>
            <a:r>
              <a:rPr lang="en-US" sz="1000" i="1" err="1">
                <a:solidFill>
                  <a:srgbClr val="959595">
                    <a:lumMod val="50000"/>
                  </a:srgbClr>
                </a:solidFill>
                <a:latin typeface="Ubuntu" panose="020B0504030602030204" pitchFamily="34" charset="0"/>
                <a:ea typeface="Geneva" pitchFamily="1" charset="-128"/>
              </a:rPr>
              <a:t>amet</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consectetur</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adipiscing</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elit</a:t>
            </a:r>
            <a:r>
              <a:rPr lang="en-US" sz="1000" i="1">
                <a:solidFill>
                  <a:srgbClr val="959595">
                    <a:lumMod val="50000"/>
                  </a:srgbClr>
                </a:solidFill>
                <a:latin typeface="Ubuntu" panose="020B0504030602030204" pitchFamily="34" charset="0"/>
                <a:ea typeface="Geneva" pitchFamily="1" charset="-128"/>
              </a:rPr>
              <a:t>.</a:t>
            </a:r>
            <a:endParaRPr lang="en-US" sz="1000" b="1">
              <a:solidFill>
                <a:srgbClr val="959595">
                  <a:lumMod val="50000"/>
                </a:srgbClr>
              </a:solidFill>
              <a:latin typeface="Ubuntu" panose="020B0504030602030204" pitchFamily="34" charset="0"/>
              <a:ea typeface="Geneva" pitchFamily="1" charset="-128"/>
            </a:endParaRPr>
          </a:p>
        </p:txBody>
      </p:sp>
      <p:cxnSp>
        <p:nvCxnSpPr>
          <p:cNvPr id="24" name="Straight Connector 23">
            <a:extLst>
              <a:ext uri="{FF2B5EF4-FFF2-40B4-BE49-F238E27FC236}">
                <a16:creationId xmlns:a16="http://schemas.microsoft.com/office/drawing/2014/main" id="{717E1A2D-49F6-9E8A-D615-A7B1CDD98D21}"/>
              </a:ext>
            </a:extLst>
          </p:cNvPr>
          <p:cNvCxnSpPr>
            <a:stCxn id="23" idx="0"/>
            <a:endCxn id="9" idx="4"/>
          </p:cNvCxnSpPr>
          <p:nvPr/>
        </p:nvCxnSpPr>
        <p:spPr>
          <a:xfrm flipV="1">
            <a:off x="8096420" y="3699238"/>
            <a:ext cx="330972" cy="379453"/>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3391897"/>
      </p:ext>
    </p:extLst>
  </p:cSld>
  <p:clrMapOvr>
    <a:masterClrMapping/>
  </p:clrMapOvr>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melin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06574-6B1A-038D-2124-2C963711D73D}"/>
              </a:ext>
            </a:extLst>
          </p:cNvPr>
          <p:cNvSpPr>
            <a:spLocks noGrp="1"/>
          </p:cNvSpPr>
          <p:nvPr>
            <p:ph type="title"/>
          </p:nvPr>
        </p:nvSpPr>
        <p:spPr/>
        <p:txBody>
          <a:bodyPr/>
          <a:lstStyle/>
          <a:p>
            <a:r>
              <a:rPr lang="en-US"/>
              <a:t>Click to edit Master title style</a:t>
            </a:r>
          </a:p>
        </p:txBody>
      </p:sp>
      <p:cxnSp>
        <p:nvCxnSpPr>
          <p:cNvPr id="3" name="Straight Arrow Connector 2">
            <a:extLst>
              <a:ext uri="{FF2B5EF4-FFF2-40B4-BE49-F238E27FC236}">
                <a16:creationId xmlns:a16="http://schemas.microsoft.com/office/drawing/2014/main" id="{4DF8A8D8-A5EA-A9D6-3867-74F8E66E5E92}"/>
              </a:ext>
            </a:extLst>
          </p:cNvPr>
          <p:cNvCxnSpPr>
            <a:cxnSpLocks/>
          </p:cNvCxnSpPr>
          <p:nvPr/>
        </p:nvCxnSpPr>
        <p:spPr>
          <a:xfrm>
            <a:off x="1095375" y="3649567"/>
            <a:ext cx="9915525" cy="0"/>
          </a:xfrm>
          <a:prstGeom prst="straightConnector1">
            <a:avLst/>
          </a:prstGeom>
          <a:ln w="28575">
            <a:solidFill>
              <a:schemeClr val="tx2"/>
            </a:solidFill>
            <a:tailEnd type="stealth"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1581FB4-2EFD-BC6F-3E69-A1B9F0FF4DC2}"/>
              </a:ext>
            </a:extLst>
          </p:cNvPr>
          <p:cNvSpPr txBox="1"/>
          <p:nvPr/>
        </p:nvSpPr>
        <p:spPr>
          <a:xfrm>
            <a:off x="9204131" y="2343070"/>
            <a:ext cx="1559859" cy="873044"/>
          </a:xfrm>
          <a:prstGeom prst="rect">
            <a:avLst/>
          </a:prstGeom>
          <a:noFill/>
          <a:ln>
            <a:noFill/>
            <a:prstDash val="dash"/>
          </a:ln>
        </p:spPr>
        <p:txBody>
          <a:bodyPr wrap="square" lIns="108000" tIns="18288" rIns="0" bIns="18288" rtlCol="0" anchor="ctr">
            <a:noAutofit/>
          </a:bodyPr>
          <a:lstStyle/>
          <a:p>
            <a:pPr defTabSz="914400" eaLnBrk="0" fontAlgn="base" hangingPunct="0">
              <a:spcBef>
                <a:spcPct val="0"/>
              </a:spcBef>
              <a:spcAft>
                <a:spcPct val="0"/>
              </a:spcAft>
            </a:pPr>
            <a:r>
              <a:rPr lang="en-US" sz="1000" b="1" err="1">
                <a:solidFill>
                  <a:srgbClr val="959595">
                    <a:lumMod val="50000"/>
                  </a:srgbClr>
                </a:solidFill>
                <a:latin typeface="Ubuntu" panose="020B0504030602030204" pitchFamily="34" charset="0"/>
                <a:ea typeface="Geneva" pitchFamily="1" charset="-128"/>
              </a:rPr>
              <a:t>dd.mm.yyyy</a:t>
            </a:r>
            <a:r>
              <a:rPr lang="en-US" sz="1000" b="1">
                <a:solidFill>
                  <a:srgbClr val="959595">
                    <a:lumMod val="50000"/>
                  </a:srgb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000" i="1">
                <a:solidFill>
                  <a:srgbClr val="959595">
                    <a:lumMod val="50000"/>
                  </a:srgbClr>
                </a:solidFill>
                <a:latin typeface="Ubuntu" panose="020B0504030602030204" pitchFamily="34" charset="0"/>
                <a:ea typeface="Geneva" pitchFamily="1" charset="-128"/>
              </a:rPr>
              <a:t>Lorem ipsum dolor sit </a:t>
            </a:r>
            <a:r>
              <a:rPr lang="en-US" sz="1000" i="1" err="1">
                <a:solidFill>
                  <a:srgbClr val="959595">
                    <a:lumMod val="50000"/>
                  </a:srgbClr>
                </a:solidFill>
                <a:latin typeface="Ubuntu" panose="020B0504030602030204" pitchFamily="34" charset="0"/>
                <a:ea typeface="Geneva" pitchFamily="1" charset="-128"/>
              </a:rPr>
              <a:t>amet</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consectetur</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adipiscing</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elit</a:t>
            </a:r>
            <a:r>
              <a:rPr lang="en-US" sz="1000" i="1">
                <a:solidFill>
                  <a:srgbClr val="959595">
                    <a:lumMod val="50000"/>
                  </a:srgbClr>
                </a:solidFill>
                <a:latin typeface="Ubuntu" panose="020B0504030602030204" pitchFamily="34" charset="0"/>
                <a:ea typeface="Geneva" pitchFamily="1" charset="-128"/>
              </a:rPr>
              <a:t>.</a:t>
            </a:r>
            <a:endParaRPr lang="en-US" sz="1000" b="1">
              <a:solidFill>
                <a:srgbClr val="959595">
                  <a:lumMod val="50000"/>
                </a:srgbClr>
              </a:solidFill>
              <a:latin typeface="Ubuntu" panose="020B0504030602030204" pitchFamily="34" charset="0"/>
              <a:ea typeface="Geneva" pitchFamily="1" charset="-128"/>
            </a:endParaRPr>
          </a:p>
        </p:txBody>
      </p:sp>
      <p:grpSp>
        <p:nvGrpSpPr>
          <p:cNvPr id="37" name="Group 36">
            <a:extLst>
              <a:ext uri="{FF2B5EF4-FFF2-40B4-BE49-F238E27FC236}">
                <a16:creationId xmlns:a16="http://schemas.microsoft.com/office/drawing/2014/main" id="{18220CB8-3468-BA40-D967-46B89DB36FD2}"/>
              </a:ext>
            </a:extLst>
          </p:cNvPr>
          <p:cNvGrpSpPr/>
          <p:nvPr/>
        </p:nvGrpSpPr>
        <p:grpSpPr>
          <a:xfrm>
            <a:off x="9150131" y="2343070"/>
            <a:ext cx="108000" cy="1360497"/>
            <a:chOff x="9502556" y="2098596"/>
            <a:chExt cx="108000" cy="1360497"/>
          </a:xfrm>
        </p:grpSpPr>
        <p:sp>
          <p:nvSpPr>
            <p:cNvPr id="10" name="Oval 9">
              <a:extLst>
                <a:ext uri="{FF2B5EF4-FFF2-40B4-BE49-F238E27FC236}">
                  <a16:creationId xmlns:a16="http://schemas.microsoft.com/office/drawing/2014/main" id="{88B3DFC1-F5B9-65AC-FA65-24E686A8A69B}"/>
                </a:ext>
              </a:extLst>
            </p:cNvPr>
            <p:cNvSpPr/>
            <p:nvPr/>
          </p:nvSpPr>
          <p:spPr bwMode="auto">
            <a:xfrm>
              <a:off x="9502556" y="3351093"/>
              <a:ext cx="108000" cy="108000"/>
            </a:xfrm>
            <a:prstGeom prst="ellipse">
              <a:avLst/>
            </a:prstGeom>
            <a:solidFill>
              <a:schemeClr val="bg1"/>
            </a:solidFill>
            <a:ln w="28575">
              <a:solidFill>
                <a:srgbClr val="44546A"/>
              </a:solidFill>
              <a:round/>
              <a:headEnd/>
              <a:tailEnd/>
            </a:ln>
            <a:effectLst/>
          </p:spPr>
          <p:txBody>
            <a:bodyPr wrap="square" lIns="27432" tIns="18288" rIns="0" bIns="18288" rtlCol="0" anchor="t"/>
            <a:lstStyle/>
            <a:p>
              <a:pPr algn="ctr" defTabSz="914400" eaLnBrk="0" fontAlgn="base" hangingPunct="0">
                <a:spcBef>
                  <a:spcPct val="0"/>
                </a:spcBef>
                <a:spcAft>
                  <a:spcPct val="0"/>
                </a:spcAft>
              </a:pPr>
              <a:endParaRPr lang="en-US" sz="1000">
                <a:solidFill>
                  <a:srgbClr val="323438"/>
                </a:solidFill>
                <a:latin typeface="Ubuntu" panose="020B0504030602030204" pitchFamily="34" charset="0"/>
                <a:ea typeface="Geneva" pitchFamily="1" charset="-128"/>
                <a:cs typeface="Arial" pitchFamily="34" charset="0"/>
              </a:endParaRPr>
            </a:p>
          </p:txBody>
        </p:sp>
        <p:cxnSp>
          <p:nvCxnSpPr>
            <p:cNvPr id="16" name="Straight Connector 15">
              <a:extLst>
                <a:ext uri="{FF2B5EF4-FFF2-40B4-BE49-F238E27FC236}">
                  <a16:creationId xmlns:a16="http://schemas.microsoft.com/office/drawing/2014/main" id="{B46077FF-4ED3-B1FA-3790-36FBDBBE9B60}"/>
                </a:ext>
              </a:extLst>
            </p:cNvPr>
            <p:cNvCxnSpPr>
              <a:cxnSpLocks/>
            </p:cNvCxnSpPr>
            <p:nvPr/>
          </p:nvCxnSpPr>
          <p:spPr>
            <a:xfrm>
              <a:off x="9556556" y="2098596"/>
              <a:ext cx="0" cy="1252497"/>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93F7FB52-9696-8ECA-621F-66A285392E97}"/>
              </a:ext>
            </a:extLst>
          </p:cNvPr>
          <p:cNvGrpSpPr/>
          <p:nvPr/>
        </p:nvGrpSpPr>
        <p:grpSpPr>
          <a:xfrm rot="10800000">
            <a:off x="7832192" y="3595567"/>
            <a:ext cx="108000" cy="1360497"/>
            <a:chOff x="9502556" y="2098596"/>
            <a:chExt cx="108000" cy="1360497"/>
          </a:xfrm>
        </p:grpSpPr>
        <p:sp>
          <p:nvSpPr>
            <p:cNvPr id="39" name="Oval 38">
              <a:extLst>
                <a:ext uri="{FF2B5EF4-FFF2-40B4-BE49-F238E27FC236}">
                  <a16:creationId xmlns:a16="http://schemas.microsoft.com/office/drawing/2014/main" id="{841EB94C-3D9C-EB7E-C2FE-DB48A6D110E7}"/>
                </a:ext>
              </a:extLst>
            </p:cNvPr>
            <p:cNvSpPr/>
            <p:nvPr/>
          </p:nvSpPr>
          <p:spPr bwMode="auto">
            <a:xfrm>
              <a:off x="9502556" y="3351093"/>
              <a:ext cx="108000" cy="108000"/>
            </a:xfrm>
            <a:prstGeom prst="ellipse">
              <a:avLst/>
            </a:prstGeom>
            <a:solidFill>
              <a:schemeClr val="bg1"/>
            </a:solidFill>
            <a:ln w="28575">
              <a:solidFill>
                <a:srgbClr val="44546A"/>
              </a:solidFill>
              <a:round/>
              <a:headEnd/>
              <a:tailEnd/>
            </a:ln>
            <a:effectLst/>
          </p:spPr>
          <p:txBody>
            <a:bodyPr wrap="square" lIns="27432" tIns="18288" rIns="0" bIns="18288" rtlCol="0" anchor="t"/>
            <a:lstStyle/>
            <a:p>
              <a:pPr algn="ctr" defTabSz="914400" eaLnBrk="0" fontAlgn="base" hangingPunct="0">
                <a:spcBef>
                  <a:spcPct val="0"/>
                </a:spcBef>
                <a:spcAft>
                  <a:spcPct val="0"/>
                </a:spcAft>
              </a:pPr>
              <a:endParaRPr lang="en-US" sz="1000">
                <a:solidFill>
                  <a:srgbClr val="323438"/>
                </a:solidFill>
                <a:latin typeface="Ubuntu" panose="020B0504030602030204" pitchFamily="34" charset="0"/>
                <a:ea typeface="Geneva" pitchFamily="1" charset="-128"/>
                <a:cs typeface="Arial" pitchFamily="34" charset="0"/>
              </a:endParaRPr>
            </a:p>
          </p:txBody>
        </p:sp>
        <p:cxnSp>
          <p:nvCxnSpPr>
            <p:cNvPr id="40" name="Straight Connector 39">
              <a:extLst>
                <a:ext uri="{FF2B5EF4-FFF2-40B4-BE49-F238E27FC236}">
                  <a16:creationId xmlns:a16="http://schemas.microsoft.com/office/drawing/2014/main" id="{ACA208B7-1B0D-B99A-9D85-BE1C3974B948}"/>
                </a:ext>
              </a:extLst>
            </p:cNvPr>
            <p:cNvCxnSpPr>
              <a:cxnSpLocks/>
            </p:cNvCxnSpPr>
            <p:nvPr/>
          </p:nvCxnSpPr>
          <p:spPr>
            <a:xfrm>
              <a:off x="9556556" y="2098596"/>
              <a:ext cx="0" cy="1252497"/>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60F717E6-CF58-6222-B999-E9F2ED00E802}"/>
              </a:ext>
            </a:extLst>
          </p:cNvPr>
          <p:cNvGrpSpPr/>
          <p:nvPr/>
        </p:nvGrpSpPr>
        <p:grpSpPr>
          <a:xfrm>
            <a:off x="6514255" y="2343070"/>
            <a:ext cx="108000" cy="1360497"/>
            <a:chOff x="9502556" y="2098596"/>
            <a:chExt cx="108000" cy="1360497"/>
          </a:xfrm>
        </p:grpSpPr>
        <p:sp>
          <p:nvSpPr>
            <p:cNvPr id="42" name="Oval 41">
              <a:extLst>
                <a:ext uri="{FF2B5EF4-FFF2-40B4-BE49-F238E27FC236}">
                  <a16:creationId xmlns:a16="http://schemas.microsoft.com/office/drawing/2014/main" id="{2E249DF3-BB13-B7A4-1D25-FFC869A5D25A}"/>
                </a:ext>
              </a:extLst>
            </p:cNvPr>
            <p:cNvSpPr/>
            <p:nvPr/>
          </p:nvSpPr>
          <p:spPr bwMode="auto">
            <a:xfrm>
              <a:off x="9502556" y="3351093"/>
              <a:ext cx="108000" cy="108000"/>
            </a:xfrm>
            <a:prstGeom prst="ellipse">
              <a:avLst/>
            </a:prstGeom>
            <a:solidFill>
              <a:schemeClr val="bg1"/>
            </a:solidFill>
            <a:ln w="28575">
              <a:solidFill>
                <a:srgbClr val="44546A"/>
              </a:solidFill>
              <a:round/>
              <a:headEnd/>
              <a:tailEnd/>
            </a:ln>
            <a:effectLst/>
          </p:spPr>
          <p:txBody>
            <a:bodyPr wrap="square" lIns="27432" tIns="18288" rIns="0" bIns="18288" rtlCol="0" anchor="t"/>
            <a:lstStyle/>
            <a:p>
              <a:pPr algn="ctr" defTabSz="914400" eaLnBrk="0" fontAlgn="base" hangingPunct="0">
                <a:spcBef>
                  <a:spcPct val="0"/>
                </a:spcBef>
                <a:spcAft>
                  <a:spcPct val="0"/>
                </a:spcAft>
              </a:pPr>
              <a:endParaRPr lang="en-US" sz="1000">
                <a:solidFill>
                  <a:srgbClr val="323438"/>
                </a:solidFill>
                <a:latin typeface="Ubuntu" panose="020B0504030602030204" pitchFamily="34" charset="0"/>
                <a:ea typeface="Geneva" pitchFamily="1" charset="-128"/>
                <a:cs typeface="Arial" pitchFamily="34" charset="0"/>
              </a:endParaRPr>
            </a:p>
          </p:txBody>
        </p:sp>
        <p:cxnSp>
          <p:nvCxnSpPr>
            <p:cNvPr id="43" name="Straight Connector 42">
              <a:extLst>
                <a:ext uri="{FF2B5EF4-FFF2-40B4-BE49-F238E27FC236}">
                  <a16:creationId xmlns:a16="http://schemas.microsoft.com/office/drawing/2014/main" id="{EE164786-E424-C7CE-8C55-BC3F9C23CA40}"/>
                </a:ext>
              </a:extLst>
            </p:cNvPr>
            <p:cNvCxnSpPr>
              <a:cxnSpLocks/>
            </p:cNvCxnSpPr>
            <p:nvPr/>
          </p:nvCxnSpPr>
          <p:spPr>
            <a:xfrm>
              <a:off x="9556556" y="2098596"/>
              <a:ext cx="0" cy="1252497"/>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AC5A30C6-0675-3AFF-0D85-7F5A21A75996}"/>
              </a:ext>
            </a:extLst>
          </p:cNvPr>
          <p:cNvGrpSpPr/>
          <p:nvPr/>
        </p:nvGrpSpPr>
        <p:grpSpPr>
          <a:xfrm rot="10800000">
            <a:off x="5196318" y="3595567"/>
            <a:ext cx="108000" cy="1360497"/>
            <a:chOff x="9502556" y="2098596"/>
            <a:chExt cx="108000" cy="1360497"/>
          </a:xfrm>
        </p:grpSpPr>
        <p:sp>
          <p:nvSpPr>
            <p:cNvPr id="45" name="Oval 44">
              <a:extLst>
                <a:ext uri="{FF2B5EF4-FFF2-40B4-BE49-F238E27FC236}">
                  <a16:creationId xmlns:a16="http://schemas.microsoft.com/office/drawing/2014/main" id="{A166E87A-8796-46DE-518D-5A109DCCD24C}"/>
                </a:ext>
              </a:extLst>
            </p:cNvPr>
            <p:cNvSpPr/>
            <p:nvPr/>
          </p:nvSpPr>
          <p:spPr bwMode="auto">
            <a:xfrm>
              <a:off x="9502556" y="3351093"/>
              <a:ext cx="108000" cy="108000"/>
            </a:xfrm>
            <a:prstGeom prst="ellipse">
              <a:avLst/>
            </a:prstGeom>
            <a:solidFill>
              <a:schemeClr val="bg1"/>
            </a:solidFill>
            <a:ln w="28575">
              <a:solidFill>
                <a:srgbClr val="44546A"/>
              </a:solidFill>
              <a:round/>
              <a:headEnd/>
              <a:tailEnd/>
            </a:ln>
            <a:effectLst/>
          </p:spPr>
          <p:txBody>
            <a:bodyPr wrap="square" lIns="27432" tIns="18288" rIns="0" bIns="18288" rtlCol="0" anchor="t"/>
            <a:lstStyle/>
            <a:p>
              <a:pPr algn="ctr" defTabSz="914400" eaLnBrk="0" fontAlgn="base" hangingPunct="0">
                <a:spcBef>
                  <a:spcPct val="0"/>
                </a:spcBef>
                <a:spcAft>
                  <a:spcPct val="0"/>
                </a:spcAft>
              </a:pPr>
              <a:endParaRPr lang="en-US" sz="1000">
                <a:solidFill>
                  <a:srgbClr val="323438"/>
                </a:solidFill>
                <a:latin typeface="Ubuntu" panose="020B0504030602030204" pitchFamily="34" charset="0"/>
                <a:ea typeface="Geneva" pitchFamily="1" charset="-128"/>
                <a:cs typeface="Arial" pitchFamily="34" charset="0"/>
              </a:endParaRPr>
            </a:p>
          </p:txBody>
        </p:sp>
        <p:cxnSp>
          <p:nvCxnSpPr>
            <p:cNvPr id="46" name="Straight Connector 45">
              <a:extLst>
                <a:ext uri="{FF2B5EF4-FFF2-40B4-BE49-F238E27FC236}">
                  <a16:creationId xmlns:a16="http://schemas.microsoft.com/office/drawing/2014/main" id="{B36BC640-B855-3CAC-D2B1-8CE9240315C5}"/>
                </a:ext>
              </a:extLst>
            </p:cNvPr>
            <p:cNvCxnSpPr>
              <a:cxnSpLocks/>
            </p:cNvCxnSpPr>
            <p:nvPr/>
          </p:nvCxnSpPr>
          <p:spPr>
            <a:xfrm>
              <a:off x="9556556" y="2098596"/>
              <a:ext cx="0" cy="1252497"/>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46A69A46-CB30-D25D-0275-77260EDF5E15}"/>
              </a:ext>
            </a:extLst>
          </p:cNvPr>
          <p:cNvGrpSpPr/>
          <p:nvPr/>
        </p:nvGrpSpPr>
        <p:grpSpPr>
          <a:xfrm>
            <a:off x="3878381" y="2343070"/>
            <a:ext cx="108000" cy="1360497"/>
            <a:chOff x="9502556" y="2098596"/>
            <a:chExt cx="108000" cy="1360497"/>
          </a:xfrm>
        </p:grpSpPr>
        <p:sp>
          <p:nvSpPr>
            <p:cNvPr id="48" name="Oval 47">
              <a:extLst>
                <a:ext uri="{FF2B5EF4-FFF2-40B4-BE49-F238E27FC236}">
                  <a16:creationId xmlns:a16="http://schemas.microsoft.com/office/drawing/2014/main" id="{E3F6A13E-F14D-00A2-D820-13E5A8B8A223}"/>
                </a:ext>
              </a:extLst>
            </p:cNvPr>
            <p:cNvSpPr/>
            <p:nvPr/>
          </p:nvSpPr>
          <p:spPr bwMode="auto">
            <a:xfrm>
              <a:off x="9502556" y="3351093"/>
              <a:ext cx="108000" cy="108000"/>
            </a:xfrm>
            <a:prstGeom prst="ellipse">
              <a:avLst/>
            </a:prstGeom>
            <a:solidFill>
              <a:schemeClr val="bg1"/>
            </a:solidFill>
            <a:ln w="28575">
              <a:solidFill>
                <a:srgbClr val="44546A"/>
              </a:solidFill>
              <a:round/>
              <a:headEnd/>
              <a:tailEnd/>
            </a:ln>
            <a:effectLst/>
          </p:spPr>
          <p:txBody>
            <a:bodyPr wrap="square" lIns="27432" tIns="18288" rIns="0" bIns="18288" rtlCol="0" anchor="t"/>
            <a:lstStyle/>
            <a:p>
              <a:pPr algn="ctr" defTabSz="914400" eaLnBrk="0" fontAlgn="base" hangingPunct="0">
                <a:spcBef>
                  <a:spcPct val="0"/>
                </a:spcBef>
                <a:spcAft>
                  <a:spcPct val="0"/>
                </a:spcAft>
              </a:pPr>
              <a:endParaRPr lang="en-US" sz="1000">
                <a:solidFill>
                  <a:srgbClr val="323438"/>
                </a:solidFill>
                <a:latin typeface="Ubuntu" panose="020B0504030602030204" pitchFamily="34" charset="0"/>
                <a:ea typeface="Geneva" pitchFamily="1" charset="-128"/>
                <a:cs typeface="Arial" pitchFamily="34" charset="0"/>
              </a:endParaRPr>
            </a:p>
          </p:txBody>
        </p:sp>
        <p:cxnSp>
          <p:nvCxnSpPr>
            <p:cNvPr id="49" name="Straight Connector 48">
              <a:extLst>
                <a:ext uri="{FF2B5EF4-FFF2-40B4-BE49-F238E27FC236}">
                  <a16:creationId xmlns:a16="http://schemas.microsoft.com/office/drawing/2014/main" id="{1E40C42F-E72C-3296-2187-920B68E3C421}"/>
                </a:ext>
              </a:extLst>
            </p:cNvPr>
            <p:cNvCxnSpPr>
              <a:cxnSpLocks/>
            </p:cNvCxnSpPr>
            <p:nvPr/>
          </p:nvCxnSpPr>
          <p:spPr>
            <a:xfrm>
              <a:off x="9556556" y="2098596"/>
              <a:ext cx="0" cy="1252497"/>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E1F18F9F-72AA-DE85-2F34-009E13A9C2E0}"/>
              </a:ext>
            </a:extLst>
          </p:cNvPr>
          <p:cNvGrpSpPr/>
          <p:nvPr/>
        </p:nvGrpSpPr>
        <p:grpSpPr>
          <a:xfrm rot="10800000">
            <a:off x="2560444" y="3595567"/>
            <a:ext cx="108000" cy="1360497"/>
            <a:chOff x="9502556" y="2098596"/>
            <a:chExt cx="108000" cy="1360497"/>
          </a:xfrm>
        </p:grpSpPr>
        <p:sp>
          <p:nvSpPr>
            <p:cNvPr id="51" name="Oval 50">
              <a:extLst>
                <a:ext uri="{FF2B5EF4-FFF2-40B4-BE49-F238E27FC236}">
                  <a16:creationId xmlns:a16="http://schemas.microsoft.com/office/drawing/2014/main" id="{6966FEEA-E291-4F91-227A-87EF60260CE9}"/>
                </a:ext>
              </a:extLst>
            </p:cNvPr>
            <p:cNvSpPr/>
            <p:nvPr/>
          </p:nvSpPr>
          <p:spPr bwMode="auto">
            <a:xfrm>
              <a:off x="9502556" y="3351093"/>
              <a:ext cx="108000" cy="108000"/>
            </a:xfrm>
            <a:prstGeom prst="ellipse">
              <a:avLst/>
            </a:prstGeom>
            <a:solidFill>
              <a:schemeClr val="bg1"/>
            </a:solidFill>
            <a:ln w="28575">
              <a:solidFill>
                <a:srgbClr val="44546A"/>
              </a:solidFill>
              <a:round/>
              <a:headEnd/>
              <a:tailEnd/>
            </a:ln>
            <a:effectLst/>
          </p:spPr>
          <p:txBody>
            <a:bodyPr wrap="square" lIns="27432" tIns="18288" rIns="0" bIns="18288" rtlCol="0" anchor="t"/>
            <a:lstStyle/>
            <a:p>
              <a:pPr algn="ctr" defTabSz="914400" eaLnBrk="0" fontAlgn="base" hangingPunct="0">
                <a:spcBef>
                  <a:spcPct val="0"/>
                </a:spcBef>
                <a:spcAft>
                  <a:spcPct val="0"/>
                </a:spcAft>
              </a:pPr>
              <a:endParaRPr lang="en-US" sz="1000">
                <a:solidFill>
                  <a:srgbClr val="323438"/>
                </a:solidFill>
                <a:latin typeface="Ubuntu" panose="020B0504030602030204" pitchFamily="34" charset="0"/>
                <a:ea typeface="Geneva" pitchFamily="1" charset="-128"/>
                <a:cs typeface="Arial" pitchFamily="34" charset="0"/>
              </a:endParaRPr>
            </a:p>
          </p:txBody>
        </p:sp>
        <p:cxnSp>
          <p:nvCxnSpPr>
            <p:cNvPr id="52" name="Straight Connector 51">
              <a:extLst>
                <a:ext uri="{FF2B5EF4-FFF2-40B4-BE49-F238E27FC236}">
                  <a16:creationId xmlns:a16="http://schemas.microsoft.com/office/drawing/2014/main" id="{FD206C75-8780-C1B8-1CC4-9ABFB0D9BD00}"/>
                </a:ext>
              </a:extLst>
            </p:cNvPr>
            <p:cNvCxnSpPr>
              <a:cxnSpLocks/>
            </p:cNvCxnSpPr>
            <p:nvPr/>
          </p:nvCxnSpPr>
          <p:spPr>
            <a:xfrm>
              <a:off x="9556556" y="2098596"/>
              <a:ext cx="0" cy="1252497"/>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864A1696-B8B2-BBD4-F7E9-25462B46271E}"/>
              </a:ext>
            </a:extLst>
          </p:cNvPr>
          <p:cNvGrpSpPr/>
          <p:nvPr/>
        </p:nvGrpSpPr>
        <p:grpSpPr>
          <a:xfrm>
            <a:off x="1242507" y="2343070"/>
            <a:ext cx="108000" cy="1360497"/>
            <a:chOff x="9502556" y="2098596"/>
            <a:chExt cx="108000" cy="1360497"/>
          </a:xfrm>
        </p:grpSpPr>
        <p:sp>
          <p:nvSpPr>
            <p:cNvPr id="54" name="Oval 53">
              <a:extLst>
                <a:ext uri="{FF2B5EF4-FFF2-40B4-BE49-F238E27FC236}">
                  <a16:creationId xmlns:a16="http://schemas.microsoft.com/office/drawing/2014/main" id="{806B1E3E-4506-1CF3-154D-3A09DA987FE1}"/>
                </a:ext>
              </a:extLst>
            </p:cNvPr>
            <p:cNvSpPr/>
            <p:nvPr/>
          </p:nvSpPr>
          <p:spPr bwMode="auto">
            <a:xfrm>
              <a:off x="9502556" y="3351093"/>
              <a:ext cx="108000" cy="108000"/>
            </a:xfrm>
            <a:prstGeom prst="ellipse">
              <a:avLst/>
            </a:prstGeom>
            <a:solidFill>
              <a:schemeClr val="bg1"/>
            </a:solidFill>
            <a:ln w="28575">
              <a:solidFill>
                <a:srgbClr val="44546A"/>
              </a:solidFill>
              <a:round/>
              <a:headEnd/>
              <a:tailEnd/>
            </a:ln>
            <a:effectLst/>
          </p:spPr>
          <p:txBody>
            <a:bodyPr wrap="square" lIns="27432" tIns="18288" rIns="0" bIns="18288" rtlCol="0" anchor="t"/>
            <a:lstStyle/>
            <a:p>
              <a:pPr algn="ctr" defTabSz="914400" eaLnBrk="0" fontAlgn="base" hangingPunct="0">
                <a:spcBef>
                  <a:spcPct val="0"/>
                </a:spcBef>
                <a:spcAft>
                  <a:spcPct val="0"/>
                </a:spcAft>
              </a:pPr>
              <a:endParaRPr lang="en-US" sz="1000">
                <a:solidFill>
                  <a:srgbClr val="323438"/>
                </a:solidFill>
                <a:latin typeface="Ubuntu" panose="020B0504030602030204" pitchFamily="34" charset="0"/>
                <a:ea typeface="Geneva" pitchFamily="1" charset="-128"/>
                <a:cs typeface="Arial" pitchFamily="34" charset="0"/>
              </a:endParaRPr>
            </a:p>
          </p:txBody>
        </p:sp>
        <p:cxnSp>
          <p:nvCxnSpPr>
            <p:cNvPr id="55" name="Straight Connector 54">
              <a:extLst>
                <a:ext uri="{FF2B5EF4-FFF2-40B4-BE49-F238E27FC236}">
                  <a16:creationId xmlns:a16="http://schemas.microsoft.com/office/drawing/2014/main" id="{EF22CC4D-60D6-5527-AAFF-8E0136759E10}"/>
                </a:ext>
              </a:extLst>
            </p:cNvPr>
            <p:cNvCxnSpPr>
              <a:cxnSpLocks/>
            </p:cNvCxnSpPr>
            <p:nvPr/>
          </p:nvCxnSpPr>
          <p:spPr>
            <a:xfrm>
              <a:off x="9556556" y="2098596"/>
              <a:ext cx="0" cy="1252497"/>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grpSp>
      <p:sp>
        <p:nvSpPr>
          <p:cNvPr id="56" name="TextBox 55">
            <a:extLst>
              <a:ext uri="{FF2B5EF4-FFF2-40B4-BE49-F238E27FC236}">
                <a16:creationId xmlns:a16="http://schemas.microsoft.com/office/drawing/2014/main" id="{93D2B27D-67CC-3568-4D8E-022244C0E972}"/>
              </a:ext>
            </a:extLst>
          </p:cNvPr>
          <p:cNvSpPr txBox="1"/>
          <p:nvPr/>
        </p:nvSpPr>
        <p:spPr>
          <a:xfrm>
            <a:off x="6568255" y="2343070"/>
            <a:ext cx="1559859" cy="873044"/>
          </a:xfrm>
          <a:prstGeom prst="rect">
            <a:avLst/>
          </a:prstGeom>
          <a:noFill/>
          <a:ln>
            <a:noFill/>
            <a:prstDash val="dash"/>
          </a:ln>
        </p:spPr>
        <p:txBody>
          <a:bodyPr wrap="square" lIns="108000" tIns="18288" rIns="0" bIns="18288" rtlCol="0" anchor="ctr">
            <a:noAutofit/>
          </a:bodyPr>
          <a:lstStyle/>
          <a:p>
            <a:pPr defTabSz="914400" eaLnBrk="0" fontAlgn="base" hangingPunct="0">
              <a:spcBef>
                <a:spcPct val="0"/>
              </a:spcBef>
              <a:spcAft>
                <a:spcPct val="0"/>
              </a:spcAft>
            </a:pPr>
            <a:r>
              <a:rPr lang="en-US" sz="1000" b="1" err="1">
                <a:solidFill>
                  <a:srgbClr val="959595">
                    <a:lumMod val="50000"/>
                  </a:srgbClr>
                </a:solidFill>
                <a:latin typeface="Ubuntu" panose="020B0504030602030204" pitchFamily="34" charset="0"/>
                <a:ea typeface="Geneva" pitchFamily="1" charset="-128"/>
              </a:rPr>
              <a:t>dd.mm.yyyy</a:t>
            </a:r>
            <a:r>
              <a:rPr lang="en-US" sz="1000" b="1">
                <a:solidFill>
                  <a:srgbClr val="959595">
                    <a:lumMod val="50000"/>
                  </a:srgb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000" i="1">
                <a:solidFill>
                  <a:srgbClr val="959595">
                    <a:lumMod val="50000"/>
                  </a:srgbClr>
                </a:solidFill>
                <a:latin typeface="Ubuntu" panose="020B0504030602030204" pitchFamily="34" charset="0"/>
                <a:ea typeface="Geneva" pitchFamily="1" charset="-128"/>
              </a:rPr>
              <a:t>Lorem ipsum dolor sit </a:t>
            </a:r>
            <a:r>
              <a:rPr lang="en-US" sz="1000" i="1" err="1">
                <a:solidFill>
                  <a:srgbClr val="959595">
                    <a:lumMod val="50000"/>
                  </a:srgbClr>
                </a:solidFill>
                <a:latin typeface="Ubuntu" panose="020B0504030602030204" pitchFamily="34" charset="0"/>
                <a:ea typeface="Geneva" pitchFamily="1" charset="-128"/>
              </a:rPr>
              <a:t>amet</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consectetur</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adipiscing</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elit</a:t>
            </a:r>
            <a:r>
              <a:rPr lang="en-US" sz="1000" i="1">
                <a:solidFill>
                  <a:srgbClr val="959595">
                    <a:lumMod val="50000"/>
                  </a:srgbClr>
                </a:solidFill>
                <a:latin typeface="Ubuntu" panose="020B0504030602030204" pitchFamily="34" charset="0"/>
                <a:ea typeface="Geneva" pitchFamily="1" charset="-128"/>
              </a:rPr>
              <a:t>.</a:t>
            </a:r>
            <a:endParaRPr lang="en-US" sz="1000" b="1">
              <a:solidFill>
                <a:srgbClr val="959595">
                  <a:lumMod val="50000"/>
                </a:srgbClr>
              </a:solidFill>
              <a:latin typeface="Ubuntu" panose="020B0504030602030204" pitchFamily="34" charset="0"/>
              <a:ea typeface="Geneva" pitchFamily="1" charset="-128"/>
            </a:endParaRPr>
          </a:p>
        </p:txBody>
      </p:sp>
      <p:sp>
        <p:nvSpPr>
          <p:cNvPr id="57" name="TextBox 56">
            <a:extLst>
              <a:ext uri="{FF2B5EF4-FFF2-40B4-BE49-F238E27FC236}">
                <a16:creationId xmlns:a16="http://schemas.microsoft.com/office/drawing/2014/main" id="{21BD6BE0-99B4-D0D1-7E35-C58EA35D10BE}"/>
              </a:ext>
            </a:extLst>
          </p:cNvPr>
          <p:cNvSpPr txBox="1"/>
          <p:nvPr/>
        </p:nvSpPr>
        <p:spPr>
          <a:xfrm>
            <a:off x="3932380" y="2343070"/>
            <a:ext cx="1559859" cy="873044"/>
          </a:xfrm>
          <a:prstGeom prst="rect">
            <a:avLst/>
          </a:prstGeom>
          <a:noFill/>
          <a:ln>
            <a:noFill/>
            <a:prstDash val="dash"/>
          </a:ln>
        </p:spPr>
        <p:txBody>
          <a:bodyPr wrap="square" lIns="108000" tIns="18288" rIns="0" bIns="18288" rtlCol="0" anchor="ctr">
            <a:noAutofit/>
          </a:bodyPr>
          <a:lstStyle/>
          <a:p>
            <a:pPr defTabSz="914400" eaLnBrk="0" fontAlgn="base" hangingPunct="0">
              <a:spcBef>
                <a:spcPct val="0"/>
              </a:spcBef>
              <a:spcAft>
                <a:spcPct val="0"/>
              </a:spcAft>
            </a:pPr>
            <a:r>
              <a:rPr lang="en-US" sz="1000" b="1" err="1">
                <a:solidFill>
                  <a:srgbClr val="959595">
                    <a:lumMod val="50000"/>
                  </a:srgbClr>
                </a:solidFill>
                <a:latin typeface="Ubuntu" panose="020B0504030602030204" pitchFamily="34" charset="0"/>
                <a:ea typeface="Geneva" pitchFamily="1" charset="-128"/>
              </a:rPr>
              <a:t>dd.mm.yyyy</a:t>
            </a:r>
            <a:r>
              <a:rPr lang="en-US" sz="1000" b="1">
                <a:solidFill>
                  <a:srgbClr val="959595">
                    <a:lumMod val="50000"/>
                  </a:srgb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000" i="1">
                <a:solidFill>
                  <a:srgbClr val="959595">
                    <a:lumMod val="50000"/>
                  </a:srgbClr>
                </a:solidFill>
                <a:latin typeface="Ubuntu" panose="020B0504030602030204" pitchFamily="34" charset="0"/>
                <a:ea typeface="Geneva" pitchFamily="1" charset="-128"/>
              </a:rPr>
              <a:t>Lorem ipsum dolor sit </a:t>
            </a:r>
            <a:r>
              <a:rPr lang="en-US" sz="1000" i="1" err="1">
                <a:solidFill>
                  <a:srgbClr val="959595">
                    <a:lumMod val="50000"/>
                  </a:srgbClr>
                </a:solidFill>
                <a:latin typeface="Ubuntu" panose="020B0504030602030204" pitchFamily="34" charset="0"/>
                <a:ea typeface="Geneva" pitchFamily="1" charset="-128"/>
              </a:rPr>
              <a:t>amet</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consectetur</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adipiscing</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elit</a:t>
            </a:r>
            <a:r>
              <a:rPr lang="en-US" sz="1000" i="1">
                <a:solidFill>
                  <a:srgbClr val="959595">
                    <a:lumMod val="50000"/>
                  </a:srgbClr>
                </a:solidFill>
                <a:latin typeface="Ubuntu" panose="020B0504030602030204" pitchFamily="34" charset="0"/>
                <a:ea typeface="Geneva" pitchFamily="1" charset="-128"/>
              </a:rPr>
              <a:t>.</a:t>
            </a:r>
            <a:endParaRPr lang="en-US" sz="1000" b="1">
              <a:solidFill>
                <a:srgbClr val="959595">
                  <a:lumMod val="50000"/>
                </a:srgbClr>
              </a:solidFill>
              <a:latin typeface="Ubuntu" panose="020B0504030602030204" pitchFamily="34" charset="0"/>
              <a:ea typeface="Geneva" pitchFamily="1" charset="-128"/>
            </a:endParaRPr>
          </a:p>
        </p:txBody>
      </p:sp>
      <p:sp>
        <p:nvSpPr>
          <p:cNvPr id="58" name="TextBox 57">
            <a:extLst>
              <a:ext uri="{FF2B5EF4-FFF2-40B4-BE49-F238E27FC236}">
                <a16:creationId xmlns:a16="http://schemas.microsoft.com/office/drawing/2014/main" id="{5801E121-F153-E4A2-D51B-DFC6CD28E860}"/>
              </a:ext>
            </a:extLst>
          </p:cNvPr>
          <p:cNvSpPr txBox="1"/>
          <p:nvPr/>
        </p:nvSpPr>
        <p:spPr>
          <a:xfrm>
            <a:off x="1242507" y="2343070"/>
            <a:ext cx="1559859" cy="873044"/>
          </a:xfrm>
          <a:prstGeom prst="rect">
            <a:avLst/>
          </a:prstGeom>
          <a:noFill/>
          <a:ln>
            <a:noFill/>
            <a:prstDash val="dash"/>
          </a:ln>
        </p:spPr>
        <p:txBody>
          <a:bodyPr wrap="square" lIns="108000" tIns="18288" rIns="0" bIns="18288" rtlCol="0" anchor="ctr">
            <a:noAutofit/>
          </a:bodyPr>
          <a:lstStyle/>
          <a:p>
            <a:pPr defTabSz="914400" eaLnBrk="0" fontAlgn="base" hangingPunct="0">
              <a:spcBef>
                <a:spcPct val="0"/>
              </a:spcBef>
              <a:spcAft>
                <a:spcPct val="0"/>
              </a:spcAft>
            </a:pPr>
            <a:r>
              <a:rPr lang="en-US" sz="1000" b="1" err="1">
                <a:solidFill>
                  <a:srgbClr val="959595">
                    <a:lumMod val="50000"/>
                  </a:srgbClr>
                </a:solidFill>
                <a:latin typeface="Ubuntu" panose="020B0504030602030204" pitchFamily="34" charset="0"/>
                <a:ea typeface="Geneva" pitchFamily="1" charset="-128"/>
              </a:rPr>
              <a:t>dd.mm.yyyy</a:t>
            </a:r>
            <a:r>
              <a:rPr lang="en-US" sz="1000" b="1">
                <a:solidFill>
                  <a:srgbClr val="959595">
                    <a:lumMod val="50000"/>
                  </a:srgb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000" i="1">
                <a:solidFill>
                  <a:srgbClr val="959595">
                    <a:lumMod val="50000"/>
                  </a:srgbClr>
                </a:solidFill>
                <a:latin typeface="Ubuntu" panose="020B0504030602030204" pitchFamily="34" charset="0"/>
                <a:ea typeface="Geneva" pitchFamily="1" charset="-128"/>
              </a:rPr>
              <a:t>Lorem ipsum dolor sit </a:t>
            </a:r>
            <a:r>
              <a:rPr lang="en-US" sz="1000" i="1" err="1">
                <a:solidFill>
                  <a:srgbClr val="959595">
                    <a:lumMod val="50000"/>
                  </a:srgbClr>
                </a:solidFill>
                <a:latin typeface="Ubuntu" panose="020B0504030602030204" pitchFamily="34" charset="0"/>
                <a:ea typeface="Geneva" pitchFamily="1" charset="-128"/>
              </a:rPr>
              <a:t>amet</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consectetur</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adipiscing</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elit</a:t>
            </a:r>
            <a:r>
              <a:rPr lang="en-US" sz="1000" i="1">
                <a:solidFill>
                  <a:srgbClr val="959595">
                    <a:lumMod val="50000"/>
                  </a:srgbClr>
                </a:solidFill>
                <a:latin typeface="Ubuntu" panose="020B0504030602030204" pitchFamily="34" charset="0"/>
                <a:ea typeface="Geneva" pitchFamily="1" charset="-128"/>
              </a:rPr>
              <a:t>.</a:t>
            </a:r>
            <a:endParaRPr lang="en-US" sz="1000" b="1">
              <a:solidFill>
                <a:srgbClr val="959595">
                  <a:lumMod val="50000"/>
                </a:srgbClr>
              </a:solidFill>
              <a:latin typeface="Ubuntu" panose="020B0504030602030204" pitchFamily="34" charset="0"/>
              <a:ea typeface="Geneva" pitchFamily="1" charset="-128"/>
            </a:endParaRPr>
          </a:p>
        </p:txBody>
      </p:sp>
      <p:sp>
        <p:nvSpPr>
          <p:cNvPr id="59" name="TextBox 58">
            <a:extLst>
              <a:ext uri="{FF2B5EF4-FFF2-40B4-BE49-F238E27FC236}">
                <a16:creationId xmlns:a16="http://schemas.microsoft.com/office/drawing/2014/main" id="{E68A1FCD-027C-AA97-32A0-6C60AB9B6E59}"/>
              </a:ext>
            </a:extLst>
          </p:cNvPr>
          <p:cNvSpPr txBox="1"/>
          <p:nvPr/>
        </p:nvSpPr>
        <p:spPr>
          <a:xfrm>
            <a:off x="7886191" y="4032089"/>
            <a:ext cx="1559859" cy="873044"/>
          </a:xfrm>
          <a:prstGeom prst="rect">
            <a:avLst/>
          </a:prstGeom>
          <a:noFill/>
          <a:ln>
            <a:noFill/>
            <a:prstDash val="dash"/>
          </a:ln>
        </p:spPr>
        <p:txBody>
          <a:bodyPr wrap="square" lIns="108000" tIns="18288" rIns="0" bIns="18288" rtlCol="0" anchor="ctr">
            <a:noAutofit/>
          </a:bodyPr>
          <a:lstStyle/>
          <a:p>
            <a:pPr defTabSz="914400" eaLnBrk="0" fontAlgn="base" hangingPunct="0">
              <a:spcBef>
                <a:spcPct val="0"/>
              </a:spcBef>
              <a:spcAft>
                <a:spcPct val="0"/>
              </a:spcAft>
            </a:pPr>
            <a:r>
              <a:rPr lang="en-US" sz="1000" b="1" err="1">
                <a:solidFill>
                  <a:srgbClr val="959595">
                    <a:lumMod val="50000"/>
                  </a:srgbClr>
                </a:solidFill>
                <a:latin typeface="Ubuntu" panose="020B0504030602030204" pitchFamily="34" charset="0"/>
                <a:ea typeface="Geneva" pitchFamily="1" charset="-128"/>
              </a:rPr>
              <a:t>dd.mm.yyyy</a:t>
            </a:r>
            <a:r>
              <a:rPr lang="en-US" sz="1000" b="1">
                <a:solidFill>
                  <a:srgbClr val="959595">
                    <a:lumMod val="50000"/>
                  </a:srgb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000" i="1">
                <a:solidFill>
                  <a:srgbClr val="959595">
                    <a:lumMod val="50000"/>
                  </a:srgbClr>
                </a:solidFill>
                <a:latin typeface="Ubuntu" panose="020B0504030602030204" pitchFamily="34" charset="0"/>
                <a:ea typeface="Geneva" pitchFamily="1" charset="-128"/>
              </a:rPr>
              <a:t>Lorem ipsum dolor sit </a:t>
            </a:r>
            <a:r>
              <a:rPr lang="en-US" sz="1000" i="1" err="1">
                <a:solidFill>
                  <a:srgbClr val="959595">
                    <a:lumMod val="50000"/>
                  </a:srgbClr>
                </a:solidFill>
                <a:latin typeface="Ubuntu" panose="020B0504030602030204" pitchFamily="34" charset="0"/>
                <a:ea typeface="Geneva" pitchFamily="1" charset="-128"/>
              </a:rPr>
              <a:t>amet</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consectetur</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adipiscing</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elit</a:t>
            </a:r>
            <a:r>
              <a:rPr lang="en-US" sz="1000" i="1">
                <a:solidFill>
                  <a:srgbClr val="959595">
                    <a:lumMod val="50000"/>
                  </a:srgbClr>
                </a:solidFill>
                <a:latin typeface="Ubuntu" panose="020B0504030602030204" pitchFamily="34" charset="0"/>
                <a:ea typeface="Geneva" pitchFamily="1" charset="-128"/>
              </a:rPr>
              <a:t>.</a:t>
            </a:r>
            <a:endParaRPr lang="en-US" sz="1000" b="1">
              <a:solidFill>
                <a:srgbClr val="959595">
                  <a:lumMod val="50000"/>
                </a:srgbClr>
              </a:solidFill>
              <a:latin typeface="Ubuntu" panose="020B0504030602030204" pitchFamily="34" charset="0"/>
              <a:ea typeface="Geneva" pitchFamily="1" charset="-128"/>
            </a:endParaRPr>
          </a:p>
        </p:txBody>
      </p:sp>
      <p:sp>
        <p:nvSpPr>
          <p:cNvPr id="60" name="TextBox 59">
            <a:extLst>
              <a:ext uri="{FF2B5EF4-FFF2-40B4-BE49-F238E27FC236}">
                <a16:creationId xmlns:a16="http://schemas.microsoft.com/office/drawing/2014/main" id="{EFAD40EB-2E5D-B77C-046C-7CEFEA8458AC}"/>
              </a:ext>
            </a:extLst>
          </p:cNvPr>
          <p:cNvSpPr txBox="1"/>
          <p:nvPr/>
        </p:nvSpPr>
        <p:spPr>
          <a:xfrm>
            <a:off x="5250317" y="4032089"/>
            <a:ext cx="1559859" cy="873044"/>
          </a:xfrm>
          <a:prstGeom prst="rect">
            <a:avLst/>
          </a:prstGeom>
          <a:noFill/>
          <a:ln>
            <a:noFill/>
            <a:prstDash val="dash"/>
          </a:ln>
        </p:spPr>
        <p:txBody>
          <a:bodyPr wrap="square" lIns="108000" tIns="18288" rIns="0" bIns="18288" rtlCol="0" anchor="ctr">
            <a:noAutofit/>
          </a:bodyPr>
          <a:lstStyle/>
          <a:p>
            <a:pPr defTabSz="914400" eaLnBrk="0" fontAlgn="base" hangingPunct="0">
              <a:spcBef>
                <a:spcPct val="0"/>
              </a:spcBef>
              <a:spcAft>
                <a:spcPct val="0"/>
              </a:spcAft>
            </a:pPr>
            <a:r>
              <a:rPr lang="en-US" sz="1000" b="1" err="1">
                <a:solidFill>
                  <a:srgbClr val="959595">
                    <a:lumMod val="50000"/>
                  </a:srgbClr>
                </a:solidFill>
                <a:latin typeface="Ubuntu" panose="020B0504030602030204" pitchFamily="34" charset="0"/>
                <a:ea typeface="Geneva" pitchFamily="1" charset="-128"/>
              </a:rPr>
              <a:t>dd.mm.yyyy</a:t>
            </a:r>
            <a:r>
              <a:rPr lang="en-US" sz="1000" b="1">
                <a:solidFill>
                  <a:srgbClr val="959595">
                    <a:lumMod val="50000"/>
                  </a:srgb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000" i="1">
                <a:solidFill>
                  <a:srgbClr val="959595">
                    <a:lumMod val="50000"/>
                  </a:srgbClr>
                </a:solidFill>
                <a:latin typeface="Ubuntu" panose="020B0504030602030204" pitchFamily="34" charset="0"/>
                <a:ea typeface="Geneva" pitchFamily="1" charset="-128"/>
              </a:rPr>
              <a:t>Lorem ipsum dolor sit </a:t>
            </a:r>
            <a:r>
              <a:rPr lang="en-US" sz="1000" i="1" err="1">
                <a:solidFill>
                  <a:srgbClr val="959595">
                    <a:lumMod val="50000"/>
                  </a:srgbClr>
                </a:solidFill>
                <a:latin typeface="Ubuntu" panose="020B0504030602030204" pitchFamily="34" charset="0"/>
                <a:ea typeface="Geneva" pitchFamily="1" charset="-128"/>
              </a:rPr>
              <a:t>amet</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consectetur</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adipiscing</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elit</a:t>
            </a:r>
            <a:r>
              <a:rPr lang="en-US" sz="1000" i="1">
                <a:solidFill>
                  <a:srgbClr val="959595">
                    <a:lumMod val="50000"/>
                  </a:srgbClr>
                </a:solidFill>
                <a:latin typeface="Ubuntu" panose="020B0504030602030204" pitchFamily="34" charset="0"/>
                <a:ea typeface="Geneva" pitchFamily="1" charset="-128"/>
              </a:rPr>
              <a:t>.</a:t>
            </a:r>
            <a:endParaRPr lang="en-US" sz="1000" b="1">
              <a:solidFill>
                <a:srgbClr val="959595">
                  <a:lumMod val="50000"/>
                </a:srgbClr>
              </a:solidFill>
              <a:latin typeface="Ubuntu" panose="020B0504030602030204" pitchFamily="34" charset="0"/>
              <a:ea typeface="Geneva" pitchFamily="1" charset="-128"/>
            </a:endParaRPr>
          </a:p>
        </p:txBody>
      </p:sp>
      <p:sp>
        <p:nvSpPr>
          <p:cNvPr id="61" name="TextBox 60">
            <a:extLst>
              <a:ext uri="{FF2B5EF4-FFF2-40B4-BE49-F238E27FC236}">
                <a16:creationId xmlns:a16="http://schemas.microsoft.com/office/drawing/2014/main" id="{796CF2B4-D846-1F30-94D7-FDBFA95FA3D7}"/>
              </a:ext>
            </a:extLst>
          </p:cNvPr>
          <p:cNvSpPr txBox="1"/>
          <p:nvPr/>
        </p:nvSpPr>
        <p:spPr>
          <a:xfrm>
            <a:off x="2600922" y="4032089"/>
            <a:ext cx="1559859" cy="873044"/>
          </a:xfrm>
          <a:prstGeom prst="rect">
            <a:avLst/>
          </a:prstGeom>
          <a:noFill/>
          <a:ln>
            <a:noFill/>
            <a:prstDash val="dash"/>
          </a:ln>
        </p:spPr>
        <p:txBody>
          <a:bodyPr wrap="square" lIns="108000" tIns="18288" rIns="0" bIns="18288" rtlCol="0" anchor="ctr">
            <a:noAutofit/>
          </a:bodyPr>
          <a:lstStyle/>
          <a:p>
            <a:pPr defTabSz="914400" eaLnBrk="0" fontAlgn="base" hangingPunct="0">
              <a:spcBef>
                <a:spcPct val="0"/>
              </a:spcBef>
              <a:spcAft>
                <a:spcPct val="0"/>
              </a:spcAft>
            </a:pPr>
            <a:r>
              <a:rPr lang="en-US" sz="1000" b="1" err="1">
                <a:solidFill>
                  <a:srgbClr val="959595">
                    <a:lumMod val="50000"/>
                  </a:srgbClr>
                </a:solidFill>
                <a:latin typeface="Ubuntu" panose="020B0504030602030204" pitchFamily="34" charset="0"/>
                <a:ea typeface="Geneva" pitchFamily="1" charset="-128"/>
              </a:rPr>
              <a:t>dd.mm.yyyy</a:t>
            </a:r>
            <a:r>
              <a:rPr lang="en-US" sz="1000" b="1">
                <a:solidFill>
                  <a:srgbClr val="959595">
                    <a:lumMod val="50000"/>
                  </a:srgb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000" i="1">
                <a:solidFill>
                  <a:srgbClr val="959595">
                    <a:lumMod val="50000"/>
                  </a:srgbClr>
                </a:solidFill>
                <a:latin typeface="Ubuntu" panose="020B0504030602030204" pitchFamily="34" charset="0"/>
                <a:ea typeface="Geneva" pitchFamily="1" charset="-128"/>
              </a:rPr>
              <a:t>Lorem ipsum dolor sit </a:t>
            </a:r>
            <a:r>
              <a:rPr lang="en-US" sz="1000" i="1" err="1">
                <a:solidFill>
                  <a:srgbClr val="959595">
                    <a:lumMod val="50000"/>
                  </a:srgbClr>
                </a:solidFill>
                <a:latin typeface="Ubuntu" panose="020B0504030602030204" pitchFamily="34" charset="0"/>
                <a:ea typeface="Geneva" pitchFamily="1" charset="-128"/>
              </a:rPr>
              <a:t>amet</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consectetur</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adipiscing</a:t>
            </a:r>
            <a:r>
              <a:rPr lang="en-US" sz="1000" i="1">
                <a:solidFill>
                  <a:srgbClr val="959595">
                    <a:lumMod val="50000"/>
                  </a:srgbClr>
                </a:solidFill>
                <a:latin typeface="Ubuntu" panose="020B0504030602030204" pitchFamily="34" charset="0"/>
                <a:ea typeface="Geneva" pitchFamily="1" charset="-128"/>
              </a:rPr>
              <a:t> </a:t>
            </a:r>
            <a:r>
              <a:rPr lang="en-US" sz="1000" i="1" err="1">
                <a:solidFill>
                  <a:srgbClr val="959595">
                    <a:lumMod val="50000"/>
                  </a:srgbClr>
                </a:solidFill>
                <a:latin typeface="Ubuntu" panose="020B0504030602030204" pitchFamily="34" charset="0"/>
                <a:ea typeface="Geneva" pitchFamily="1" charset="-128"/>
              </a:rPr>
              <a:t>elit</a:t>
            </a:r>
            <a:r>
              <a:rPr lang="en-US" sz="1000" i="1">
                <a:solidFill>
                  <a:srgbClr val="959595">
                    <a:lumMod val="50000"/>
                  </a:srgbClr>
                </a:solidFill>
                <a:latin typeface="Ubuntu" panose="020B0504030602030204" pitchFamily="34" charset="0"/>
                <a:ea typeface="Geneva" pitchFamily="1" charset="-128"/>
              </a:rPr>
              <a:t>.</a:t>
            </a:r>
            <a:endParaRPr lang="en-US" sz="1000" b="1">
              <a:solidFill>
                <a:srgbClr val="959595">
                  <a:lumMod val="50000"/>
                </a:srgbClr>
              </a:solidFill>
              <a:latin typeface="Ubuntu" panose="020B0504030602030204" pitchFamily="34" charset="0"/>
              <a:ea typeface="Geneva" pitchFamily="1" charset="-128"/>
            </a:endParaRPr>
          </a:p>
        </p:txBody>
      </p:sp>
    </p:spTree>
    <p:extLst>
      <p:ext uri="{BB962C8B-B14F-4D97-AF65-F5344CB8AC3E}">
        <p14:creationId xmlns:p14="http://schemas.microsoft.com/office/powerpoint/2010/main" val="1664249744"/>
      </p:ext>
    </p:extLst>
  </p:cSld>
  <p:clrMapOvr>
    <a:masterClrMapping/>
  </p:clrMapOvr>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meline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25FE4-D275-055D-A186-46027124D9FE}"/>
              </a:ext>
            </a:extLst>
          </p:cNvPr>
          <p:cNvSpPr>
            <a:spLocks noGrp="1"/>
          </p:cNvSpPr>
          <p:nvPr>
            <p:ph type="title"/>
          </p:nvPr>
        </p:nvSpPr>
        <p:spPr/>
        <p:txBody>
          <a:bodyPr/>
          <a:lstStyle/>
          <a:p>
            <a:r>
              <a:rPr lang="en-US"/>
              <a:t>Click to edit Master title style</a:t>
            </a:r>
          </a:p>
        </p:txBody>
      </p:sp>
      <p:sp>
        <p:nvSpPr>
          <p:cNvPr id="3" name="Oval 2">
            <a:extLst>
              <a:ext uri="{FF2B5EF4-FFF2-40B4-BE49-F238E27FC236}">
                <a16:creationId xmlns:a16="http://schemas.microsoft.com/office/drawing/2014/main" id="{F5A2FA23-38BF-C046-35F0-7FC7EBE965AF}"/>
              </a:ext>
            </a:extLst>
          </p:cNvPr>
          <p:cNvSpPr/>
          <p:nvPr/>
        </p:nvSpPr>
        <p:spPr>
          <a:xfrm>
            <a:off x="1340575" y="2218240"/>
            <a:ext cx="657225" cy="657225"/>
          </a:xfrm>
          <a:prstGeom prst="ellips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sp>
        <p:nvSpPr>
          <p:cNvPr id="4" name="Oval 3">
            <a:extLst>
              <a:ext uri="{FF2B5EF4-FFF2-40B4-BE49-F238E27FC236}">
                <a16:creationId xmlns:a16="http://schemas.microsoft.com/office/drawing/2014/main" id="{0D639160-676B-7083-00C0-9A48EB7A2718}"/>
              </a:ext>
            </a:extLst>
          </p:cNvPr>
          <p:cNvSpPr/>
          <p:nvPr/>
        </p:nvSpPr>
        <p:spPr>
          <a:xfrm>
            <a:off x="3843267" y="4025608"/>
            <a:ext cx="657225" cy="6572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sp>
        <p:nvSpPr>
          <p:cNvPr id="5" name="Oval 4">
            <a:extLst>
              <a:ext uri="{FF2B5EF4-FFF2-40B4-BE49-F238E27FC236}">
                <a16:creationId xmlns:a16="http://schemas.microsoft.com/office/drawing/2014/main" id="{7C47D09E-7E8F-8DC1-86B9-B24D1F82DB8D}"/>
              </a:ext>
            </a:extLst>
          </p:cNvPr>
          <p:cNvSpPr/>
          <p:nvPr/>
        </p:nvSpPr>
        <p:spPr>
          <a:xfrm>
            <a:off x="4943405" y="1720558"/>
            <a:ext cx="657225" cy="657225"/>
          </a:xfrm>
          <a:prstGeom prst="ellipse">
            <a:avLst/>
          </a:prstGeom>
          <a:solidFill>
            <a:srgbClr val="67AACB"/>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sp>
        <p:nvSpPr>
          <p:cNvPr id="6" name="Oval 5">
            <a:extLst>
              <a:ext uri="{FF2B5EF4-FFF2-40B4-BE49-F238E27FC236}">
                <a16:creationId xmlns:a16="http://schemas.microsoft.com/office/drawing/2014/main" id="{2DC686B5-B152-4FF8-6F51-A12915402478}"/>
              </a:ext>
            </a:extLst>
          </p:cNvPr>
          <p:cNvSpPr/>
          <p:nvPr/>
        </p:nvSpPr>
        <p:spPr>
          <a:xfrm>
            <a:off x="7115104" y="3450537"/>
            <a:ext cx="657225" cy="657225"/>
          </a:xfrm>
          <a:prstGeom prst="ellipse">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sp>
        <p:nvSpPr>
          <p:cNvPr id="7" name="Oval 6">
            <a:extLst>
              <a:ext uri="{FF2B5EF4-FFF2-40B4-BE49-F238E27FC236}">
                <a16:creationId xmlns:a16="http://schemas.microsoft.com/office/drawing/2014/main" id="{858B9CBD-424B-E07F-2EF1-6DC54B14D26C}"/>
              </a:ext>
            </a:extLst>
          </p:cNvPr>
          <p:cNvSpPr/>
          <p:nvPr/>
        </p:nvSpPr>
        <p:spPr>
          <a:xfrm>
            <a:off x="9291566" y="1937252"/>
            <a:ext cx="657225" cy="657225"/>
          </a:xfrm>
          <a:prstGeom prst="ellipse">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1"/>
              </a:solidFill>
              <a:latin typeface="Ubuntu" panose="020B0504030602030204" pitchFamily="34" charset="0"/>
            </a:endParaRPr>
          </a:p>
        </p:txBody>
      </p:sp>
      <p:cxnSp>
        <p:nvCxnSpPr>
          <p:cNvPr id="9" name="Connector: Elbow 8">
            <a:extLst>
              <a:ext uri="{FF2B5EF4-FFF2-40B4-BE49-F238E27FC236}">
                <a16:creationId xmlns:a16="http://schemas.microsoft.com/office/drawing/2014/main" id="{3DB9C0D0-7084-D29B-C990-2C33C41E3A9B}"/>
              </a:ext>
            </a:extLst>
          </p:cNvPr>
          <p:cNvCxnSpPr>
            <a:cxnSpLocks/>
            <a:stCxn id="3" idx="6"/>
            <a:endCxn id="4" idx="2"/>
          </p:cNvCxnSpPr>
          <p:nvPr/>
        </p:nvCxnSpPr>
        <p:spPr>
          <a:xfrm>
            <a:off x="1997800" y="2546853"/>
            <a:ext cx="1845467" cy="1807368"/>
          </a:xfrm>
          <a:prstGeom prst="bentConnector3">
            <a:avLst>
              <a:gd name="adj1" fmla="val 62903"/>
            </a:avLst>
          </a:prstGeom>
          <a:ln>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0119EF79-94E4-5584-E7EA-49BD6BB6DED1}"/>
              </a:ext>
            </a:extLst>
          </p:cNvPr>
          <p:cNvCxnSpPr>
            <a:cxnSpLocks/>
            <a:stCxn id="4" idx="0"/>
            <a:endCxn id="5" idx="2"/>
          </p:cNvCxnSpPr>
          <p:nvPr/>
        </p:nvCxnSpPr>
        <p:spPr>
          <a:xfrm rot="5400000" flipH="1" flipV="1">
            <a:off x="3569424" y="2651628"/>
            <a:ext cx="1976437" cy="771525"/>
          </a:xfrm>
          <a:prstGeom prst="bentConnector2">
            <a:avLst/>
          </a:prstGeom>
          <a:ln>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73015C9E-9517-100D-4C9D-A86747D09048}"/>
              </a:ext>
            </a:extLst>
          </p:cNvPr>
          <p:cNvCxnSpPr>
            <a:cxnSpLocks/>
            <a:stCxn id="5" idx="6"/>
            <a:endCxn id="6" idx="0"/>
          </p:cNvCxnSpPr>
          <p:nvPr/>
        </p:nvCxnSpPr>
        <p:spPr>
          <a:xfrm>
            <a:off x="5600630" y="2049171"/>
            <a:ext cx="1843087" cy="1401366"/>
          </a:xfrm>
          <a:prstGeom prst="bentConnector2">
            <a:avLst/>
          </a:prstGeom>
          <a:ln>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90CD9B12-E041-1786-3B26-8FBA04ADC9DB}"/>
              </a:ext>
            </a:extLst>
          </p:cNvPr>
          <p:cNvCxnSpPr>
            <a:cxnSpLocks/>
            <a:stCxn id="6" idx="6"/>
            <a:endCxn id="7" idx="2"/>
          </p:cNvCxnSpPr>
          <p:nvPr/>
        </p:nvCxnSpPr>
        <p:spPr>
          <a:xfrm flipV="1">
            <a:off x="7772329" y="2265865"/>
            <a:ext cx="1519237" cy="1513285"/>
          </a:xfrm>
          <a:prstGeom prst="bentConnector3">
            <a:avLst>
              <a:gd name="adj1" fmla="val 50000"/>
            </a:avLst>
          </a:prstGeom>
          <a:ln>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A0EBEDA7-2761-BB48-BADB-6F519F594919}"/>
              </a:ext>
            </a:extLst>
          </p:cNvPr>
          <p:cNvSpPr txBox="1"/>
          <p:nvPr/>
        </p:nvSpPr>
        <p:spPr>
          <a:xfrm>
            <a:off x="1340575" y="2889752"/>
            <a:ext cx="1559859" cy="873044"/>
          </a:xfrm>
          <a:prstGeom prst="rect">
            <a:avLst/>
          </a:prstGeom>
          <a:noFill/>
          <a:ln>
            <a:noFill/>
            <a:prstDash val="dash"/>
          </a:ln>
        </p:spPr>
        <p:txBody>
          <a:bodyPr wrap="square" lIns="108000" tIns="18288" rIns="0" bIns="18288" rtlCol="0" anchor="ctr">
            <a:noAutofit/>
          </a:bodyPr>
          <a:lstStyle/>
          <a:p>
            <a:pPr defTabSz="914400" eaLnBrk="0" fontAlgn="base" hangingPunct="0">
              <a:spcBef>
                <a:spcPct val="0"/>
              </a:spcBef>
              <a:spcAft>
                <a:spcPct val="0"/>
              </a:spcAft>
            </a:pPr>
            <a:r>
              <a:rPr lang="en-US" sz="1200" b="1" err="1">
                <a:solidFill>
                  <a:schemeClr val="tx1">
                    <a:lumMod val="75000"/>
                    <a:lumOff val="25000"/>
                  </a:schemeClr>
                </a:solidFill>
                <a:latin typeface="Ubuntu" panose="020B0504030602030204" pitchFamily="34" charset="0"/>
                <a:ea typeface="Geneva" pitchFamily="1" charset="-128"/>
              </a:rPr>
              <a:t>dd.mm.yyyy</a:t>
            </a:r>
            <a:r>
              <a:rPr lang="en-US" sz="1200" b="1">
                <a:solidFill>
                  <a:schemeClr val="tx1">
                    <a:lumMod val="75000"/>
                    <a:lumOff val="25000"/>
                  </a:scheme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200" i="1">
                <a:solidFill>
                  <a:schemeClr val="tx1">
                    <a:lumMod val="75000"/>
                    <a:lumOff val="25000"/>
                  </a:schemeClr>
                </a:solidFill>
                <a:latin typeface="Ubuntu" panose="020B0504030602030204" pitchFamily="34" charset="0"/>
                <a:ea typeface="Geneva" pitchFamily="1" charset="-128"/>
              </a:rPr>
              <a:t>Lorem ipsum dolor sit </a:t>
            </a:r>
            <a:r>
              <a:rPr lang="en-US" sz="1200" i="1" err="1">
                <a:solidFill>
                  <a:schemeClr val="tx1">
                    <a:lumMod val="75000"/>
                    <a:lumOff val="25000"/>
                  </a:schemeClr>
                </a:solidFill>
                <a:latin typeface="Ubuntu" panose="020B0504030602030204" pitchFamily="34" charset="0"/>
                <a:ea typeface="Geneva" pitchFamily="1" charset="-128"/>
              </a:rPr>
              <a:t>amet</a:t>
            </a:r>
            <a:r>
              <a:rPr lang="en-US" sz="1200" i="1">
                <a:solidFill>
                  <a:schemeClr val="tx1">
                    <a:lumMod val="75000"/>
                    <a:lumOff val="25000"/>
                  </a:schemeClr>
                </a:solidFill>
                <a:latin typeface="Ubuntu" panose="020B0504030602030204" pitchFamily="34" charset="0"/>
                <a:ea typeface="Geneva" pitchFamily="1" charset="-128"/>
              </a:rPr>
              <a:t>, </a:t>
            </a:r>
            <a:r>
              <a:rPr lang="en-US" sz="1200" i="1" err="1">
                <a:solidFill>
                  <a:schemeClr val="tx1">
                    <a:lumMod val="75000"/>
                    <a:lumOff val="25000"/>
                  </a:schemeClr>
                </a:solidFill>
                <a:latin typeface="Ubuntu" panose="020B0504030602030204" pitchFamily="34" charset="0"/>
                <a:ea typeface="Geneva" pitchFamily="1" charset="-128"/>
              </a:rPr>
              <a:t>consectetur</a:t>
            </a:r>
            <a:r>
              <a:rPr lang="en-US" sz="1200" i="1">
                <a:solidFill>
                  <a:schemeClr val="tx1">
                    <a:lumMod val="75000"/>
                    <a:lumOff val="25000"/>
                  </a:schemeClr>
                </a:solidFill>
                <a:latin typeface="Ubuntu" panose="020B0504030602030204" pitchFamily="34" charset="0"/>
                <a:ea typeface="Geneva" pitchFamily="1" charset="-128"/>
              </a:rPr>
              <a:t> </a:t>
            </a:r>
            <a:r>
              <a:rPr lang="en-US" sz="1200" i="1" err="1">
                <a:solidFill>
                  <a:schemeClr val="tx1">
                    <a:lumMod val="75000"/>
                    <a:lumOff val="25000"/>
                  </a:schemeClr>
                </a:solidFill>
                <a:latin typeface="Ubuntu" panose="020B0504030602030204" pitchFamily="34" charset="0"/>
                <a:ea typeface="Geneva" pitchFamily="1" charset="-128"/>
              </a:rPr>
              <a:t>adipiscing</a:t>
            </a:r>
            <a:r>
              <a:rPr lang="en-US" sz="1200" i="1">
                <a:solidFill>
                  <a:schemeClr val="tx1">
                    <a:lumMod val="75000"/>
                    <a:lumOff val="25000"/>
                  </a:schemeClr>
                </a:solidFill>
                <a:latin typeface="Ubuntu" panose="020B0504030602030204" pitchFamily="34" charset="0"/>
                <a:ea typeface="Geneva" pitchFamily="1" charset="-128"/>
              </a:rPr>
              <a:t> </a:t>
            </a:r>
            <a:r>
              <a:rPr lang="en-US" sz="1200" i="1" err="1">
                <a:solidFill>
                  <a:schemeClr val="tx1">
                    <a:lumMod val="75000"/>
                    <a:lumOff val="25000"/>
                  </a:schemeClr>
                </a:solidFill>
                <a:latin typeface="Ubuntu" panose="020B0504030602030204" pitchFamily="34" charset="0"/>
                <a:ea typeface="Geneva" pitchFamily="1" charset="-128"/>
              </a:rPr>
              <a:t>elit</a:t>
            </a:r>
            <a:r>
              <a:rPr lang="en-US" sz="1200" i="1">
                <a:solidFill>
                  <a:schemeClr val="tx1">
                    <a:lumMod val="75000"/>
                    <a:lumOff val="25000"/>
                  </a:schemeClr>
                </a:solidFill>
                <a:latin typeface="Ubuntu" panose="020B0504030602030204" pitchFamily="34" charset="0"/>
                <a:ea typeface="Geneva" pitchFamily="1" charset="-128"/>
              </a:rPr>
              <a:t>.</a:t>
            </a:r>
            <a:endParaRPr lang="en-US" sz="1200" b="1">
              <a:solidFill>
                <a:schemeClr val="tx1">
                  <a:lumMod val="75000"/>
                  <a:lumOff val="25000"/>
                </a:schemeClr>
              </a:solidFill>
              <a:latin typeface="Ubuntu" panose="020B0504030602030204" pitchFamily="34" charset="0"/>
              <a:ea typeface="Geneva" pitchFamily="1" charset="-128"/>
            </a:endParaRPr>
          </a:p>
        </p:txBody>
      </p:sp>
      <p:sp>
        <p:nvSpPr>
          <p:cNvPr id="39" name="TextBox 38">
            <a:extLst>
              <a:ext uri="{FF2B5EF4-FFF2-40B4-BE49-F238E27FC236}">
                <a16:creationId xmlns:a16="http://schemas.microsoft.com/office/drawing/2014/main" id="{70D200C0-9205-EE58-4C81-8DF8866DE75D}"/>
              </a:ext>
            </a:extLst>
          </p:cNvPr>
          <p:cNvSpPr txBox="1"/>
          <p:nvPr/>
        </p:nvSpPr>
        <p:spPr>
          <a:xfrm>
            <a:off x="3843267" y="4714666"/>
            <a:ext cx="1559859" cy="873044"/>
          </a:xfrm>
          <a:prstGeom prst="rect">
            <a:avLst/>
          </a:prstGeom>
          <a:noFill/>
          <a:ln>
            <a:noFill/>
            <a:prstDash val="dash"/>
          </a:ln>
        </p:spPr>
        <p:txBody>
          <a:bodyPr wrap="square" lIns="108000" tIns="18288" rIns="0" bIns="18288" rtlCol="0" anchor="ctr">
            <a:noAutofit/>
          </a:bodyPr>
          <a:lstStyle/>
          <a:p>
            <a:pPr defTabSz="914400" eaLnBrk="0" fontAlgn="base" hangingPunct="0">
              <a:spcBef>
                <a:spcPct val="0"/>
              </a:spcBef>
              <a:spcAft>
                <a:spcPct val="0"/>
              </a:spcAft>
            </a:pPr>
            <a:r>
              <a:rPr lang="en-US" sz="1200" b="1" err="1">
                <a:solidFill>
                  <a:schemeClr val="tx1">
                    <a:lumMod val="75000"/>
                    <a:lumOff val="25000"/>
                  </a:schemeClr>
                </a:solidFill>
                <a:latin typeface="Ubuntu" panose="020B0504030602030204" pitchFamily="34" charset="0"/>
                <a:ea typeface="Geneva" pitchFamily="1" charset="-128"/>
              </a:rPr>
              <a:t>dd.mm.yyyy</a:t>
            </a:r>
            <a:r>
              <a:rPr lang="en-US" sz="1200" b="1">
                <a:solidFill>
                  <a:schemeClr val="tx1">
                    <a:lumMod val="75000"/>
                    <a:lumOff val="25000"/>
                  </a:scheme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200" i="1">
                <a:solidFill>
                  <a:schemeClr val="tx1">
                    <a:lumMod val="75000"/>
                    <a:lumOff val="25000"/>
                  </a:schemeClr>
                </a:solidFill>
                <a:latin typeface="Ubuntu" panose="020B0504030602030204" pitchFamily="34" charset="0"/>
                <a:ea typeface="Geneva" pitchFamily="1" charset="-128"/>
              </a:rPr>
              <a:t>Lorem ipsum dolor sit </a:t>
            </a:r>
            <a:r>
              <a:rPr lang="en-US" sz="1200" i="1" err="1">
                <a:solidFill>
                  <a:schemeClr val="tx1">
                    <a:lumMod val="75000"/>
                    <a:lumOff val="25000"/>
                  </a:schemeClr>
                </a:solidFill>
                <a:latin typeface="Ubuntu" panose="020B0504030602030204" pitchFamily="34" charset="0"/>
                <a:ea typeface="Geneva" pitchFamily="1" charset="-128"/>
              </a:rPr>
              <a:t>amet</a:t>
            </a:r>
            <a:r>
              <a:rPr lang="en-US" sz="1200" i="1">
                <a:solidFill>
                  <a:schemeClr val="tx1">
                    <a:lumMod val="75000"/>
                    <a:lumOff val="25000"/>
                  </a:schemeClr>
                </a:solidFill>
                <a:latin typeface="Ubuntu" panose="020B0504030602030204" pitchFamily="34" charset="0"/>
                <a:ea typeface="Geneva" pitchFamily="1" charset="-128"/>
              </a:rPr>
              <a:t>, </a:t>
            </a:r>
            <a:r>
              <a:rPr lang="en-US" sz="1200" i="1" err="1">
                <a:solidFill>
                  <a:schemeClr val="tx1">
                    <a:lumMod val="75000"/>
                    <a:lumOff val="25000"/>
                  </a:schemeClr>
                </a:solidFill>
                <a:latin typeface="Ubuntu" panose="020B0504030602030204" pitchFamily="34" charset="0"/>
                <a:ea typeface="Geneva" pitchFamily="1" charset="-128"/>
              </a:rPr>
              <a:t>consectetur</a:t>
            </a:r>
            <a:r>
              <a:rPr lang="en-US" sz="1200" i="1">
                <a:solidFill>
                  <a:schemeClr val="tx1">
                    <a:lumMod val="75000"/>
                    <a:lumOff val="25000"/>
                  </a:schemeClr>
                </a:solidFill>
                <a:latin typeface="Ubuntu" panose="020B0504030602030204" pitchFamily="34" charset="0"/>
                <a:ea typeface="Geneva" pitchFamily="1" charset="-128"/>
              </a:rPr>
              <a:t> </a:t>
            </a:r>
            <a:r>
              <a:rPr lang="en-US" sz="1200" i="1" err="1">
                <a:solidFill>
                  <a:schemeClr val="tx1">
                    <a:lumMod val="75000"/>
                    <a:lumOff val="25000"/>
                  </a:schemeClr>
                </a:solidFill>
                <a:latin typeface="Ubuntu" panose="020B0504030602030204" pitchFamily="34" charset="0"/>
                <a:ea typeface="Geneva" pitchFamily="1" charset="-128"/>
              </a:rPr>
              <a:t>adipiscing</a:t>
            </a:r>
            <a:r>
              <a:rPr lang="en-US" sz="1200" i="1">
                <a:solidFill>
                  <a:schemeClr val="tx1">
                    <a:lumMod val="75000"/>
                    <a:lumOff val="25000"/>
                  </a:schemeClr>
                </a:solidFill>
                <a:latin typeface="Ubuntu" panose="020B0504030602030204" pitchFamily="34" charset="0"/>
                <a:ea typeface="Geneva" pitchFamily="1" charset="-128"/>
              </a:rPr>
              <a:t> </a:t>
            </a:r>
            <a:r>
              <a:rPr lang="en-US" sz="1200" i="1" err="1">
                <a:solidFill>
                  <a:schemeClr val="tx1">
                    <a:lumMod val="75000"/>
                    <a:lumOff val="25000"/>
                  </a:schemeClr>
                </a:solidFill>
                <a:latin typeface="Ubuntu" panose="020B0504030602030204" pitchFamily="34" charset="0"/>
                <a:ea typeface="Geneva" pitchFamily="1" charset="-128"/>
              </a:rPr>
              <a:t>elit</a:t>
            </a:r>
            <a:r>
              <a:rPr lang="en-US" sz="1200" i="1">
                <a:solidFill>
                  <a:schemeClr val="tx1">
                    <a:lumMod val="75000"/>
                    <a:lumOff val="25000"/>
                  </a:schemeClr>
                </a:solidFill>
                <a:latin typeface="Ubuntu" panose="020B0504030602030204" pitchFamily="34" charset="0"/>
                <a:ea typeface="Geneva" pitchFamily="1" charset="-128"/>
              </a:rPr>
              <a:t>.</a:t>
            </a:r>
            <a:endParaRPr lang="en-US" sz="1200" b="1">
              <a:solidFill>
                <a:schemeClr val="tx1">
                  <a:lumMod val="75000"/>
                  <a:lumOff val="25000"/>
                </a:schemeClr>
              </a:solidFill>
              <a:latin typeface="Ubuntu" panose="020B0504030602030204" pitchFamily="34" charset="0"/>
              <a:ea typeface="Geneva" pitchFamily="1" charset="-128"/>
            </a:endParaRPr>
          </a:p>
        </p:txBody>
      </p:sp>
      <p:sp>
        <p:nvSpPr>
          <p:cNvPr id="40" name="TextBox 39">
            <a:extLst>
              <a:ext uri="{FF2B5EF4-FFF2-40B4-BE49-F238E27FC236}">
                <a16:creationId xmlns:a16="http://schemas.microsoft.com/office/drawing/2014/main" id="{83BC9CF9-279C-8C24-AA1D-77DD2DE6AA52}"/>
              </a:ext>
            </a:extLst>
          </p:cNvPr>
          <p:cNvSpPr txBox="1"/>
          <p:nvPr/>
        </p:nvSpPr>
        <p:spPr>
          <a:xfrm>
            <a:off x="4943405" y="2381040"/>
            <a:ext cx="1559859" cy="873044"/>
          </a:xfrm>
          <a:prstGeom prst="rect">
            <a:avLst/>
          </a:prstGeom>
          <a:noFill/>
          <a:ln>
            <a:noFill/>
            <a:prstDash val="dash"/>
          </a:ln>
        </p:spPr>
        <p:txBody>
          <a:bodyPr wrap="square" lIns="108000" tIns="18288" rIns="0" bIns="18288" rtlCol="0" anchor="ctr">
            <a:noAutofit/>
          </a:bodyPr>
          <a:lstStyle/>
          <a:p>
            <a:pPr defTabSz="914400" eaLnBrk="0" fontAlgn="base" hangingPunct="0">
              <a:spcBef>
                <a:spcPct val="0"/>
              </a:spcBef>
              <a:spcAft>
                <a:spcPct val="0"/>
              </a:spcAft>
            </a:pPr>
            <a:r>
              <a:rPr lang="en-US" sz="1200" b="1" err="1">
                <a:solidFill>
                  <a:schemeClr val="tx1">
                    <a:lumMod val="75000"/>
                    <a:lumOff val="25000"/>
                  </a:schemeClr>
                </a:solidFill>
                <a:latin typeface="Ubuntu" panose="020B0504030602030204" pitchFamily="34" charset="0"/>
                <a:ea typeface="Geneva" pitchFamily="1" charset="-128"/>
              </a:rPr>
              <a:t>dd.mm.yyyy</a:t>
            </a:r>
            <a:r>
              <a:rPr lang="en-US" sz="1200" b="1">
                <a:solidFill>
                  <a:schemeClr val="tx1">
                    <a:lumMod val="75000"/>
                    <a:lumOff val="25000"/>
                  </a:scheme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200" i="1">
                <a:solidFill>
                  <a:schemeClr val="tx1">
                    <a:lumMod val="75000"/>
                    <a:lumOff val="25000"/>
                  </a:schemeClr>
                </a:solidFill>
                <a:latin typeface="Ubuntu" panose="020B0504030602030204" pitchFamily="34" charset="0"/>
                <a:ea typeface="Geneva" pitchFamily="1" charset="-128"/>
              </a:rPr>
              <a:t>Lorem ipsum dolor sit </a:t>
            </a:r>
            <a:r>
              <a:rPr lang="en-US" sz="1200" i="1" err="1">
                <a:solidFill>
                  <a:schemeClr val="tx1">
                    <a:lumMod val="75000"/>
                    <a:lumOff val="25000"/>
                  </a:schemeClr>
                </a:solidFill>
                <a:latin typeface="Ubuntu" panose="020B0504030602030204" pitchFamily="34" charset="0"/>
                <a:ea typeface="Geneva" pitchFamily="1" charset="-128"/>
              </a:rPr>
              <a:t>amet</a:t>
            </a:r>
            <a:r>
              <a:rPr lang="en-US" sz="1200" i="1">
                <a:solidFill>
                  <a:schemeClr val="tx1">
                    <a:lumMod val="75000"/>
                    <a:lumOff val="25000"/>
                  </a:schemeClr>
                </a:solidFill>
                <a:latin typeface="Ubuntu" panose="020B0504030602030204" pitchFamily="34" charset="0"/>
                <a:ea typeface="Geneva" pitchFamily="1" charset="-128"/>
              </a:rPr>
              <a:t>, </a:t>
            </a:r>
            <a:r>
              <a:rPr lang="en-US" sz="1200" i="1" err="1">
                <a:solidFill>
                  <a:schemeClr val="tx1">
                    <a:lumMod val="75000"/>
                    <a:lumOff val="25000"/>
                  </a:schemeClr>
                </a:solidFill>
                <a:latin typeface="Ubuntu" panose="020B0504030602030204" pitchFamily="34" charset="0"/>
                <a:ea typeface="Geneva" pitchFamily="1" charset="-128"/>
              </a:rPr>
              <a:t>consectetur</a:t>
            </a:r>
            <a:r>
              <a:rPr lang="en-US" sz="1200" i="1">
                <a:solidFill>
                  <a:schemeClr val="tx1">
                    <a:lumMod val="75000"/>
                    <a:lumOff val="25000"/>
                  </a:schemeClr>
                </a:solidFill>
                <a:latin typeface="Ubuntu" panose="020B0504030602030204" pitchFamily="34" charset="0"/>
                <a:ea typeface="Geneva" pitchFamily="1" charset="-128"/>
              </a:rPr>
              <a:t> </a:t>
            </a:r>
            <a:r>
              <a:rPr lang="en-US" sz="1200" i="1" err="1">
                <a:solidFill>
                  <a:schemeClr val="tx1">
                    <a:lumMod val="75000"/>
                    <a:lumOff val="25000"/>
                  </a:schemeClr>
                </a:solidFill>
                <a:latin typeface="Ubuntu" panose="020B0504030602030204" pitchFamily="34" charset="0"/>
                <a:ea typeface="Geneva" pitchFamily="1" charset="-128"/>
              </a:rPr>
              <a:t>adipiscing</a:t>
            </a:r>
            <a:r>
              <a:rPr lang="en-US" sz="1200" i="1">
                <a:solidFill>
                  <a:schemeClr val="tx1">
                    <a:lumMod val="75000"/>
                    <a:lumOff val="25000"/>
                  </a:schemeClr>
                </a:solidFill>
                <a:latin typeface="Ubuntu" panose="020B0504030602030204" pitchFamily="34" charset="0"/>
                <a:ea typeface="Geneva" pitchFamily="1" charset="-128"/>
              </a:rPr>
              <a:t> </a:t>
            </a:r>
            <a:r>
              <a:rPr lang="en-US" sz="1200" i="1" err="1">
                <a:solidFill>
                  <a:schemeClr val="tx1">
                    <a:lumMod val="75000"/>
                    <a:lumOff val="25000"/>
                  </a:schemeClr>
                </a:solidFill>
                <a:latin typeface="Ubuntu" panose="020B0504030602030204" pitchFamily="34" charset="0"/>
                <a:ea typeface="Geneva" pitchFamily="1" charset="-128"/>
              </a:rPr>
              <a:t>elit</a:t>
            </a:r>
            <a:r>
              <a:rPr lang="en-US" sz="1200" i="1">
                <a:solidFill>
                  <a:schemeClr val="tx1">
                    <a:lumMod val="75000"/>
                    <a:lumOff val="25000"/>
                  </a:schemeClr>
                </a:solidFill>
                <a:latin typeface="Ubuntu" panose="020B0504030602030204" pitchFamily="34" charset="0"/>
                <a:ea typeface="Geneva" pitchFamily="1" charset="-128"/>
              </a:rPr>
              <a:t>.</a:t>
            </a:r>
            <a:endParaRPr lang="en-US" sz="1200" b="1">
              <a:solidFill>
                <a:schemeClr val="tx1">
                  <a:lumMod val="75000"/>
                  <a:lumOff val="25000"/>
                </a:schemeClr>
              </a:solidFill>
              <a:latin typeface="Ubuntu" panose="020B0504030602030204" pitchFamily="34" charset="0"/>
              <a:ea typeface="Geneva" pitchFamily="1" charset="-128"/>
            </a:endParaRPr>
          </a:p>
        </p:txBody>
      </p:sp>
      <p:sp>
        <p:nvSpPr>
          <p:cNvPr id="41" name="TextBox 40">
            <a:extLst>
              <a:ext uri="{FF2B5EF4-FFF2-40B4-BE49-F238E27FC236}">
                <a16:creationId xmlns:a16="http://schemas.microsoft.com/office/drawing/2014/main" id="{930097CE-D677-4EFD-5F45-B378EEE601A8}"/>
              </a:ext>
            </a:extLst>
          </p:cNvPr>
          <p:cNvSpPr txBox="1"/>
          <p:nvPr/>
        </p:nvSpPr>
        <p:spPr>
          <a:xfrm>
            <a:off x="7115104" y="4126497"/>
            <a:ext cx="1559859" cy="873044"/>
          </a:xfrm>
          <a:prstGeom prst="rect">
            <a:avLst/>
          </a:prstGeom>
          <a:noFill/>
          <a:ln>
            <a:noFill/>
            <a:prstDash val="dash"/>
          </a:ln>
        </p:spPr>
        <p:txBody>
          <a:bodyPr wrap="square" lIns="108000" tIns="18288" rIns="0" bIns="18288" rtlCol="0" anchor="ctr">
            <a:noAutofit/>
          </a:bodyPr>
          <a:lstStyle/>
          <a:p>
            <a:pPr defTabSz="914400" eaLnBrk="0" fontAlgn="base" hangingPunct="0">
              <a:spcBef>
                <a:spcPct val="0"/>
              </a:spcBef>
              <a:spcAft>
                <a:spcPct val="0"/>
              </a:spcAft>
            </a:pPr>
            <a:r>
              <a:rPr lang="en-US" sz="1200" b="1" err="1">
                <a:solidFill>
                  <a:schemeClr val="tx1">
                    <a:lumMod val="75000"/>
                    <a:lumOff val="25000"/>
                  </a:schemeClr>
                </a:solidFill>
                <a:latin typeface="Ubuntu" panose="020B0504030602030204" pitchFamily="34" charset="0"/>
                <a:ea typeface="Geneva" pitchFamily="1" charset="-128"/>
              </a:rPr>
              <a:t>dd.mm.yyyy</a:t>
            </a:r>
            <a:r>
              <a:rPr lang="en-US" sz="1200" b="1">
                <a:solidFill>
                  <a:schemeClr val="tx1">
                    <a:lumMod val="75000"/>
                    <a:lumOff val="25000"/>
                  </a:scheme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200" i="1">
                <a:solidFill>
                  <a:schemeClr val="tx1">
                    <a:lumMod val="75000"/>
                    <a:lumOff val="25000"/>
                  </a:schemeClr>
                </a:solidFill>
                <a:latin typeface="Ubuntu" panose="020B0504030602030204" pitchFamily="34" charset="0"/>
                <a:ea typeface="Geneva" pitchFamily="1" charset="-128"/>
              </a:rPr>
              <a:t>Lorem ipsum dolor sit </a:t>
            </a:r>
            <a:r>
              <a:rPr lang="en-US" sz="1200" i="1" err="1">
                <a:solidFill>
                  <a:schemeClr val="tx1">
                    <a:lumMod val="75000"/>
                    <a:lumOff val="25000"/>
                  </a:schemeClr>
                </a:solidFill>
                <a:latin typeface="Ubuntu" panose="020B0504030602030204" pitchFamily="34" charset="0"/>
                <a:ea typeface="Geneva" pitchFamily="1" charset="-128"/>
              </a:rPr>
              <a:t>amet</a:t>
            </a:r>
            <a:r>
              <a:rPr lang="en-US" sz="1200" i="1">
                <a:solidFill>
                  <a:schemeClr val="tx1">
                    <a:lumMod val="75000"/>
                    <a:lumOff val="25000"/>
                  </a:schemeClr>
                </a:solidFill>
                <a:latin typeface="Ubuntu" panose="020B0504030602030204" pitchFamily="34" charset="0"/>
                <a:ea typeface="Geneva" pitchFamily="1" charset="-128"/>
              </a:rPr>
              <a:t>, </a:t>
            </a:r>
            <a:r>
              <a:rPr lang="en-US" sz="1200" i="1" err="1">
                <a:solidFill>
                  <a:schemeClr val="tx1">
                    <a:lumMod val="75000"/>
                    <a:lumOff val="25000"/>
                  </a:schemeClr>
                </a:solidFill>
                <a:latin typeface="Ubuntu" panose="020B0504030602030204" pitchFamily="34" charset="0"/>
                <a:ea typeface="Geneva" pitchFamily="1" charset="-128"/>
              </a:rPr>
              <a:t>consectetur</a:t>
            </a:r>
            <a:r>
              <a:rPr lang="en-US" sz="1200" i="1">
                <a:solidFill>
                  <a:schemeClr val="tx1">
                    <a:lumMod val="75000"/>
                    <a:lumOff val="25000"/>
                  </a:schemeClr>
                </a:solidFill>
                <a:latin typeface="Ubuntu" panose="020B0504030602030204" pitchFamily="34" charset="0"/>
                <a:ea typeface="Geneva" pitchFamily="1" charset="-128"/>
              </a:rPr>
              <a:t> </a:t>
            </a:r>
            <a:r>
              <a:rPr lang="en-US" sz="1200" i="1" err="1">
                <a:solidFill>
                  <a:schemeClr val="tx1">
                    <a:lumMod val="75000"/>
                    <a:lumOff val="25000"/>
                  </a:schemeClr>
                </a:solidFill>
                <a:latin typeface="Ubuntu" panose="020B0504030602030204" pitchFamily="34" charset="0"/>
                <a:ea typeface="Geneva" pitchFamily="1" charset="-128"/>
              </a:rPr>
              <a:t>adipiscing</a:t>
            </a:r>
            <a:r>
              <a:rPr lang="en-US" sz="1200" i="1">
                <a:solidFill>
                  <a:schemeClr val="tx1">
                    <a:lumMod val="75000"/>
                    <a:lumOff val="25000"/>
                  </a:schemeClr>
                </a:solidFill>
                <a:latin typeface="Ubuntu" panose="020B0504030602030204" pitchFamily="34" charset="0"/>
                <a:ea typeface="Geneva" pitchFamily="1" charset="-128"/>
              </a:rPr>
              <a:t> </a:t>
            </a:r>
            <a:r>
              <a:rPr lang="en-US" sz="1200" i="1" err="1">
                <a:solidFill>
                  <a:schemeClr val="tx1">
                    <a:lumMod val="75000"/>
                    <a:lumOff val="25000"/>
                  </a:schemeClr>
                </a:solidFill>
                <a:latin typeface="Ubuntu" panose="020B0504030602030204" pitchFamily="34" charset="0"/>
                <a:ea typeface="Geneva" pitchFamily="1" charset="-128"/>
              </a:rPr>
              <a:t>elit</a:t>
            </a:r>
            <a:r>
              <a:rPr lang="en-US" sz="1200" i="1">
                <a:solidFill>
                  <a:schemeClr val="tx1">
                    <a:lumMod val="75000"/>
                    <a:lumOff val="25000"/>
                  </a:schemeClr>
                </a:solidFill>
                <a:latin typeface="Ubuntu" panose="020B0504030602030204" pitchFamily="34" charset="0"/>
                <a:ea typeface="Geneva" pitchFamily="1" charset="-128"/>
              </a:rPr>
              <a:t>.</a:t>
            </a:r>
            <a:endParaRPr lang="en-US" sz="1200" b="1">
              <a:solidFill>
                <a:schemeClr val="tx1">
                  <a:lumMod val="75000"/>
                  <a:lumOff val="25000"/>
                </a:schemeClr>
              </a:solidFill>
              <a:latin typeface="Ubuntu" panose="020B0504030602030204" pitchFamily="34" charset="0"/>
              <a:ea typeface="Geneva" pitchFamily="1" charset="-128"/>
            </a:endParaRPr>
          </a:p>
        </p:txBody>
      </p:sp>
      <p:sp>
        <p:nvSpPr>
          <p:cNvPr id="42" name="TextBox 41">
            <a:extLst>
              <a:ext uri="{FF2B5EF4-FFF2-40B4-BE49-F238E27FC236}">
                <a16:creationId xmlns:a16="http://schemas.microsoft.com/office/drawing/2014/main" id="{BAE2DEF9-3306-BB32-A7BC-2D4220F43936}"/>
              </a:ext>
            </a:extLst>
          </p:cNvPr>
          <p:cNvSpPr txBox="1"/>
          <p:nvPr/>
        </p:nvSpPr>
        <p:spPr>
          <a:xfrm>
            <a:off x="9291566" y="2633890"/>
            <a:ext cx="1559859" cy="873044"/>
          </a:xfrm>
          <a:prstGeom prst="rect">
            <a:avLst/>
          </a:prstGeom>
          <a:noFill/>
          <a:ln>
            <a:noFill/>
            <a:prstDash val="dash"/>
          </a:ln>
        </p:spPr>
        <p:txBody>
          <a:bodyPr wrap="square" lIns="108000" tIns="18288" rIns="0" bIns="18288" rtlCol="0" anchor="ctr">
            <a:noAutofit/>
          </a:bodyPr>
          <a:lstStyle/>
          <a:p>
            <a:pPr defTabSz="914400" eaLnBrk="0" fontAlgn="base" hangingPunct="0">
              <a:spcBef>
                <a:spcPct val="0"/>
              </a:spcBef>
              <a:spcAft>
                <a:spcPct val="0"/>
              </a:spcAft>
            </a:pPr>
            <a:r>
              <a:rPr lang="en-US" sz="1200" b="1" err="1">
                <a:solidFill>
                  <a:schemeClr val="tx1">
                    <a:lumMod val="75000"/>
                    <a:lumOff val="25000"/>
                  </a:schemeClr>
                </a:solidFill>
                <a:latin typeface="Ubuntu" panose="020B0504030602030204" pitchFamily="34" charset="0"/>
                <a:ea typeface="Geneva" pitchFamily="1" charset="-128"/>
              </a:rPr>
              <a:t>dd.mm.yyyy</a:t>
            </a:r>
            <a:r>
              <a:rPr lang="en-US" sz="1200" b="1">
                <a:solidFill>
                  <a:schemeClr val="tx1">
                    <a:lumMod val="75000"/>
                    <a:lumOff val="25000"/>
                  </a:schemeClr>
                </a:solidFill>
                <a:latin typeface="Ubuntu" panose="020B0504030602030204" pitchFamily="34" charset="0"/>
                <a:ea typeface="Geneva" pitchFamily="1" charset="-128"/>
              </a:rPr>
              <a:t>:</a:t>
            </a:r>
          </a:p>
          <a:p>
            <a:pPr defTabSz="914400" eaLnBrk="0" fontAlgn="base" hangingPunct="0">
              <a:spcBef>
                <a:spcPct val="0"/>
              </a:spcBef>
              <a:spcAft>
                <a:spcPct val="0"/>
              </a:spcAft>
            </a:pPr>
            <a:r>
              <a:rPr lang="en-US" sz="1200" i="1">
                <a:solidFill>
                  <a:schemeClr val="tx1">
                    <a:lumMod val="75000"/>
                    <a:lumOff val="25000"/>
                  </a:schemeClr>
                </a:solidFill>
                <a:latin typeface="Ubuntu" panose="020B0504030602030204" pitchFamily="34" charset="0"/>
                <a:ea typeface="Geneva" pitchFamily="1" charset="-128"/>
              </a:rPr>
              <a:t>Lorem ipsum dolor sit </a:t>
            </a:r>
            <a:r>
              <a:rPr lang="en-US" sz="1200" i="1" err="1">
                <a:solidFill>
                  <a:schemeClr val="tx1">
                    <a:lumMod val="75000"/>
                    <a:lumOff val="25000"/>
                  </a:schemeClr>
                </a:solidFill>
                <a:latin typeface="Ubuntu" panose="020B0504030602030204" pitchFamily="34" charset="0"/>
                <a:ea typeface="Geneva" pitchFamily="1" charset="-128"/>
              </a:rPr>
              <a:t>amet</a:t>
            </a:r>
            <a:r>
              <a:rPr lang="en-US" sz="1200" i="1">
                <a:solidFill>
                  <a:schemeClr val="tx1">
                    <a:lumMod val="75000"/>
                    <a:lumOff val="25000"/>
                  </a:schemeClr>
                </a:solidFill>
                <a:latin typeface="Ubuntu" panose="020B0504030602030204" pitchFamily="34" charset="0"/>
                <a:ea typeface="Geneva" pitchFamily="1" charset="-128"/>
              </a:rPr>
              <a:t>, </a:t>
            </a:r>
            <a:r>
              <a:rPr lang="en-US" sz="1200" i="1" err="1">
                <a:solidFill>
                  <a:schemeClr val="tx1">
                    <a:lumMod val="75000"/>
                    <a:lumOff val="25000"/>
                  </a:schemeClr>
                </a:solidFill>
                <a:latin typeface="Ubuntu" panose="020B0504030602030204" pitchFamily="34" charset="0"/>
                <a:ea typeface="Geneva" pitchFamily="1" charset="-128"/>
              </a:rPr>
              <a:t>consectetur</a:t>
            </a:r>
            <a:r>
              <a:rPr lang="en-US" sz="1200" i="1">
                <a:solidFill>
                  <a:schemeClr val="tx1">
                    <a:lumMod val="75000"/>
                    <a:lumOff val="25000"/>
                  </a:schemeClr>
                </a:solidFill>
                <a:latin typeface="Ubuntu" panose="020B0504030602030204" pitchFamily="34" charset="0"/>
                <a:ea typeface="Geneva" pitchFamily="1" charset="-128"/>
              </a:rPr>
              <a:t> </a:t>
            </a:r>
            <a:r>
              <a:rPr lang="en-US" sz="1200" i="1" err="1">
                <a:solidFill>
                  <a:schemeClr val="tx1">
                    <a:lumMod val="75000"/>
                    <a:lumOff val="25000"/>
                  </a:schemeClr>
                </a:solidFill>
                <a:latin typeface="Ubuntu" panose="020B0504030602030204" pitchFamily="34" charset="0"/>
                <a:ea typeface="Geneva" pitchFamily="1" charset="-128"/>
              </a:rPr>
              <a:t>adipiscing</a:t>
            </a:r>
            <a:r>
              <a:rPr lang="en-US" sz="1200" i="1">
                <a:solidFill>
                  <a:schemeClr val="tx1">
                    <a:lumMod val="75000"/>
                    <a:lumOff val="25000"/>
                  </a:schemeClr>
                </a:solidFill>
                <a:latin typeface="Ubuntu" panose="020B0504030602030204" pitchFamily="34" charset="0"/>
                <a:ea typeface="Geneva" pitchFamily="1" charset="-128"/>
              </a:rPr>
              <a:t> </a:t>
            </a:r>
            <a:r>
              <a:rPr lang="en-US" sz="1200" i="1" err="1">
                <a:solidFill>
                  <a:schemeClr val="tx1">
                    <a:lumMod val="75000"/>
                    <a:lumOff val="25000"/>
                  </a:schemeClr>
                </a:solidFill>
                <a:latin typeface="Ubuntu" panose="020B0504030602030204" pitchFamily="34" charset="0"/>
                <a:ea typeface="Geneva" pitchFamily="1" charset="-128"/>
              </a:rPr>
              <a:t>elit</a:t>
            </a:r>
            <a:r>
              <a:rPr lang="en-US" sz="1200" i="1">
                <a:solidFill>
                  <a:schemeClr val="tx1">
                    <a:lumMod val="75000"/>
                    <a:lumOff val="25000"/>
                  </a:schemeClr>
                </a:solidFill>
                <a:latin typeface="Ubuntu" panose="020B0504030602030204" pitchFamily="34" charset="0"/>
                <a:ea typeface="Geneva" pitchFamily="1" charset="-128"/>
              </a:rPr>
              <a:t>.</a:t>
            </a:r>
            <a:endParaRPr lang="en-US" sz="1200" b="1">
              <a:solidFill>
                <a:schemeClr val="tx1">
                  <a:lumMod val="75000"/>
                  <a:lumOff val="25000"/>
                </a:schemeClr>
              </a:solidFill>
              <a:latin typeface="Ubuntu" panose="020B0504030602030204" pitchFamily="34" charset="0"/>
              <a:ea typeface="Geneva" pitchFamily="1" charset="-128"/>
            </a:endParaRPr>
          </a:p>
        </p:txBody>
      </p:sp>
    </p:spTree>
    <p:extLst>
      <p:ext uri="{BB962C8B-B14F-4D97-AF65-F5344CB8AC3E}">
        <p14:creationId xmlns:p14="http://schemas.microsoft.com/office/powerpoint/2010/main" val="1390639812"/>
      </p:ext>
    </p:extLst>
  </p:cSld>
  <p:clrMapOvr>
    <a:masterClrMapping/>
  </p:clrMapOvr>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Title only page">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lvl1pPr>
              <a:defRPr sz="1000">
                <a:latin typeface="Ubuntu" panose="020B0504030602030204" pitchFamily="34" charset="0"/>
              </a:defRPr>
            </a:lvl1pPr>
          </a:lstStyle>
          <a:p>
            <a:fld id="{D666D570-DD32-4FCB-AC4D-3564AD8B143A}" type="slidenum">
              <a:rPr lang="en-US" smtClean="0"/>
              <a:pPr/>
              <a:t>‹#›</a:t>
            </a:fld>
            <a:endParaRPr lang="en-US"/>
          </a:p>
        </p:txBody>
      </p:sp>
      <p:sp>
        <p:nvSpPr>
          <p:cNvPr id="8" name="Title 1">
            <a:extLst>
              <a:ext uri="{FF2B5EF4-FFF2-40B4-BE49-F238E27FC236}">
                <a16:creationId xmlns:a16="http://schemas.microsoft.com/office/drawing/2014/main" id="{A8AB577B-47EF-4D10-A66A-DB1E9CE23E67}"/>
              </a:ext>
            </a:extLst>
          </p:cNvPr>
          <p:cNvSpPr>
            <a:spLocks noGrp="1"/>
          </p:cNvSpPr>
          <p:nvPr>
            <p:ph type="title"/>
          </p:nvPr>
        </p:nvSpPr>
        <p:spPr>
          <a:xfrm>
            <a:off x="468923" y="0"/>
            <a:ext cx="11254154" cy="609600"/>
          </a:xfrm>
          <a:prstGeom prst="rect">
            <a:avLst/>
          </a:prstGeom>
        </p:spPr>
        <p:txBody>
          <a:bodyPr vert="horz" lIns="91440" tIns="45720" rIns="91440" bIns="45720" rtlCol="0" anchor="ctr">
            <a:noAutofit/>
          </a:bodyPr>
          <a:lstStyle>
            <a:lvl1pPr>
              <a:defRPr lang="en-US" sz="1800" dirty="0">
                <a:latin typeface="Ubuntu" panose="020B0504030602030204" pitchFamily="34" charset="0"/>
                <a:cs typeface="Arial" pitchFamily="34" charset="0"/>
              </a:defRPr>
            </a:lvl1pPr>
          </a:lstStyle>
          <a:p>
            <a:pPr lvl="0"/>
            <a:r>
              <a:rPr lang="en-US"/>
              <a:t>Click to edit Master title style</a:t>
            </a:r>
          </a:p>
        </p:txBody>
      </p:sp>
      <p:sp>
        <p:nvSpPr>
          <p:cNvPr id="10" name="Text Placeholder 12">
            <a:extLst>
              <a:ext uri="{FF2B5EF4-FFF2-40B4-BE49-F238E27FC236}">
                <a16:creationId xmlns:a16="http://schemas.microsoft.com/office/drawing/2014/main" id="{ED775442-D86B-483F-AD9B-270A7C26CFCB}"/>
              </a:ext>
            </a:extLst>
          </p:cNvPr>
          <p:cNvSpPr>
            <a:spLocks noGrp="1"/>
          </p:cNvSpPr>
          <p:nvPr>
            <p:ph type="body" sz="quarter" idx="17" hasCustomPrompt="1"/>
          </p:nvPr>
        </p:nvSpPr>
        <p:spPr>
          <a:xfrm>
            <a:off x="468923" y="6162008"/>
            <a:ext cx="11254154" cy="243638"/>
          </a:xfrm>
          <a:prstGeom prst="rect">
            <a:avLst/>
          </a:prstGeom>
          <a:noFill/>
        </p:spPr>
        <p:txBody>
          <a:bodyPr lIns="91440" tIns="0" rIns="0" bIns="0" anchor="b" anchorCtr="0">
            <a:noAutofit/>
          </a:bodyPr>
          <a:lstStyle>
            <a:lvl1pPr marL="0" indent="0">
              <a:spcBef>
                <a:spcPts val="0"/>
              </a:spcBef>
              <a:buNone/>
              <a:defRPr sz="800" baseline="0"/>
            </a:lvl1pPr>
            <a:lvl2pPr>
              <a:buNone/>
              <a:defRPr sz="1400"/>
            </a:lvl2pPr>
            <a:lvl3pPr>
              <a:buNone/>
              <a:defRPr sz="1200"/>
            </a:lvl3pPr>
            <a:lvl4pPr>
              <a:buNone/>
              <a:defRPr sz="1100"/>
            </a:lvl4pPr>
            <a:lvl5pPr>
              <a:buNone/>
              <a:defRPr sz="1100"/>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Tree>
    <p:extLst>
      <p:ext uri="{BB962C8B-B14F-4D97-AF65-F5344CB8AC3E}">
        <p14:creationId xmlns:p14="http://schemas.microsoft.com/office/powerpoint/2010/main" val="122763682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Free format graphics - but not for tex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lvl1pPr>
              <a:defRPr sz="1000">
                <a:latin typeface="Ubuntu" panose="020B0504030602030204" pitchFamily="34" charset="0"/>
              </a:defRPr>
            </a:lvl1pPr>
          </a:lstStyle>
          <a:p>
            <a:fld id="{D666D570-DD32-4FCB-AC4D-3564AD8B143A}" type="slidenum">
              <a:rPr lang="en-US" smtClean="0"/>
              <a:pPr/>
              <a:t>‹#›</a:t>
            </a:fld>
            <a:endParaRPr lang="en-US"/>
          </a:p>
        </p:txBody>
      </p:sp>
      <p:sp>
        <p:nvSpPr>
          <p:cNvPr id="8" name="Content Placeholder 7">
            <a:extLst>
              <a:ext uri="{FF2B5EF4-FFF2-40B4-BE49-F238E27FC236}">
                <a16:creationId xmlns:a16="http://schemas.microsoft.com/office/drawing/2014/main" id="{339BD1C2-EDD1-4097-8018-8B2F3799CB17}"/>
              </a:ext>
            </a:extLst>
          </p:cNvPr>
          <p:cNvSpPr>
            <a:spLocks noGrp="1"/>
          </p:cNvSpPr>
          <p:nvPr>
            <p:ph sz="quarter" idx="11" hasCustomPrompt="1"/>
          </p:nvPr>
        </p:nvSpPr>
        <p:spPr>
          <a:xfrm>
            <a:off x="468924" y="685800"/>
            <a:ext cx="11254153" cy="5437184"/>
          </a:xfrm>
          <a:prstGeom prst="rect">
            <a:avLst/>
          </a:prstGeom>
        </p:spPr>
        <p:txBody>
          <a:bodyPr vert="horz" lIns="91440" tIns="45720" rIns="91440" bIns="45720" rtlCol="0">
            <a:normAutofit/>
          </a:bodyPr>
          <a:lstStyle>
            <a:lvl1pPr marL="0" indent="0">
              <a:buNone/>
              <a:defRPr lang="en-US" sz="1100" i="1" smtClean="0">
                <a:latin typeface="Ubuntu" panose="020B0504030602030204" pitchFamily="34" charset="0"/>
                <a:cs typeface="Arial" pitchFamily="34" charset="0"/>
              </a:defRPr>
            </a:lvl1pPr>
          </a:lstStyle>
          <a:p>
            <a:pPr marL="228600" lvl="0" indent="-228600">
              <a:spcBef>
                <a:spcPts val="0"/>
              </a:spcBef>
            </a:pPr>
            <a:r>
              <a:rPr lang="en-US"/>
              <a:t>CUBEOUT chart to be placed here</a:t>
            </a:r>
          </a:p>
        </p:txBody>
      </p:sp>
      <p:sp>
        <p:nvSpPr>
          <p:cNvPr id="12" name="Title 1">
            <a:extLst>
              <a:ext uri="{FF2B5EF4-FFF2-40B4-BE49-F238E27FC236}">
                <a16:creationId xmlns:a16="http://schemas.microsoft.com/office/drawing/2014/main" id="{7963BB8E-796A-44DD-8497-92BC551917D0}"/>
              </a:ext>
            </a:extLst>
          </p:cNvPr>
          <p:cNvSpPr>
            <a:spLocks noGrp="1"/>
          </p:cNvSpPr>
          <p:nvPr>
            <p:ph type="title"/>
          </p:nvPr>
        </p:nvSpPr>
        <p:spPr>
          <a:xfrm>
            <a:off x="468923" y="0"/>
            <a:ext cx="11254154" cy="609600"/>
          </a:xfrm>
          <a:prstGeom prst="rect">
            <a:avLst/>
          </a:prstGeom>
        </p:spPr>
        <p:txBody>
          <a:bodyPr vert="horz" lIns="91440" tIns="45720" rIns="91440" bIns="45720" rtlCol="0" anchor="ctr">
            <a:noAutofit/>
          </a:bodyPr>
          <a:lstStyle>
            <a:lvl1pPr>
              <a:defRPr lang="en-US" sz="1800" dirty="0">
                <a:latin typeface="Ubuntu" panose="020B0504030602030204" pitchFamily="34" charset="0"/>
                <a:cs typeface="Arial" pitchFamily="34" charset="0"/>
              </a:defRPr>
            </a:lvl1pPr>
          </a:lstStyle>
          <a:p>
            <a:pPr lvl="0"/>
            <a:r>
              <a:rPr lang="en-US"/>
              <a:t>Click to edit Master title style</a:t>
            </a:r>
          </a:p>
        </p:txBody>
      </p:sp>
      <p:sp>
        <p:nvSpPr>
          <p:cNvPr id="14" name="Text Placeholder 12">
            <a:extLst>
              <a:ext uri="{FF2B5EF4-FFF2-40B4-BE49-F238E27FC236}">
                <a16:creationId xmlns:a16="http://schemas.microsoft.com/office/drawing/2014/main" id="{ED775442-D86B-483F-AD9B-270A7C26CFCB}"/>
              </a:ext>
            </a:extLst>
          </p:cNvPr>
          <p:cNvSpPr>
            <a:spLocks noGrp="1"/>
          </p:cNvSpPr>
          <p:nvPr>
            <p:ph type="body" sz="quarter" idx="17" hasCustomPrompt="1"/>
          </p:nvPr>
        </p:nvSpPr>
        <p:spPr>
          <a:xfrm>
            <a:off x="468923" y="6162008"/>
            <a:ext cx="11254154" cy="243638"/>
          </a:xfrm>
          <a:prstGeom prst="rect">
            <a:avLst/>
          </a:prstGeom>
          <a:noFill/>
        </p:spPr>
        <p:txBody>
          <a:bodyPr lIns="91440" tIns="0" rIns="0" bIns="0" anchor="b" anchorCtr="0">
            <a:noAutofit/>
          </a:bodyPr>
          <a:lstStyle>
            <a:lvl1pPr marL="0" indent="0">
              <a:spcBef>
                <a:spcPts val="0"/>
              </a:spcBef>
              <a:buNone/>
              <a:defRPr sz="800" baseline="0"/>
            </a:lvl1pPr>
            <a:lvl2pPr>
              <a:buNone/>
              <a:defRPr sz="1400"/>
            </a:lvl2pPr>
            <a:lvl3pPr>
              <a:buNone/>
              <a:defRPr sz="1200"/>
            </a:lvl3pPr>
            <a:lvl4pPr>
              <a:buNone/>
              <a:defRPr sz="1100"/>
            </a:lvl4pPr>
            <a:lvl5pPr>
              <a:buNone/>
              <a:defRPr sz="1100"/>
            </a:lvl5pPr>
          </a:lstStyle>
          <a:p>
            <a:pPr lvl="0"/>
            <a:r>
              <a:rPr lang="en-US"/>
              <a:t>Click to enter Footnotes (*, </a:t>
            </a:r>
            <a:r>
              <a:rPr lang="en-US" err="1"/>
              <a:t>etc</a:t>
            </a:r>
            <a:r>
              <a:rPr lang="en-US"/>
              <a:t>) and Source of information here (Source: example1; example 2; </a:t>
            </a:r>
            <a:r>
              <a:rPr lang="en-US" err="1"/>
              <a:t>Rystad</a:t>
            </a:r>
            <a:r>
              <a:rPr lang="en-US"/>
              <a:t> Energy research and analysis; </a:t>
            </a:r>
            <a:r>
              <a:rPr lang="en-US" err="1"/>
              <a:t>Rystad</a:t>
            </a:r>
            <a:r>
              <a:rPr lang="en-US"/>
              <a:t> Energy </a:t>
            </a:r>
            <a:r>
              <a:rPr lang="en-US" err="1"/>
              <a:t>UCube</a:t>
            </a:r>
            <a:r>
              <a:rPr lang="en-US"/>
              <a:t>… </a:t>
            </a:r>
            <a:r>
              <a:rPr lang="en-US" err="1"/>
              <a:t>etc</a:t>
            </a:r>
            <a:r>
              <a:rPr lang="en-US"/>
              <a:t>)</a:t>
            </a:r>
          </a:p>
        </p:txBody>
      </p:sp>
    </p:spTree>
    <p:extLst>
      <p:ext uri="{BB962C8B-B14F-4D97-AF65-F5344CB8AC3E}">
        <p14:creationId xmlns:p14="http://schemas.microsoft.com/office/powerpoint/2010/main" val="158111722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Front page">
    <p:bg>
      <p:bgRef idx="1001">
        <a:schemeClr val="bg1"/>
      </p:bgRef>
    </p:bg>
    <p:spTree>
      <p:nvGrpSpPr>
        <p:cNvPr id="1" name=""/>
        <p:cNvGrpSpPr/>
        <p:nvPr/>
      </p:nvGrpSpPr>
      <p:grpSpPr>
        <a:xfrm>
          <a:off x="0" y="0"/>
          <a:ext cx="0" cy="0"/>
          <a:chOff x="0" y="0"/>
          <a:chExt cx="0" cy="0"/>
        </a:xfrm>
      </p:grpSpPr>
      <p:pic>
        <p:nvPicPr>
          <p:cNvPr id="14" name="rystad_lightblue" descr="Background pattern, icon&#10;&#10;Description automatically generated with medium confidence" hidden="1">
            <a:extLst>
              <a:ext uri="{FF2B5EF4-FFF2-40B4-BE49-F238E27FC236}">
                <a16:creationId xmlns:a16="http://schemas.microsoft.com/office/drawing/2014/main" id="{22D38076-05AB-4AF3-95E7-D30EBBEC92A8}"/>
              </a:ext>
            </a:extLst>
          </p:cNvPr>
          <p:cNvPicPr>
            <a:picLocks noChangeAspect="1"/>
          </p:cNvPicPr>
          <p:nvPr/>
        </p:nvPicPr>
        <p:blipFill rotWithShape="1">
          <a:blip r:embed="rId2">
            <a:extLst>
              <a:ext uri="{28A0092B-C50C-407E-A947-70E740481C1C}">
                <a14:useLocalDpi xmlns:a14="http://schemas.microsoft.com/office/drawing/2010/main" val="0"/>
              </a:ext>
            </a:extLst>
          </a:blip>
          <a:srcRect l="413" r="1"/>
          <a:stretch/>
        </p:blipFill>
        <p:spPr>
          <a:xfrm>
            <a:off x="0" y="-30080"/>
            <a:ext cx="12192000" cy="5123440"/>
          </a:xfrm>
          <a:prstGeom prst="rect">
            <a:avLst/>
          </a:prstGeom>
        </p:spPr>
      </p:pic>
      <p:pic>
        <p:nvPicPr>
          <p:cNvPr id="7" name="rystad_orange" hidden="1">
            <a:extLst>
              <a:ext uri="{FF2B5EF4-FFF2-40B4-BE49-F238E27FC236}">
                <a16:creationId xmlns:a16="http://schemas.microsoft.com/office/drawing/2014/main" id="{7C5903E0-E7A6-427D-8D6A-0E69D6123C35}"/>
              </a:ext>
            </a:extLst>
          </p:cNvPr>
          <p:cNvPicPr>
            <a:picLocks noChangeAspect="1"/>
          </p:cNvPicPr>
          <p:nvPr/>
        </p:nvPicPr>
        <p:blipFill rotWithShape="1">
          <a:blip r:embed="rId3">
            <a:extLst>
              <a:ext uri="{28A0092B-C50C-407E-A947-70E740481C1C}">
                <a14:useLocalDpi xmlns:a14="http://schemas.microsoft.com/office/drawing/2010/main" val="0"/>
              </a:ext>
            </a:extLst>
          </a:blip>
          <a:srcRect l="383"/>
          <a:stretch/>
        </p:blipFill>
        <p:spPr>
          <a:xfrm>
            <a:off x="0" y="-39200"/>
            <a:ext cx="12192000" cy="5143219"/>
          </a:xfrm>
          <a:prstGeom prst="rect">
            <a:avLst/>
          </a:prstGeom>
        </p:spPr>
      </p:pic>
      <p:pic>
        <p:nvPicPr>
          <p:cNvPr id="10" name="rystad_green" descr="A close up of a logo&#10;&#10;Description automatically generated" hidden="1">
            <a:extLst>
              <a:ext uri="{FF2B5EF4-FFF2-40B4-BE49-F238E27FC236}">
                <a16:creationId xmlns:a16="http://schemas.microsoft.com/office/drawing/2014/main" id="{381057B6-15D5-4E93-8859-04B712EB648B}"/>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383"/>
          <a:stretch/>
        </p:blipFill>
        <p:spPr>
          <a:xfrm>
            <a:off x="0" y="-38100"/>
            <a:ext cx="12192000" cy="5141036"/>
          </a:xfrm>
          <a:prstGeom prst="rect">
            <a:avLst/>
          </a:prstGeom>
        </p:spPr>
      </p:pic>
      <p:pic>
        <p:nvPicPr>
          <p:cNvPr id="13" name="rystad_blue" descr="A picture containing light&#10;&#10;Description automatically generated" hidden="1">
            <a:extLst>
              <a:ext uri="{FF2B5EF4-FFF2-40B4-BE49-F238E27FC236}">
                <a16:creationId xmlns:a16="http://schemas.microsoft.com/office/drawing/2014/main" id="{FBCDF78E-2ABB-4FB9-89E9-21EACEFE872D}"/>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l="383"/>
          <a:stretch/>
        </p:blipFill>
        <p:spPr>
          <a:xfrm>
            <a:off x="0" y="-38100"/>
            <a:ext cx="12192000" cy="5141036"/>
          </a:xfrm>
          <a:prstGeom prst="rect">
            <a:avLst/>
          </a:prstGeom>
        </p:spPr>
      </p:pic>
      <p:pic>
        <p:nvPicPr>
          <p:cNvPr id="15" name="rystad_red" descr="A close up of a logo&#10;&#10;Description automatically generated" hidden="1">
            <a:extLst>
              <a:ext uri="{FF2B5EF4-FFF2-40B4-BE49-F238E27FC236}">
                <a16:creationId xmlns:a16="http://schemas.microsoft.com/office/drawing/2014/main" id="{D634F3BA-5CEC-4CAA-AC4B-9D5692D4BC07}"/>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l="383"/>
          <a:stretch/>
        </p:blipFill>
        <p:spPr>
          <a:xfrm>
            <a:off x="0" y="-38100"/>
            <a:ext cx="12192000" cy="5141036"/>
          </a:xfrm>
          <a:prstGeom prst="rect">
            <a:avLst/>
          </a:prstGeom>
        </p:spPr>
      </p:pic>
      <p:pic>
        <p:nvPicPr>
          <p:cNvPr id="17" name="rystad_yellow" descr="A picture containing light&#10;&#10;Description automatically generated" hidden="1">
            <a:extLst>
              <a:ext uri="{FF2B5EF4-FFF2-40B4-BE49-F238E27FC236}">
                <a16:creationId xmlns:a16="http://schemas.microsoft.com/office/drawing/2014/main" id="{40439BAE-50CE-4622-BE92-90E33F98FD6B}"/>
              </a:ext>
            </a:extLst>
          </p:cNvPr>
          <p:cNvPicPr>
            <a:picLocks noChangeAspect="1"/>
          </p:cNvPicPr>
          <p:nvPr/>
        </p:nvPicPr>
        <p:blipFill rotWithShape="1">
          <a:blip r:embed="rId7" cstate="hqprint">
            <a:extLst>
              <a:ext uri="{28A0092B-C50C-407E-A947-70E740481C1C}">
                <a14:useLocalDpi xmlns:a14="http://schemas.microsoft.com/office/drawing/2010/main" val="0"/>
              </a:ext>
            </a:extLst>
          </a:blip>
          <a:srcRect l="383"/>
          <a:stretch/>
        </p:blipFill>
        <p:spPr>
          <a:xfrm>
            <a:off x="0" y="-38100"/>
            <a:ext cx="12192000" cy="5141036"/>
          </a:xfrm>
          <a:prstGeom prst="rect">
            <a:avLst/>
          </a:prstGeom>
        </p:spPr>
      </p:pic>
    </p:spTree>
    <p:extLst>
      <p:ext uri="{BB962C8B-B14F-4D97-AF65-F5344CB8AC3E}">
        <p14:creationId xmlns:p14="http://schemas.microsoft.com/office/powerpoint/2010/main" val="271906730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07" Type="http://schemas.openxmlformats.org/officeDocument/2006/relationships/image" Target="cid:image007.png@01D86F56.3C9ECBA0" TargetMode="Externa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102" Type="http://schemas.openxmlformats.org/officeDocument/2006/relationships/image" Target="../media/image4.png"/><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image" Target="../media/image2.png"/><Relationship Id="rId105" Type="http://schemas.openxmlformats.org/officeDocument/2006/relationships/image" Target="../media/image7.png"/><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image" Target="../media/image5.png"/><Relationship Id="rId108" Type="http://schemas.openxmlformats.org/officeDocument/2006/relationships/image" Target="../media/image9.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image" Target="../media/image8.png"/><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microsoft.com/office/2007/relationships/hdphoto" Target="../media/hdphoto1.wdp"/><Relationship Id="rId10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theme" Target="../theme/theme1.xml"/><Relationship Id="rId10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904B896-E21E-130A-89D7-457B2B25DC62}"/>
              </a:ext>
            </a:extLst>
          </p:cNvPr>
          <p:cNvGrpSpPr/>
          <p:nvPr userDrawn="1"/>
        </p:nvGrpSpPr>
        <p:grpSpPr>
          <a:xfrm>
            <a:off x="0" y="6218078"/>
            <a:ext cx="12192000" cy="651611"/>
            <a:chOff x="0" y="6218078"/>
            <a:chExt cx="12192000" cy="651611"/>
          </a:xfrm>
        </p:grpSpPr>
        <p:sp>
          <p:nvSpPr>
            <p:cNvPr id="7" name="Rectangle 6">
              <a:extLst>
                <a:ext uri="{FF2B5EF4-FFF2-40B4-BE49-F238E27FC236}">
                  <a16:creationId xmlns:a16="http://schemas.microsoft.com/office/drawing/2014/main" id="{4C6EF54C-DCA9-0BB8-0069-080C1729037C}"/>
                </a:ext>
              </a:extLst>
            </p:cNvPr>
            <p:cNvSpPr/>
            <p:nvPr/>
          </p:nvSpPr>
          <p:spPr>
            <a:xfrm>
              <a:off x="0" y="6258501"/>
              <a:ext cx="12191347" cy="611188"/>
            </a:xfrm>
            <a:prstGeom prst="rect">
              <a:avLst/>
            </a:prstGeom>
            <a:solidFill>
              <a:schemeClr val="tx2">
                <a:lumMod val="75000"/>
                <a:alpha val="23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ln>
                  <a:solidFill>
                    <a:schemeClr val="tx1"/>
                  </a:solidFill>
                </a:ln>
                <a:solidFill>
                  <a:schemeClr val="tx1"/>
                </a:solidFill>
              </a:endParaRPr>
            </a:p>
          </p:txBody>
        </p:sp>
        <p:pic>
          <p:nvPicPr>
            <p:cNvPr id="8" name="Picture 7">
              <a:extLst>
                <a:ext uri="{FF2B5EF4-FFF2-40B4-BE49-F238E27FC236}">
                  <a16:creationId xmlns:a16="http://schemas.microsoft.com/office/drawing/2014/main" id="{5D209D0F-464F-FE82-B10B-36375B716BD0}"/>
                </a:ext>
              </a:extLst>
            </p:cNvPr>
            <p:cNvPicPr>
              <a:picLocks noChangeAspect="1"/>
            </p:cNvPicPr>
            <p:nvPr/>
          </p:nvPicPr>
          <p:blipFill rotWithShape="1">
            <a:blip r:embed="rId98">
              <a:extLst>
                <a:ext uri="{BEBA8EAE-BF5A-486C-A8C5-ECC9F3942E4B}">
                  <a14:imgProps xmlns:a14="http://schemas.microsoft.com/office/drawing/2010/main">
                    <a14:imgLayer r:embed="rId99">
                      <a14:imgEffect>
                        <a14:brightnessContrast contrast="-17000"/>
                      </a14:imgEffect>
                    </a14:imgLayer>
                  </a14:imgProps>
                </a:ext>
              </a:extLst>
            </a:blip>
            <a:srcRect l="-2" t="55610" r="38068" b="38667"/>
            <a:stretch/>
          </p:blipFill>
          <p:spPr>
            <a:xfrm>
              <a:off x="653" y="6218078"/>
              <a:ext cx="12191347" cy="639922"/>
            </a:xfrm>
            <a:prstGeom prst="rect">
              <a:avLst/>
            </a:prstGeom>
          </p:spPr>
        </p:pic>
      </p:grpSp>
      <p:pic>
        <p:nvPicPr>
          <p:cNvPr id="15" name="rystad_orange" hidden="1">
            <a:extLst>
              <a:ext uri="{FF2B5EF4-FFF2-40B4-BE49-F238E27FC236}">
                <a16:creationId xmlns:a16="http://schemas.microsoft.com/office/drawing/2014/main" id="{912F094B-BA51-4AFB-AB2B-D0CC52B44117}"/>
              </a:ext>
            </a:extLst>
          </p:cNvPr>
          <p:cNvPicPr>
            <a:picLocks noChangeAspect="1"/>
          </p:cNvPicPr>
          <p:nvPr/>
        </p:nvPicPr>
        <p:blipFill>
          <a:blip r:embed="rId100" cstate="hqprint">
            <a:extLst>
              <a:ext uri="{28A0092B-C50C-407E-A947-70E740481C1C}">
                <a14:useLocalDpi xmlns:a14="http://schemas.microsoft.com/office/drawing/2010/main" val="0"/>
              </a:ext>
            </a:extLst>
          </a:blip>
          <a:stretch>
            <a:fillRect/>
          </a:stretch>
        </p:blipFill>
        <p:spPr>
          <a:xfrm>
            <a:off x="-26169" y="6415174"/>
            <a:ext cx="12248705" cy="456107"/>
          </a:xfrm>
          <a:prstGeom prst="rect">
            <a:avLst/>
          </a:prstGeom>
        </p:spPr>
      </p:pic>
      <p:pic>
        <p:nvPicPr>
          <p:cNvPr id="17" name="rystad_green" hidden="1">
            <a:extLst>
              <a:ext uri="{FF2B5EF4-FFF2-40B4-BE49-F238E27FC236}">
                <a16:creationId xmlns:a16="http://schemas.microsoft.com/office/drawing/2014/main" id="{E1A48761-DED5-494B-ABDF-A8B3CBDB6CA0}"/>
              </a:ext>
            </a:extLst>
          </p:cNvPr>
          <p:cNvPicPr>
            <a:picLocks noChangeAspect="1"/>
          </p:cNvPicPr>
          <p:nvPr/>
        </p:nvPicPr>
        <p:blipFill>
          <a:blip r:embed="rId101" cstate="hqprint">
            <a:extLst>
              <a:ext uri="{28A0092B-C50C-407E-A947-70E740481C1C}">
                <a14:useLocalDpi xmlns:a14="http://schemas.microsoft.com/office/drawing/2010/main" val="0"/>
              </a:ext>
            </a:extLst>
          </a:blip>
          <a:stretch>
            <a:fillRect/>
          </a:stretch>
        </p:blipFill>
        <p:spPr>
          <a:xfrm>
            <a:off x="-26169" y="6415174"/>
            <a:ext cx="12248705" cy="456107"/>
          </a:xfrm>
          <a:prstGeom prst="rect">
            <a:avLst/>
          </a:prstGeom>
        </p:spPr>
      </p:pic>
      <p:pic>
        <p:nvPicPr>
          <p:cNvPr id="19" name="rystad_blue" hidden="1">
            <a:extLst>
              <a:ext uri="{FF2B5EF4-FFF2-40B4-BE49-F238E27FC236}">
                <a16:creationId xmlns:a16="http://schemas.microsoft.com/office/drawing/2014/main" id="{AD85332B-87E4-4F2D-B41F-ECCC2783E14F}"/>
              </a:ext>
            </a:extLst>
          </p:cNvPr>
          <p:cNvPicPr>
            <a:picLocks noChangeAspect="1"/>
          </p:cNvPicPr>
          <p:nvPr/>
        </p:nvPicPr>
        <p:blipFill>
          <a:blip r:embed="rId102" cstate="hqprint">
            <a:extLst>
              <a:ext uri="{28A0092B-C50C-407E-A947-70E740481C1C}">
                <a14:useLocalDpi xmlns:a14="http://schemas.microsoft.com/office/drawing/2010/main" val="0"/>
              </a:ext>
            </a:extLst>
          </a:blip>
          <a:stretch>
            <a:fillRect/>
          </a:stretch>
        </p:blipFill>
        <p:spPr>
          <a:xfrm>
            <a:off x="-26169" y="6415174"/>
            <a:ext cx="12248705" cy="456107"/>
          </a:xfrm>
          <a:prstGeom prst="rect">
            <a:avLst/>
          </a:prstGeom>
        </p:spPr>
      </p:pic>
      <p:pic>
        <p:nvPicPr>
          <p:cNvPr id="21" name="rystad_red" hidden="1">
            <a:extLst>
              <a:ext uri="{FF2B5EF4-FFF2-40B4-BE49-F238E27FC236}">
                <a16:creationId xmlns:a16="http://schemas.microsoft.com/office/drawing/2014/main" id="{7CB07D32-49BA-4E6F-8434-37243B3E306A}"/>
              </a:ext>
            </a:extLst>
          </p:cNvPr>
          <p:cNvPicPr>
            <a:picLocks noChangeAspect="1"/>
          </p:cNvPicPr>
          <p:nvPr/>
        </p:nvPicPr>
        <p:blipFill>
          <a:blip r:embed="rId103" cstate="hqprint">
            <a:extLst>
              <a:ext uri="{28A0092B-C50C-407E-A947-70E740481C1C}">
                <a14:useLocalDpi xmlns:a14="http://schemas.microsoft.com/office/drawing/2010/main" val="0"/>
              </a:ext>
            </a:extLst>
          </a:blip>
          <a:stretch>
            <a:fillRect/>
          </a:stretch>
        </p:blipFill>
        <p:spPr>
          <a:xfrm>
            <a:off x="-26169" y="6415174"/>
            <a:ext cx="12248705" cy="456107"/>
          </a:xfrm>
          <a:prstGeom prst="rect">
            <a:avLst/>
          </a:prstGeom>
        </p:spPr>
      </p:pic>
      <p:pic>
        <p:nvPicPr>
          <p:cNvPr id="23" name="rystad_yellow" hidden="1">
            <a:extLst>
              <a:ext uri="{FF2B5EF4-FFF2-40B4-BE49-F238E27FC236}">
                <a16:creationId xmlns:a16="http://schemas.microsoft.com/office/drawing/2014/main" id="{7B4E80BB-863C-491D-9D2E-53C3BE5E4E38}"/>
              </a:ext>
            </a:extLst>
          </p:cNvPr>
          <p:cNvPicPr>
            <a:picLocks noChangeAspect="1"/>
          </p:cNvPicPr>
          <p:nvPr/>
        </p:nvPicPr>
        <p:blipFill>
          <a:blip r:embed="rId104" cstate="hqprint">
            <a:extLst>
              <a:ext uri="{28A0092B-C50C-407E-A947-70E740481C1C}">
                <a14:useLocalDpi xmlns:a14="http://schemas.microsoft.com/office/drawing/2010/main" val="0"/>
              </a:ext>
            </a:extLst>
          </a:blip>
          <a:stretch>
            <a:fillRect/>
          </a:stretch>
        </p:blipFill>
        <p:spPr>
          <a:xfrm>
            <a:off x="-26169" y="6415174"/>
            <a:ext cx="12248705" cy="456107"/>
          </a:xfrm>
          <a:prstGeom prst="rect">
            <a:avLst/>
          </a:prstGeom>
        </p:spPr>
      </p:pic>
      <p:sp>
        <p:nvSpPr>
          <p:cNvPr id="4" name="Title Placeholder 3">
            <a:extLst>
              <a:ext uri="{FF2B5EF4-FFF2-40B4-BE49-F238E27FC236}">
                <a16:creationId xmlns:a16="http://schemas.microsoft.com/office/drawing/2014/main" id="{AED618D4-0DB0-43B8-D339-998CC177FF67}"/>
              </a:ext>
            </a:extLst>
          </p:cNvPr>
          <p:cNvSpPr>
            <a:spLocks noGrp="1"/>
          </p:cNvSpPr>
          <p:nvPr>
            <p:ph type="title"/>
          </p:nvPr>
        </p:nvSpPr>
        <p:spPr>
          <a:xfrm>
            <a:off x="442913" y="441325"/>
            <a:ext cx="11306175" cy="611188"/>
          </a:xfrm>
          <a:prstGeom prst="rect">
            <a:avLst/>
          </a:prstGeom>
        </p:spPr>
        <p:txBody>
          <a:bodyPr vert="horz" lIns="91440" tIns="45720" rIns="91440" bIns="45720" rtlCol="0" anchor="ctr">
            <a:noAutofit/>
          </a:bodyPr>
          <a:lstStyle/>
          <a:p>
            <a:r>
              <a:rPr lang="en-US"/>
              <a:t>Click to edit Master title style</a:t>
            </a:r>
            <a:endParaRPr lang="en-GB"/>
          </a:p>
        </p:txBody>
      </p:sp>
      <p:sp>
        <p:nvSpPr>
          <p:cNvPr id="2" name="themetag" hidden="1">
            <a:extLst>
              <a:ext uri="{FF2B5EF4-FFF2-40B4-BE49-F238E27FC236}">
                <a16:creationId xmlns:a16="http://schemas.microsoft.com/office/drawing/2014/main" id="{DDF7BD13-B659-6C40-F9B6-D59978BCCDCE}"/>
              </a:ext>
            </a:extLst>
          </p:cNvPr>
          <p:cNvSpPr/>
          <p:nvPr/>
        </p:nvSpPr>
        <p:spPr>
          <a:xfrm>
            <a:off x="320993" y="-422166"/>
            <a:ext cx="914400" cy="313970"/>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err="1">
                <a:solidFill>
                  <a:schemeClr val="accent6"/>
                </a:solidFill>
                <a:latin typeface="Ubuntu" panose="020B0504030602030204" pitchFamily="34" charset="0"/>
              </a:rPr>
              <a:t>dark_blue</a:t>
            </a:r>
            <a:endParaRPr lang="nb-NO" sz="1000">
              <a:solidFill>
                <a:schemeClr val="accent6"/>
              </a:solidFill>
              <a:latin typeface="Ubuntu" panose="020B0504030602030204" pitchFamily="34" charset="0"/>
            </a:endParaRPr>
          </a:p>
        </p:txBody>
      </p:sp>
      <p:sp>
        <p:nvSpPr>
          <p:cNvPr id="10" name="Text Placeholder 8">
            <a:extLst>
              <a:ext uri="{FF2B5EF4-FFF2-40B4-BE49-F238E27FC236}">
                <a16:creationId xmlns:a16="http://schemas.microsoft.com/office/drawing/2014/main" id="{399028F1-D423-A2FA-8CD4-AF9DC9687E35}"/>
              </a:ext>
            </a:extLst>
          </p:cNvPr>
          <p:cNvSpPr>
            <a:spLocks noGrp="1"/>
          </p:cNvSpPr>
          <p:nvPr>
            <p:ph type="body" idx="1"/>
          </p:nvPr>
        </p:nvSpPr>
        <p:spPr>
          <a:xfrm>
            <a:off x="442913" y="1125539"/>
            <a:ext cx="11306175" cy="4746762"/>
          </a:xfrm>
          <a:prstGeom prst="rect">
            <a:avLst/>
          </a:prstGeom>
        </p:spPr>
        <p:txBody>
          <a:bodyPr vert="horz" lIns="91440" tIns="45720" rIns="18000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5">
            <a:extLst>
              <a:ext uri="{FF2B5EF4-FFF2-40B4-BE49-F238E27FC236}">
                <a16:creationId xmlns:a16="http://schemas.microsoft.com/office/drawing/2014/main" id="{BD2E513C-D675-0C3F-73D9-BEF16AAD9070}"/>
              </a:ext>
            </a:extLst>
          </p:cNvPr>
          <p:cNvSpPr txBox="1">
            <a:spLocks/>
          </p:cNvSpPr>
          <p:nvPr userDrawn="1"/>
        </p:nvSpPr>
        <p:spPr>
          <a:xfrm>
            <a:off x="442913" y="6387375"/>
            <a:ext cx="370371" cy="370737"/>
          </a:xfrm>
          <a:prstGeom prst="ellipse">
            <a:avLst/>
          </a:prstGeom>
          <a:noFill/>
        </p:spPr>
        <p:txBody>
          <a:bodyPr vert="horz" lIns="0" tIns="0" rIns="0" bIns="0" rtlCol="0" anchor="ctr"/>
          <a:lstStyle>
            <a:defPPr>
              <a:defRPr lang="en-US"/>
            </a:defPPr>
            <a:lvl1pPr marL="0" algn="ctr" defTabSz="457200" rtl="0" eaLnBrk="1" latinLnBrk="0" hangingPunct="1">
              <a:defRPr sz="10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8C8144-10F7-48D5-B179-055CFA4444B3}" type="slidenum">
              <a:rPr lang="en-US" smtClean="0">
                <a:solidFill>
                  <a:schemeClr val="bg1"/>
                </a:solidFill>
                <a:latin typeface="Ubuntu" panose="020B0504030602030204" pitchFamily="34" charset="0"/>
              </a:rPr>
              <a:pPr/>
              <a:t>‹#›</a:t>
            </a:fld>
            <a:endParaRPr lang="en-US">
              <a:solidFill>
                <a:schemeClr val="bg1"/>
              </a:solidFill>
              <a:latin typeface="Ubuntu" panose="020B0504030602030204" pitchFamily="34" charset="0"/>
            </a:endParaRPr>
          </a:p>
        </p:txBody>
      </p:sp>
      <p:pic>
        <p:nvPicPr>
          <p:cNvPr id="55" name="Immagine 13" descr="File:Snam Logo.svg - Wikipedia">
            <a:extLst>
              <a:ext uri="{FF2B5EF4-FFF2-40B4-BE49-F238E27FC236}">
                <a16:creationId xmlns:a16="http://schemas.microsoft.com/office/drawing/2014/main" id="{07EAF28E-1F11-4CC7-85DC-AEFE364380D5}"/>
              </a:ext>
            </a:extLst>
          </p:cNvPr>
          <p:cNvPicPr>
            <a:picLocks noChangeAspect="1" noChangeArrowheads="1"/>
          </p:cNvPicPr>
          <p:nvPr userDrawn="1"/>
        </p:nvPicPr>
        <p:blipFill>
          <a:blip r:embed="rId105">
            <a:extLst>
              <a:ext uri="{28A0092B-C50C-407E-A947-70E740481C1C}">
                <a14:useLocalDpi xmlns:a14="http://schemas.microsoft.com/office/drawing/2010/main" val="0"/>
              </a:ext>
            </a:extLst>
          </a:blip>
          <a:srcRect/>
          <a:stretch>
            <a:fillRect/>
          </a:stretch>
        </p:blipFill>
        <p:spPr bwMode="auto">
          <a:xfrm>
            <a:off x="9947737" y="6375244"/>
            <a:ext cx="383451" cy="383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6" name="Gruppo 8">
            <a:extLst>
              <a:ext uri="{FF2B5EF4-FFF2-40B4-BE49-F238E27FC236}">
                <a16:creationId xmlns:a16="http://schemas.microsoft.com/office/drawing/2014/main" id="{DA892703-8A84-E43E-22D7-D1537FA00710}"/>
              </a:ext>
            </a:extLst>
          </p:cNvPr>
          <p:cNvGrpSpPr/>
          <p:nvPr userDrawn="1"/>
        </p:nvGrpSpPr>
        <p:grpSpPr>
          <a:xfrm>
            <a:off x="10528170" y="6356310"/>
            <a:ext cx="489671" cy="376008"/>
            <a:chOff x="6321828" y="5366886"/>
            <a:chExt cx="1309892" cy="952650"/>
          </a:xfrm>
        </p:grpSpPr>
        <p:pic>
          <p:nvPicPr>
            <p:cNvPr id="60" name="Picture 3" descr="IGU | Welcome to the Global Gas Portal">
              <a:extLst>
                <a:ext uri="{FF2B5EF4-FFF2-40B4-BE49-F238E27FC236}">
                  <a16:creationId xmlns:a16="http://schemas.microsoft.com/office/drawing/2014/main" id="{FCC40328-A8CC-60E8-6887-C74F4C30856F}"/>
                </a:ext>
              </a:extLst>
            </p:cNvPr>
            <p:cNvPicPr>
              <a:picLocks noChangeAspect="1" noChangeArrowheads="1"/>
            </p:cNvPicPr>
            <p:nvPr/>
          </p:nvPicPr>
          <p:blipFill>
            <a:blip r:embed="rId106" r:link="rId107">
              <a:biLevel thresh="25000"/>
              <a:extLst>
                <a:ext uri="{28A0092B-C50C-407E-A947-70E740481C1C}">
                  <a14:useLocalDpi xmlns:a14="http://schemas.microsoft.com/office/drawing/2010/main" val="0"/>
                </a:ext>
              </a:extLst>
            </a:blip>
            <a:srcRect/>
            <a:stretch>
              <a:fillRect/>
            </a:stretch>
          </p:blipFill>
          <p:spPr bwMode="auto">
            <a:xfrm>
              <a:off x="6321828" y="5366886"/>
              <a:ext cx="1309892" cy="95265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3" descr="IGU | Welcome to the Global Gas Portal">
              <a:extLst>
                <a:ext uri="{FF2B5EF4-FFF2-40B4-BE49-F238E27FC236}">
                  <a16:creationId xmlns:a16="http://schemas.microsoft.com/office/drawing/2014/main" id="{5699534A-F73A-D701-6CB2-80D21CF57398}"/>
                </a:ext>
              </a:extLst>
            </p:cNvPr>
            <p:cNvPicPr>
              <a:picLocks noChangeAspect="1" noChangeArrowheads="1"/>
            </p:cNvPicPr>
            <p:nvPr/>
          </p:nvPicPr>
          <p:blipFill rotWithShape="1">
            <a:blip r:embed="rId106" r:link="rId107">
              <a:extLst>
                <a:ext uri="{28A0092B-C50C-407E-A947-70E740481C1C}">
                  <a14:useLocalDpi xmlns:a14="http://schemas.microsoft.com/office/drawing/2010/main" val="0"/>
                </a:ext>
              </a:extLst>
            </a:blip>
            <a:srcRect r="69667" b="15997"/>
            <a:stretch>
              <a:fillRect/>
            </a:stretch>
          </p:blipFill>
          <p:spPr bwMode="auto">
            <a:xfrm>
              <a:off x="6368864" y="5366886"/>
              <a:ext cx="397329" cy="800249"/>
            </a:xfrm>
            <a:prstGeom prst="rect">
              <a:avLst/>
            </a:prstGeom>
            <a:noFill/>
            <a:extLst>
              <a:ext uri="{909E8E84-426E-40DD-AFC4-6F175D3DCCD1}">
                <a14:hiddenFill xmlns:a14="http://schemas.microsoft.com/office/drawing/2010/main">
                  <a:solidFill>
                    <a:srgbClr val="FFFFFF"/>
                  </a:solidFill>
                </a14:hiddenFill>
              </a:ext>
            </a:extLst>
          </p:spPr>
        </p:pic>
      </p:grpSp>
      <p:pic>
        <p:nvPicPr>
          <p:cNvPr id="73" name="Picture 72" descr="A picture containing text, mollusk, cowrie, light&#10;&#10;Description automatically generated">
            <a:extLst>
              <a:ext uri="{FF2B5EF4-FFF2-40B4-BE49-F238E27FC236}">
                <a16:creationId xmlns:a16="http://schemas.microsoft.com/office/drawing/2014/main" id="{D84638A3-7596-6380-62B6-FCD7DEE3ED19}"/>
              </a:ext>
            </a:extLst>
          </p:cNvPr>
          <p:cNvPicPr>
            <a:picLocks noChangeAspect="1"/>
          </p:cNvPicPr>
          <p:nvPr userDrawn="1"/>
        </p:nvPicPr>
        <p:blipFill>
          <a:blip r:embed="rId108">
            <a:extLst>
              <a:ext uri="{28A0092B-C50C-407E-A947-70E740481C1C}">
                <a14:useLocalDpi xmlns:a14="http://schemas.microsoft.com/office/drawing/2010/main" val="0"/>
              </a:ext>
            </a:extLst>
          </a:blip>
          <a:stretch>
            <a:fillRect/>
          </a:stretch>
        </p:blipFill>
        <p:spPr>
          <a:xfrm>
            <a:off x="11152829" y="6326060"/>
            <a:ext cx="556651" cy="457200"/>
          </a:xfrm>
          <a:prstGeom prst="rect">
            <a:avLst/>
          </a:prstGeom>
        </p:spPr>
      </p:pic>
    </p:spTree>
    <p:extLst>
      <p:ext uri="{BB962C8B-B14F-4D97-AF65-F5344CB8AC3E}">
        <p14:creationId xmlns:p14="http://schemas.microsoft.com/office/powerpoint/2010/main" val="2536525157"/>
      </p:ext>
    </p:extLst>
  </p:cSld>
  <p:clrMap bg1="lt1" tx1="dk1" bg2="lt2" tx2="dk2" accent1="accent1" accent2="accent2" accent3="accent3" accent4="accent4" accent5="accent5" accent6="accent6" hlink="hlink" folHlink="folHlink"/>
  <p:sldLayoutIdLst>
    <p:sldLayoutId id="2147485548" r:id="rId1"/>
    <p:sldLayoutId id="2147485549" r:id="rId2"/>
    <p:sldLayoutId id="2147485550" r:id="rId3"/>
    <p:sldLayoutId id="2147485551" r:id="rId4"/>
    <p:sldLayoutId id="2147485552" r:id="rId5"/>
    <p:sldLayoutId id="2147485553" r:id="rId6"/>
    <p:sldLayoutId id="2147485554" r:id="rId7"/>
    <p:sldLayoutId id="2147485555" r:id="rId8"/>
    <p:sldLayoutId id="2147485556" r:id="rId9"/>
    <p:sldLayoutId id="2147485557" r:id="rId10"/>
    <p:sldLayoutId id="2147485558" r:id="rId11"/>
    <p:sldLayoutId id="2147485559" r:id="rId12"/>
    <p:sldLayoutId id="2147485560" r:id="rId13"/>
    <p:sldLayoutId id="2147485561" r:id="rId14"/>
    <p:sldLayoutId id="2147485562" r:id="rId15"/>
    <p:sldLayoutId id="2147485563" r:id="rId16"/>
    <p:sldLayoutId id="2147485564" r:id="rId17"/>
    <p:sldLayoutId id="2147485565" r:id="rId18"/>
    <p:sldLayoutId id="2147485566" r:id="rId19"/>
    <p:sldLayoutId id="2147485567" r:id="rId20"/>
    <p:sldLayoutId id="2147485568" r:id="rId21"/>
    <p:sldLayoutId id="2147485569" r:id="rId22"/>
    <p:sldLayoutId id="2147485570" r:id="rId23"/>
    <p:sldLayoutId id="2147485571" r:id="rId24"/>
    <p:sldLayoutId id="2147485572" r:id="rId25"/>
    <p:sldLayoutId id="2147485573" r:id="rId26"/>
    <p:sldLayoutId id="2147485574" r:id="rId27"/>
    <p:sldLayoutId id="2147485575" r:id="rId28"/>
    <p:sldLayoutId id="2147485576" r:id="rId29"/>
    <p:sldLayoutId id="2147485577" r:id="rId30"/>
    <p:sldLayoutId id="2147485578" r:id="rId31"/>
    <p:sldLayoutId id="2147485579" r:id="rId32"/>
    <p:sldLayoutId id="2147485580" r:id="rId33"/>
    <p:sldLayoutId id="2147485581" r:id="rId34"/>
    <p:sldLayoutId id="2147485582" r:id="rId35"/>
    <p:sldLayoutId id="2147485583" r:id="rId36"/>
    <p:sldLayoutId id="2147485584" r:id="rId37"/>
    <p:sldLayoutId id="2147485585" r:id="rId38"/>
    <p:sldLayoutId id="2147485586" r:id="rId39"/>
    <p:sldLayoutId id="2147485587" r:id="rId40"/>
    <p:sldLayoutId id="2147485588" r:id="rId41"/>
    <p:sldLayoutId id="2147485589" r:id="rId42"/>
    <p:sldLayoutId id="2147485590" r:id="rId43"/>
    <p:sldLayoutId id="2147485591" r:id="rId44"/>
    <p:sldLayoutId id="2147485592" r:id="rId45"/>
    <p:sldLayoutId id="2147485593" r:id="rId46"/>
    <p:sldLayoutId id="2147485594" r:id="rId47"/>
    <p:sldLayoutId id="2147485595" r:id="rId48"/>
    <p:sldLayoutId id="2147485596" r:id="rId49"/>
    <p:sldLayoutId id="2147485597" r:id="rId50"/>
    <p:sldLayoutId id="2147485598" r:id="rId51"/>
    <p:sldLayoutId id="2147485599" r:id="rId52"/>
    <p:sldLayoutId id="2147485600" r:id="rId53"/>
    <p:sldLayoutId id="2147485601" r:id="rId54"/>
    <p:sldLayoutId id="2147485602" r:id="rId55"/>
    <p:sldLayoutId id="2147485603" r:id="rId56"/>
    <p:sldLayoutId id="2147485604" r:id="rId57"/>
    <p:sldLayoutId id="2147485605" r:id="rId58"/>
    <p:sldLayoutId id="2147485606" r:id="rId59"/>
    <p:sldLayoutId id="2147485607" r:id="rId60"/>
    <p:sldLayoutId id="2147485608" r:id="rId61"/>
    <p:sldLayoutId id="2147485609" r:id="rId62"/>
    <p:sldLayoutId id="2147485610" r:id="rId63"/>
    <p:sldLayoutId id="2147485611" r:id="rId64"/>
    <p:sldLayoutId id="2147485612" r:id="rId65"/>
    <p:sldLayoutId id="2147485613" r:id="rId66"/>
    <p:sldLayoutId id="2147485614" r:id="rId67"/>
    <p:sldLayoutId id="2147485615" r:id="rId68"/>
    <p:sldLayoutId id="2147485616" r:id="rId69"/>
    <p:sldLayoutId id="2147485617" r:id="rId70"/>
    <p:sldLayoutId id="2147485618" r:id="rId71"/>
    <p:sldLayoutId id="2147485619" r:id="rId72"/>
    <p:sldLayoutId id="2147485620" r:id="rId73"/>
    <p:sldLayoutId id="2147485621" r:id="rId74"/>
    <p:sldLayoutId id="2147485622" r:id="rId75"/>
    <p:sldLayoutId id="2147485623" r:id="rId76"/>
    <p:sldLayoutId id="2147485624" r:id="rId77"/>
    <p:sldLayoutId id="2147485625" r:id="rId78"/>
    <p:sldLayoutId id="2147485626" r:id="rId79"/>
    <p:sldLayoutId id="2147485627" r:id="rId80"/>
    <p:sldLayoutId id="2147485628" r:id="rId81"/>
    <p:sldLayoutId id="2147485629" r:id="rId82"/>
    <p:sldLayoutId id="2147485630" r:id="rId83"/>
    <p:sldLayoutId id="2147485631" r:id="rId84"/>
    <p:sldLayoutId id="2147485632" r:id="rId85"/>
    <p:sldLayoutId id="2147485633" r:id="rId86"/>
    <p:sldLayoutId id="2147485634" r:id="rId87"/>
    <p:sldLayoutId id="2147485635" r:id="rId88"/>
    <p:sldLayoutId id="2147485636" r:id="rId89"/>
    <p:sldLayoutId id="2147485637" r:id="rId90"/>
    <p:sldLayoutId id="2147485638" r:id="rId91"/>
    <p:sldLayoutId id="2147485639" r:id="rId92"/>
    <p:sldLayoutId id="2147485640" r:id="rId93"/>
    <p:sldLayoutId id="2147485642" r:id="rId94"/>
    <p:sldLayoutId id="2147485646" r:id="rId95"/>
    <p:sldLayoutId id="2147485675" r:id="rId96"/>
  </p:sldLayoutIdLst>
  <p:hf hdr="0" ftr="0" dt="0"/>
  <p:txStyles>
    <p:titleStyle>
      <a:lvl1pPr algn="l" defTabSz="1125472" rtl="0" eaLnBrk="1" latinLnBrk="0" hangingPunct="1">
        <a:lnSpc>
          <a:spcPct val="90000"/>
        </a:lnSpc>
        <a:spcBef>
          <a:spcPct val="0"/>
        </a:spcBef>
        <a:buNone/>
        <a:defRPr sz="2200" b="0" i="0" kern="1200">
          <a:solidFill>
            <a:schemeClr val="tx1"/>
          </a:solidFill>
          <a:latin typeface="Ubuntu" panose="020B0504030602030204" pitchFamily="34" charset="0"/>
          <a:ea typeface="+mj-ea"/>
          <a:cs typeface="+mj-cs"/>
        </a:defRPr>
      </a:lvl1pPr>
    </p:titleStyle>
    <p:bodyStyle>
      <a:lvl1pPr marL="281368" indent="-281368" algn="l" defTabSz="1125472" rtl="0" eaLnBrk="1" latinLnBrk="0" hangingPunct="1">
        <a:lnSpc>
          <a:spcPct val="90000"/>
        </a:lnSpc>
        <a:spcBef>
          <a:spcPts val="1231"/>
        </a:spcBef>
        <a:buFont typeface="Arial" panose="020B0604020202020204" pitchFamily="34" charset="0"/>
        <a:buChar char="•"/>
        <a:defRPr sz="1400" b="0" i="0" kern="1200">
          <a:solidFill>
            <a:schemeClr val="tx1"/>
          </a:solidFill>
          <a:latin typeface="Ubuntu" panose="020B0504030602030204" pitchFamily="34" charset="0"/>
          <a:ea typeface="+mn-ea"/>
          <a:cs typeface="Calibri" panose="020F0502020204030204" pitchFamily="34" charset="0"/>
        </a:defRPr>
      </a:lvl1pPr>
      <a:lvl2pPr marL="844104" indent="-281368" algn="l" defTabSz="1125472" rtl="0" eaLnBrk="1" latinLnBrk="0" hangingPunct="1">
        <a:lnSpc>
          <a:spcPct val="90000"/>
        </a:lnSpc>
        <a:spcBef>
          <a:spcPts val="615"/>
        </a:spcBef>
        <a:buFont typeface="Arial" panose="020B0604020202020204" pitchFamily="34" charset="0"/>
        <a:buChar char="•"/>
        <a:defRPr sz="1200" b="0" i="0" kern="1200">
          <a:solidFill>
            <a:schemeClr val="tx1"/>
          </a:solidFill>
          <a:latin typeface="Ubuntu" panose="020B0504030602030204" pitchFamily="34" charset="0"/>
          <a:ea typeface="+mn-ea"/>
          <a:cs typeface="Calibri" panose="020F0502020204030204" pitchFamily="34" charset="0"/>
        </a:defRPr>
      </a:lvl2pPr>
      <a:lvl3pPr marL="1406839" indent="-281368" algn="l" defTabSz="1125472" rtl="0" eaLnBrk="1" latinLnBrk="0" hangingPunct="1">
        <a:lnSpc>
          <a:spcPct val="90000"/>
        </a:lnSpc>
        <a:spcBef>
          <a:spcPts val="615"/>
        </a:spcBef>
        <a:buFont typeface="Arial" panose="020B0604020202020204" pitchFamily="34" charset="0"/>
        <a:buChar char="•"/>
        <a:defRPr sz="1100" b="0" i="0" kern="1200">
          <a:solidFill>
            <a:schemeClr val="tx1"/>
          </a:solidFill>
          <a:latin typeface="Ubuntu" panose="020B0504030602030204" pitchFamily="34" charset="0"/>
          <a:ea typeface="+mn-ea"/>
          <a:cs typeface="Calibri" panose="020F0502020204030204" pitchFamily="34" charset="0"/>
        </a:defRPr>
      </a:lvl3pPr>
      <a:lvl4pPr marL="1969575" indent="-281368" algn="l" defTabSz="1125472" rtl="0" eaLnBrk="1" latinLnBrk="0" hangingPunct="1">
        <a:lnSpc>
          <a:spcPct val="90000"/>
        </a:lnSpc>
        <a:spcBef>
          <a:spcPts val="615"/>
        </a:spcBef>
        <a:buFont typeface="Arial" panose="020B0604020202020204" pitchFamily="34" charset="0"/>
        <a:buChar char="•"/>
        <a:defRPr sz="1050" b="0" i="0" kern="1200">
          <a:solidFill>
            <a:schemeClr val="tx1"/>
          </a:solidFill>
          <a:latin typeface="Ubuntu" panose="020B0504030602030204" pitchFamily="34" charset="0"/>
          <a:ea typeface="+mn-ea"/>
          <a:cs typeface="Calibri" panose="020F0502020204030204" pitchFamily="34" charset="0"/>
        </a:defRPr>
      </a:lvl4pPr>
      <a:lvl5pPr marL="2532312" indent="-281368" algn="l" defTabSz="1125472" rtl="0" eaLnBrk="1" latinLnBrk="0" hangingPunct="1">
        <a:lnSpc>
          <a:spcPct val="90000"/>
        </a:lnSpc>
        <a:spcBef>
          <a:spcPts val="615"/>
        </a:spcBef>
        <a:buFont typeface="Arial" panose="020B0604020202020204" pitchFamily="34" charset="0"/>
        <a:buChar char="•"/>
        <a:defRPr sz="1000" b="0" i="0" kern="1200">
          <a:solidFill>
            <a:schemeClr val="tx1"/>
          </a:solidFill>
          <a:latin typeface="Ubuntu" panose="020B0504030602030204" pitchFamily="34" charset="0"/>
          <a:ea typeface="+mn-ea"/>
          <a:cs typeface="Calibri" panose="020F0502020204030204" pitchFamily="34" charset="0"/>
        </a:defRPr>
      </a:lvl5pPr>
      <a:lvl6pPr marL="3095047" indent="-281368" algn="l" defTabSz="1125472" rtl="0" eaLnBrk="1" latinLnBrk="0"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6pPr>
      <a:lvl7pPr marL="3657783" indent="-281368" algn="l" defTabSz="1125472" rtl="0" eaLnBrk="1" latinLnBrk="0"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7pPr>
      <a:lvl8pPr marL="4220519" indent="-281368" algn="l" defTabSz="1125472" rtl="0" eaLnBrk="1" latinLnBrk="0"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8pPr>
      <a:lvl9pPr marL="4783254" indent="-281368" algn="l" defTabSz="1125472" rtl="0" eaLnBrk="1" latinLnBrk="0" hangingPunct="1">
        <a:lnSpc>
          <a:spcPct val="90000"/>
        </a:lnSpc>
        <a:spcBef>
          <a:spcPts val="615"/>
        </a:spcBef>
        <a:buFont typeface="Arial" panose="020B0604020202020204" pitchFamily="34" charset="0"/>
        <a:buChar char="•"/>
        <a:defRPr sz="2215" kern="1200">
          <a:solidFill>
            <a:schemeClr val="tx1"/>
          </a:solidFill>
          <a:latin typeface="+mn-lt"/>
          <a:ea typeface="+mn-ea"/>
          <a:cs typeface="+mn-cs"/>
        </a:defRPr>
      </a:lvl9pPr>
    </p:bodyStyle>
    <p:otherStyle>
      <a:defPPr>
        <a:defRPr lang="en-US"/>
      </a:defPPr>
      <a:lvl1pPr marL="0" algn="l" defTabSz="1125472" rtl="0" eaLnBrk="1" latinLnBrk="0" hangingPunct="1">
        <a:defRPr sz="1800" kern="1200">
          <a:solidFill>
            <a:schemeClr val="tx1"/>
          </a:solidFill>
          <a:latin typeface="+mn-lt"/>
          <a:ea typeface="+mn-ea"/>
          <a:cs typeface="+mn-cs"/>
        </a:defRPr>
      </a:lvl1pPr>
      <a:lvl2pPr marL="562737" algn="l" defTabSz="1125472" rtl="0" eaLnBrk="1" latinLnBrk="0" hangingPunct="1">
        <a:defRPr sz="2215" kern="1200">
          <a:solidFill>
            <a:schemeClr val="tx1"/>
          </a:solidFill>
          <a:latin typeface="+mn-lt"/>
          <a:ea typeface="+mn-ea"/>
          <a:cs typeface="+mn-cs"/>
        </a:defRPr>
      </a:lvl2pPr>
      <a:lvl3pPr marL="1125472" algn="l" defTabSz="1125472" rtl="0" eaLnBrk="1" latinLnBrk="0" hangingPunct="1">
        <a:defRPr sz="2215" kern="1200">
          <a:solidFill>
            <a:schemeClr val="tx1"/>
          </a:solidFill>
          <a:latin typeface="+mn-lt"/>
          <a:ea typeface="+mn-ea"/>
          <a:cs typeface="+mn-cs"/>
        </a:defRPr>
      </a:lvl3pPr>
      <a:lvl4pPr marL="1688207" algn="l" defTabSz="1125472" rtl="0" eaLnBrk="1" latinLnBrk="0" hangingPunct="1">
        <a:defRPr sz="2215" kern="1200">
          <a:solidFill>
            <a:schemeClr val="tx1"/>
          </a:solidFill>
          <a:latin typeface="+mn-lt"/>
          <a:ea typeface="+mn-ea"/>
          <a:cs typeface="+mn-cs"/>
        </a:defRPr>
      </a:lvl4pPr>
      <a:lvl5pPr marL="2250944" algn="l" defTabSz="1125472" rtl="0" eaLnBrk="1" latinLnBrk="0" hangingPunct="1">
        <a:defRPr sz="2215" kern="1200">
          <a:solidFill>
            <a:schemeClr val="tx1"/>
          </a:solidFill>
          <a:latin typeface="+mn-lt"/>
          <a:ea typeface="+mn-ea"/>
          <a:cs typeface="+mn-cs"/>
        </a:defRPr>
      </a:lvl5pPr>
      <a:lvl6pPr marL="2813679" algn="l" defTabSz="1125472" rtl="0" eaLnBrk="1" latinLnBrk="0" hangingPunct="1">
        <a:defRPr sz="2215" kern="1200">
          <a:solidFill>
            <a:schemeClr val="tx1"/>
          </a:solidFill>
          <a:latin typeface="+mn-lt"/>
          <a:ea typeface="+mn-ea"/>
          <a:cs typeface="+mn-cs"/>
        </a:defRPr>
      </a:lvl6pPr>
      <a:lvl7pPr marL="3376415" algn="l" defTabSz="1125472" rtl="0" eaLnBrk="1" latinLnBrk="0" hangingPunct="1">
        <a:defRPr sz="2215" kern="1200">
          <a:solidFill>
            <a:schemeClr val="tx1"/>
          </a:solidFill>
          <a:latin typeface="+mn-lt"/>
          <a:ea typeface="+mn-ea"/>
          <a:cs typeface="+mn-cs"/>
        </a:defRPr>
      </a:lvl7pPr>
      <a:lvl8pPr marL="3939151" algn="l" defTabSz="1125472" rtl="0" eaLnBrk="1" latinLnBrk="0" hangingPunct="1">
        <a:defRPr sz="2215" kern="1200">
          <a:solidFill>
            <a:schemeClr val="tx1"/>
          </a:solidFill>
          <a:latin typeface="+mn-lt"/>
          <a:ea typeface="+mn-ea"/>
          <a:cs typeface="+mn-cs"/>
        </a:defRPr>
      </a:lvl8pPr>
      <a:lvl9pPr marL="4501886" algn="l" defTabSz="1125472" rtl="0" eaLnBrk="1" latinLnBrk="0" hangingPunct="1">
        <a:defRPr sz="221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05">
          <p15:clr>
            <a:srgbClr val="A4A3A4"/>
          </p15:clr>
        </p15:guide>
        <p15:guide id="2" pos="3840">
          <p15:clr>
            <a:srgbClr val="A4A3A4"/>
          </p15:clr>
        </p15:guide>
        <p15:guide id="4" pos="279">
          <p15:clr>
            <a:srgbClr val="F26B43"/>
          </p15:clr>
        </p15:guide>
        <p15:guide id="5" pos="7401">
          <p15:clr>
            <a:srgbClr val="F26B43"/>
          </p15:clr>
        </p15:guide>
        <p15:guide id="6" orient="horz" pos="709">
          <p15:clr>
            <a:srgbClr val="F26B43"/>
          </p15:clr>
        </p15:guide>
        <p15:guide id="8" orient="horz" pos="958">
          <p15:clr>
            <a:srgbClr val="A4A3A4"/>
          </p15:clr>
        </p15:guide>
        <p15:guide id="9" orient="horz" pos="1049">
          <p15:clr>
            <a:srgbClr val="A4A3A4"/>
          </p15:clr>
        </p15:guide>
        <p15:guide id="13" orient="horz" pos="36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png"/><Relationship Id="rId7" Type="http://schemas.openxmlformats.org/officeDocument/2006/relationships/image" Target="cid:image007.png@01D86F56.3C9ECBA0" TargetMode="External"/><Relationship Id="rId2" Type="http://schemas.openxmlformats.org/officeDocument/2006/relationships/notesSlide" Target="../notesSlides/notesSlide1.xml"/><Relationship Id="rId1" Type="http://schemas.openxmlformats.org/officeDocument/2006/relationships/slideLayout" Target="../slideLayouts/slideLayout96.xml"/><Relationship Id="rId6" Type="http://schemas.openxmlformats.org/officeDocument/2006/relationships/image" Target="../media/image8.png"/><Relationship Id="rId5" Type="http://schemas.openxmlformats.org/officeDocument/2006/relationships/image" Target="../media/image7.png"/><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chart" Target="../charts/chart10.xml"/></Relationships>
</file>

<file path=ppt/slides/_rels/slide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12.xml"/><Relationship Id="rId5" Type="http://schemas.openxmlformats.org/officeDocument/2006/relationships/chart" Target="../charts/chart17.xml"/><Relationship Id="rId4" Type="http://schemas.openxmlformats.org/officeDocument/2006/relationships/image" Target="../media/image120.png"/></Relationships>
</file>

<file path=ppt/slides/_rels/slide8.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png"/><Relationship Id="rId7" Type="http://schemas.openxmlformats.org/officeDocument/2006/relationships/image" Target="cid:image007.png@01D86F56.3C9ECBA0" TargetMode="External"/><Relationship Id="rId2" Type="http://schemas.openxmlformats.org/officeDocument/2006/relationships/notesSlide" Target="../notesSlides/notesSlide5.xml"/><Relationship Id="rId1" Type="http://schemas.openxmlformats.org/officeDocument/2006/relationships/slideLayout" Target="../slideLayouts/slideLayout96.xml"/><Relationship Id="rId6" Type="http://schemas.openxmlformats.org/officeDocument/2006/relationships/image" Target="../media/image8.png"/><Relationship Id="rId5" Type="http://schemas.openxmlformats.org/officeDocument/2006/relationships/image" Target="../media/image7.pn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EC2CFF3-8FFA-1CE2-179E-05079A212139}"/>
              </a:ext>
            </a:extLst>
          </p:cNvPr>
          <p:cNvGrpSpPr/>
          <p:nvPr/>
        </p:nvGrpSpPr>
        <p:grpSpPr>
          <a:xfrm>
            <a:off x="653" y="0"/>
            <a:ext cx="12191347" cy="6858001"/>
            <a:chOff x="653" y="0"/>
            <a:chExt cx="12191347" cy="6858001"/>
          </a:xfrm>
        </p:grpSpPr>
        <p:pic>
          <p:nvPicPr>
            <p:cNvPr id="5" name="Picture 4">
              <a:extLst>
                <a:ext uri="{FF2B5EF4-FFF2-40B4-BE49-F238E27FC236}">
                  <a16:creationId xmlns:a16="http://schemas.microsoft.com/office/drawing/2014/main" id="{21B95B18-1915-5105-5F68-008C76F2ECC4}"/>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17000"/>
                      </a14:imgEffect>
                    </a14:imgLayer>
                  </a14:imgProps>
                </a:ext>
              </a:extLst>
            </a:blip>
            <a:srcRect l="-2" t="1" r="38068" b="38667"/>
            <a:stretch/>
          </p:blipFill>
          <p:spPr>
            <a:xfrm>
              <a:off x="653" y="1"/>
              <a:ext cx="12191347" cy="6857999"/>
            </a:xfrm>
            <a:prstGeom prst="rect">
              <a:avLst/>
            </a:prstGeom>
          </p:spPr>
        </p:pic>
        <p:sp>
          <p:nvSpPr>
            <p:cNvPr id="10" name="Rectangle 9">
              <a:extLst>
                <a:ext uri="{FF2B5EF4-FFF2-40B4-BE49-F238E27FC236}">
                  <a16:creationId xmlns:a16="http://schemas.microsoft.com/office/drawing/2014/main" id="{8BFC6F96-459B-7905-F44B-7E5BFA3A8C20}"/>
                </a:ext>
              </a:extLst>
            </p:cNvPr>
            <p:cNvSpPr/>
            <p:nvPr/>
          </p:nvSpPr>
          <p:spPr>
            <a:xfrm>
              <a:off x="653" y="0"/>
              <a:ext cx="12191347" cy="6858001"/>
            </a:xfrm>
            <a:prstGeom prst="rect">
              <a:avLst/>
            </a:prstGeom>
            <a:solidFill>
              <a:schemeClr val="tx2">
                <a:lumMod val="75000"/>
                <a:alpha val="23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ln>
                  <a:solidFill>
                    <a:schemeClr val="tx1"/>
                  </a:solidFill>
                </a:ln>
                <a:solidFill>
                  <a:schemeClr val="tx1"/>
                </a:solidFill>
              </a:endParaRPr>
            </a:p>
          </p:txBody>
        </p:sp>
      </p:grpSp>
      <p:pic>
        <p:nvPicPr>
          <p:cNvPr id="1026" name="Immagine 13" descr="File:Snam Logo.svg - Wikipedia">
            <a:extLst>
              <a:ext uri="{FF2B5EF4-FFF2-40B4-BE49-F238E27FC236}">
                <a16:creationId xmlns:a16="http://schemas.microsoft.com/office/drawing/2014/main" id="{B7A5326A-63AE-4AFE-B76C-8B826B7C8F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86093" y="5397931"/>
            <a:ext cx="1025749" cy="1025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4">
            <a:extLst>
              <a:ext uri="{FF2B5EF4-FFF2-40B4-BE49-F238E27FC236}">
                <a16:creationId xmlns:a16="http://schemas.microsoft.com/office/drawing/2014/main" id="{F0D9629D-FB0E-47A2-9E39-C3703815372D}"/>
              </a:ext>
            </a:extLst>
          </p:cNvPr>
          <p:cNvSpPr>
            <a:spLocks noChangeArrowheads="1"/>
          </p:cNvSpPr>
          <p:nvPr/>
        </p:nvSpPr>
        <p:spPr bwMode="auto">
          <a:xfrm>
            <a:off x="1143001"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grpSp>
        <p:nvGrpSpPr>
          <p:cNvPr id="9" name="Gruppo 8">
            <a:extLst>
              <a:ext uri="{FF2B5EF4-FFF2-40B4-BE49-F238E27FC236}">
                <a16:creationId xmlns:a16="http://schemas.microsoft.com/office/drawing/2014/main" id="{9AABBC9B-2C07-401B-9024-400FFBFC3CCE}"/>
              </a:ext>
            </a:extLst>
          </p:cNvPr>
          <p:cNvGrpSpPr/>
          <p:nvPr/>
        </p:nvGrpSpPr>
        <p:grpSpPr>
          <a:xfrm>
            <a:off x="8922197" y="5371660"/>
            <a:ext cx="1309892" cy="1005840"/>
            <a:chOff x="6368864" y="5366886"/>
            <a:chExt cx="1309892" cy="952650"/>
          </a:xfrm>
        </p:grpSpPr>
        <p:pic>
          <p:nvPicPr>
            <p:cNvPr id="1027" name="Picture 3" descr="IGU | Welcome to the Global Gas Portal">
              <a:extLst>
                <a:ext uri="{FF2B5EF4-FFF2-40B4-BE49-F238E27FC236}">
                  <a16:creationId xmlns:a16="http://schemas.microsoft.com/office/drawing/2014/main" id="{C6D06FD8-FE53-40AD-A83F-8BB0898CEE14}"/>
                </a:ext>
              </a:extLst>
            </p:cNvPr>
            <p:cNvPicPr>
              <a:picLocks noChangeAspect="1" noChangeArrowheads="1"/>
            </p:cNvPicPr>
            <p:nvPr/>
          </p:nvPicPr>
          <p:blipFill>
            <a:blip r:embed="rId6" r:link="rId7">
              <a:biLevel thresh="25000"/>
              <a:extLst>
                <a:ext uri="{28A0092B-C50C-407E-A947-70E740481C1C}">
                  <a14:useLocalDpi xmlns:a14="http://schemas.microsoft.com/office/drawing/2010/main" val="0"/>
                </a:ext>
              </a:extLst>
            </a:blip>
            <a:srcRect/>
            <a:stretch>
              <a:fillRect/>
            </a:stretch>
          </p:blipFill>
          <p:spPr bwMode="auto">
            <a:xfrm>
              <a:off x="6368864" y="5366887"/>
              <a:ext cx="1309892" cy="95264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IGU | Welcome to the Global Gas Portal">
              <a:extLst>
                <a:ext uri="{FF2B5EF4-FFF2-40B4-BE49-F238E27FC236}">
                  <a16:creationId xmlns:a16="http://schemas.microsoft.com/office/drawing/2014/main" id="{C4F3CFC9-E3AE-4340-A05D-0E68BB4E7E34}"/>
                </a:ext>
              </a:extLst>
            </p:cNvPr>
            <p:cNvPicPr>
              <a:picLocks noChangeAspect="1" noChangeArrowheads="1"/>
            </p:cNvPicPr>
            <p:nvPr/>
          </p:nvPicPr>
          <p:blipFill rotWithShape="1">
            <a:blip r:embed="rId6" r:link="rId7">
              <a:extLst>
                <a:ext uri="{28A0092B-C50C-407E-A947-70E740481C1C}">
                  <a14:useLocalDpi xmlns:a14="http://schemas.microsoft.com/office/drawing/2010/main" val="0"/>
                </a:ext>
              </a:extLst>
            </a:blip>
            <a:srcRect r="69667" b="15997"/>
            <a:stretch>
              <a:fillRect/>
            </a:stretch>
          </p:blipFill>
          <p:spPr bwMode="auto">
            <a:xfrm>
              <a:off x="6368864" y="5366886"/>
              <a:ext cx="397329" cy="800249"/>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Rettangolo 2">
            <a:extLst>
              <a:ext uri="{FF2B5EF4-FFF2-40B4-BE49-F238E27FC236}">
                <a16:creationId xmlns:a16="http://schemas.microsoft.com/office/drawing/2014/main" id="{A88C1A2D-62F2-4A78-9470-687F00617709}"/>
              </a:ext>
            </a:extLst>
          </p:cNvPr>
          <p:cNvSpPr/>
          <p:nvPr/>
        </p:nvSpPr>
        <p:spPr>
          <a:xfrm>
            <a:off x="618399" y="2387739"/>
            <a:ext cx="3230628" cy="4093428"/>
          </a:xfrm>
          <a:prstGeom prst="rect">
            <a:avLst/>
          </a:prstGeom>
        </p:spPr>
        <p:txBody>
          <a:bodyPr wrap="none" lIns="91440" tIns="45720" rIns="91440" bIns="45720" anchor="t">
            <a:spAutoFit/>
          </a:bodyPr>
          <a:lstStyle/>
          <a:p>
            <a:r>
              <a:rPr lang="en-GB" sz="2000" dirty="0">
                <a:solidFill>
                  <a:schemeClr val="bg1"/>
                </a:solidFill>
                <a:effectLst>
                  <a:outerShdw blurRad="50800" dist="50800" dir="5400000" algn="ctr" rotWithShape="0">
                    <a:schemeClr val="tx1"/>
                  </a:outerShdw>
                </a:effectLst>
                <a:latin typeface="Ubuntu"/>
              </a:rPr>
              <a:t>Global Release </a:t>
            </a:r>
            <a:endParaRPr lang="en-US" sz="2000" dirty="0"/>
          </a:p>
          <a:p>
            <a:endParaRPr lang="en-GB" sz="2000" dirty="0">
              <a:solidFill>
                <a:schemeClr val="bg1"/>
              </a:solidFill>
              <a:effectLst>
                <a:outerShdw blurRad="50800" dist="50800" dir="5400000" algn="ctr" rotWithShape="0">
                  <a:srgbClr val="000000"/>
                </a:outerShdw>
              </a:effectLst>
              <a:latin typeface="Ubuntu" panose="020B0504030602030204" pitchFamily="34" charset="0"/>
            </a:endParaRPr>
          </a:p>
          <a:p>
            <a:endParaRPr lang="en-GB" sz="2000" dirty="0">
              <a:solidFill>
                <a:schemeClr val="bg1"/>
              </a:solidFill>
              <a:effectLst>
                <a:outerShdw blurRad="50800" dist="50800" dir="5400000" algn="ctr" rotWithShape="0">
                  <a:schemeClr val="tx1"/>
                </a:outerShdw>
              </a:effectLst>
              <a:latin typeface="Ubuntu"/>
            </a:endParaRPr>
          </a:p>
          <a:p>
            <a:endParaRPr lang="en-GB" sz="2000" dirty="0">
              <a:solidFill>
                <a:schemeClr val="bg1"/>
              </a:solidFill>
              <a:effectLst>
                <a:outerShdw blurRad="50800" dist="50800" dir="5400000" algn="ctr" rotWithShape="0">
                  <a:schemeClr val="tx1"/>
                </a:outerShdw>
              </a:effectLst>
              <a:latin typeface="Ubuntu"/>
            </a:endParaRPr>
          </a:p>
          <a:p>
            <a:endParaRPr lang="en-GB" sz="2000" dirty="0">
              <a:solidFill>
                <a:schemeClr val="bg1"/>
              </a:solidFill>
              <a:effectLst>
                <a:outerShdw blurRad="50800" dist="50800" dir="5400000" algn="ctr" rotWithShape="0">
                  <a:schemeClr val="tx1"/>
                </a:outerShdw>
              </a:effectLst>
              <a:latin typeface="Ubuntu"/>
            </a:endParaRPr>
          </a:p>
          <a:p>
            <a:endParaRPr lang="en-GB" sz="2000" dirty="0">
              <a:solidFill>
                <a:schemeClr val="bg1"/>
              </a:solidFill>
              <a:effectLst>
                <a:outerShdw blurRad="50800" dist="50800" dir="5400000" algn="ctr" rotWithShape="0">
                  <a:schemeClr val="tx1"/>
                </a:outerShdw>
              </a:effectLst>
              <a:latin typeface="Ubuntu"/>
            </a:endParaRPr>
          </a:p>
          <a:p>
            <a:endParaRPr lang="en-GB" sz="2000" dirty="0">
              <a:solidFill>
                <a:schemeClr val="bg1"/>
              </a:solidFill>
              <a:effectLst>
                <a:outerShdw blurRad="50800" dist="50800" dir="5400000" algn="ctr" rotWithShape="0">
                  <a:schemeClr val="tx1"/>
                </a:outerShdw>
              </a:effectLst>
              <a:latin typeface="Ubuntu"/>
            </a:endParaRPr>
          </a:p>
          <a:p>
            <a:endParaRPr lang="en-GB" sz="2000" dirty="0">
              <a:solidFill>
                <a:schemeClr val="bg1"/>
              </a:solidFill>
              <a:effectLst>
                <a:outerShdw blurRad="50800" dist="50800" dir="5400000" algn="ctr" rotWithShape="0">
                  <a:schemeClr val="tx1"/>
                </a:outerShdw>
              </a:effectLst>
              <a:latin typeface="Ubuntu"/>
            </a:endParaRPr>
          </a:p>
          <a:p>
            <a:endParaRPr lang="en-GB" sz="2000">
              <a:solidFill>
                <a:schemeClr val="bg1"/>
              </a:solidFill>
              <a:effectLst>
                <a:outerShdw blurRad="50800" dist="50800" dir="5400000" algn="ctr" rotWithShape="0">
                  <a:schemeClr val="tx1"/>
                </a:outerShdw>
              </a:effectLst>
              <a:latin typeface="Ubuntu"/>
            </a:endParaRPr>
          </a:p>
          <a:p>
            <a:r>
              <a:rPr lang="en-GB" sz="2000">
                <a:solidFill>
                  <a:schemeClr val="bg1"/>
                </a:solidFill>
                <a:effectLst>
                  <a:outerShdw blurRad="50800" dist="50800" dir="5400000" algn="ctr" rotWithShape="0">
                    <a:schemeClr val="tx1"/>
                  </a:outerShdw>
                </a:effectLst>
                <a:latin typeface="Ubuntu"/>
              </a:rPr>
              <a:t>Energy </a:t>
            </a:r>
            <a:r>
              <a:rPr lang="en-GB" sz="2000" dirty="0">
                <a:solidFill>
                  <a:schemeClr val="bg1"/>
                </a:solidFill>
                <a:effectLst>
                  <a:outerShdw blurRad="50800" dist="50800" dir="5400000" algn="ctr" rotWithShape="0">
                    <a:schemeClr val="tx1"/>
                  </a:outerShdw>
                </a:effectLst>
                <a:latin typeface="Ubuntu"/>
              </a:rPr>
              <a:t>Intelligence Forum</a:t>
            </a:r>
            <a:endParaRPr lang="en-GB" sz="2000" dirty="0">
              <a:solidFill>
                <a:schemeClr val="bg1"/>
              </a:solidFill>
              <a:effectLst>
                <a:outerShdw blurRad="50800" dist="50800" dir="5400000" algn="ctr" rotWithShape="0">
                  <a:srgbClr val="000000"/>
                </a:outerShdw>
              </a:effectLst>
              <a:latin typeface="Ubuntu"/>
            </a:endParaRPr>
          </a:p>
          <a:p>
            <a:endParaRPr lang="en-GB" sz="2000" dirty="0">
              <a:solidFill>
                <a:schemeClr val="bg1"/>
              </a:solidFill>
              <a:effectLst>
                <a:outerShdw blurRad="50800" dist="50800" dir="5400000" algn="ctr" rotWithShape="0">
                  <a:schemeClr val="tx1"/>
                </a:outerShdw>
              </a:effectLst>
              <a:latin typeface="Ubuntu"/>
            </a:endParaRPr>
          </a:p>
          <a:p>
            <a:r>
              <a:rPr lang="en-GB" sz="2000" dirty="0">
                <a:solidFill>
                  <a:schemeClr val="bg1"/>
                </a:solidFill>
                <a:effectLst>
                  <a:outerShdw blurRad="50800" dist="50800" dir="5400000" algn="ctr" rotWithShape="0">
                    <a:schemeClr val="tx1"/>
                  </a:outerShdw>
                </a:effectLst>
                <a:latin typeface="Ubuntu"/>
              </a:rPr>
              <a:t>London, United Kingdom</a:t>
            </a:r>
            <a:endParaRPr lang="en-GB" sz="2000" dirty="0">
              <a:solidFill>
                <a:schemeClr val="bg1"/>
              </a:solidFill>
              <a:effectLst>
                <a:outerShdw blurRad="50800" dist="50800" dir="5400000" algn="ctr" rotWithShape="0">
                  <a:srgbClr val="000000"/>
                </a:outerShdw>
              </a:effectLst>
              <a:latin typeface="Ubuntu"/>
            </a:endParaRPr>
          </a:p>
          <a:p>
            <a:r>
              <a:rPr lang="en-GB" sz="2000" dirty="0">
                <a:solidFill>
                  <a:schemeClr val="bg1"/>
                </a:solidFill>
                <a:effectLst>
                  <a:outerShdw blurRad="50800" dist="50800" dir="5400000" algn="ctr" rotWithShape="0">
                    <a:schemeClr val="tx1"/>
                  </a:outerShdw>
                </a:effectLst>
                <a:latin typeface="Ubuntu"/>
              </a:rPr>
              <a:t>Oct 19, 2023</a:t>
            </a:r>
          </a:p>
        </p:txBody>
      </p:sp>
      <p:sp>
        <p:nvSpPr>
          <p:cNvPr id="14" name="Rettangolo 2">
            <a:extLst>
              <a:ext uri="{FF2B5EF4-FFF2-40B4-BE49-F238E27FC236}">
                <a16:creationId xmlns:a16="http://schemas.microsoft.com/office/drawing/2014/main" id="{9A14C933-BE24-4B11-A317-ED91BFF5A148}"/>
              </a:ext>
            </a:extLst>
          </p:cNvPr>
          <p:cNvSpPr/>
          <p:nvPr/>
        </p:nvSpPr>
        <p:spPr>
          <a:xfrm>
            <a:off x="618399" y="1180954"/>
            <a:ext cx="5391219" cy="646331"/>
          </a:xfrm>
          <a:prstGeom prst="rect">
            <a:avLst/>
          </a:prstGeom>
        </p:spPr>
        <p:txBody>
          <a:bodyPr wrap="none">
            <a:spAutoFit/>
          </a:bodyPr>
          <a:lstStyle/>
          <a:p>
            <a:r>
              <a:rPr lang="en-GB" sz="3600" b="1">
                <a:solidFill>
                  <a:schemeClr val="bg1"/>
                </a:solidFill>
                <a:effectLst>
                  <a:outerShdw blurRad="50800" dist="50800" dir="5400000" sx="98000" sy="98000" algn="ctr" rotWithShape="0">
                    <a:schemeClr val="tx1"/>
                  </a:outerShdw>
                </a:effectLst>
                <a:latin typeface="Arial"/>
                <a:cs typeface="Arial"/>
              </a:rPr>
              <a:t>Global Gas Report 2023</a:t>
            </a:r>
          </a:p>
        </p:txBody>
      </p:sp>
      <p:pic>
        <p:nvPicPr>
          <p:cNvPr id="4" name="Picture 3" descr="A picture containing text, mollusk, cowrie, light&#10;&#10;Description automatically generated">
            <a:extLst>
              <a:ext uri="{FF2B5EF4-FFF2-40B4-BE49-F238E27FC236}">
                <a16:creationId xmlns:a16="http://schemas.microsoft.com/office/drawing/2014/main" id="{DEA31058-2E1F-3548-4F01-772C274B326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22376" y="5375524"/>
            <a:ext cx="1309892" cy="1075864"/>
          </a:xfrm>
          <a:prstGeom prst="rect">
            <a:avLst/>
          </a:prstGeom>
        </p:spPr>
      </p:pic>
    </p:spTree>
    <p:extLst>
      <p:ext uri="{BB962C8B-B14F-4D97-AF65-F5344CB8AC3E}">
        <p14:creationId xmlns:p14="http://schemas.microsoft.com/office/powerpoint/2010/main" val="2845314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397765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BF736-509E-C603-3745-3FAB13FC1269}"/>
              </a:ext>
            </a:extLst>
          </p:cNvPr>
          <p:cNvSpPr>
            <a:spLocks noGrp="1"/>
          </p:cNvSpPr>
          <p:nvPr>
            <p:ph type="title"/>
          </p:nvPr>
        </p:nvSpPr>
        <p:spPr/>
        <p:txBody>
          <a:bodyPr/>
          <a:lstStyle/>
          <a:p>
            <a:r>
              <a:rPr lang="en-GB" dirty="0">
                <a:solidFill>
                  <a:srgbClr val="06BA57"/>
                </a:solidFill>
                <a:latin typeface="Ubuntu"/>
              </a:rPr>
              <a:t>Gas prices rose to all-time-high levels in 2023 with extreme volatility </a:t>
            </a:r>
            <a:endParaRPr lang="en-GB" dirty="0">
              <a:solidFill>
                <a:srgbClr val="06BA57"/>
              </a:solidFill>
            </a:endParaRPr>
          </a:p>
        </p:txBody>
      </p:sp>
      <p:sp>
        <p:nvSpPr>
          <p:cNvPr id="3" name="Text Placeholder 2">
            <a:extLst>
              <a:ext uri="{FF2B5EF4-FFF2-40B4-BE49-F238E27FC236}">
                <a16:creationId xmlns:a16="http://schemas.microsoft.com/office/drawing/2014/main" id="{D1B29BBE-F096-25A5-2957-CE29F60DB1D4}"/>
              </a:ext>
            </a:extLst>
          </p:cNvPr>
          <p:cNvSpPr>
            <a:spLocks noGrp="1"/>
          </p:cNvSpPr>
          <p:nvPr>
            <p:ph type="body" sz="quarter" idx="19"/>
          </p:nvPr>
        </p:nvSpPr>
        <p:spPr/>
        <p:txBody>
          <a:bodyPr/>
          <a:lstStyle/>
          <a:p>
            <a:r>
              <a:rPr lang="en-GB" dirty="0">
                <a:solidFill>
                  <a:schemeClr val="tx1">
                    <a:lumMod val="85000"/>
                    <a:lumOff val="15000"/>
                  </a:schemeClr>
                </a:solidFill>
              </a:rPr>
              <a:t>Source: Global Gas Report 2023</a:t>
            </a:r>
          </a:p>
        </p:txBody>
      </p:sp>
      <p:graphicFrame>
        <p:nvGraphicFramePr>
          <p:cNvPr id="4" name="Chart 3">
            <a:extLst>
              <a:ext uri="{FF2B5EF4-FFF2-40B4-BE49-F238E27FC236}">
                <a16:creationId xmlns:a16="http://schemas.microsoft.com/office/drawing/2014/main" id="{7AF6E10A-2E52-7588-0BEF-E616B654B45D}"/>
              </a:ext>
            </a:extLst>
          </p:cNvPr>
          <p:cNvGraphicFramePr/>
          <p:nvPr/>
        </p:nvGraphicFramePr>
        <p:xfrm>
          <a:off x="442911" y="1520826"/>
          <a:ext cx="5653089" cy="4356100"/>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Straight Arrow Connector 4">
            <a:extLst>
              <a:ext uri="{FF2B5EF4-FFF2-40B4-BE49-F238E27FC236}">
                <a16:creationId xmlns:a16="http://schemas.microsoft.com/office/drawing/2014/main" id="{17788B59-BD2F-428A-EAA6-1972E6690885}"/>
              </a:ext>
            </a:extLst>
          </p:cNvPr>
          <p:cNvCxnSpPr>
            <a:cxnSpLocks/>
          </p:cNvCxnSpPr>
          <p:nvPr/>
        </p:nvCxnSpPr>
        <p:spPr>
          <a:xfrm>
            <a:off x="3173657" y="3136774"/>
            <a:ext cx="894556" cy="20185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921BCBE0-8DA7-2972-17BF-C6C48F7C17EB}"/>
              </a:ext>
            </a:extLst>
          </p:cNvPr>
          <p:cNvCxnSpPr>
            <a:cxnSpLocks/>
          </p:cNvCxnSpPr>
          <p:nvPr/>
        </p:nvCxnSpPr>
        <p:spPr>
          <a:xfrm>
            <a:off x="3822700" y="2247900"/>
            <a:ext cx="762000" cy="127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BEB3AA9-DBAF-232C-A04C-A31FDA37E070}"/>
              </a:ext>
            </a:extLst>
          </p:cNvPr>
          <p:cNvSpPr/>
          <p:nvPr/>
        </p:nvSpPr>
        <p:spPr>
          <a:xfrm>
            <a:off x="1528820" y="2589453"/>
            <a:ext cx="1644837" cy="109464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a:solidFill>
                  <a:schemeClr val="tx1">
                    <a:lumMod val="85000"/>
                    <a:lumOff val="15000"/>
                  </a:schemeClr>
                </a:solidFill>
                <a:latin typeface="Ubuntu" panose="020B0504030602030204" pitchFamily="34" charset="0"/>
              </a:rPr>
              <a:t>Onset of Russia-Ukraine war heightens concerns over Russian pipeline supply</a:t>
            </a:r>
          </a:p>
        </p:txBody>
      </p:sp>
      <p:sp>
        <p:nvSpPr>
          <p:cNvPr id="10" name="Rectangle 9">
            <a:extLst>
              <a:ext uri="{FF2B5EF4-FFF2-40B4-BE49-F238E27FC236}">
                <a16:creationId xmlns:a16="http://schemas.microsoft.com/office/drawing/2014/main" id="{866329BB-3E8A-A405-ABBD-6672C9A896C1}"/>
              </a:ext>
            </a:extLst>
          </p:cNvPr>
          <p:cNvSpPr/>
          <p:nvPr/>
        </p:nvSpPr>
        <p:spPr>
          <a:xfrm>
            <a:off x="2209303" y="1594467"/>
            <a:ext cx="3122601" cy="7074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a:solidFill>
                  <a:schemeClr val="tx1">
                    <a:lumMod val="85000"/>
                    <a:lumOff val="15000"/>
                  </a:schemeClr>
                </a:solidFill>
                <a:latin typeface="Ubuntu" panose="020B0504030602030204" pitchFamily="34" charset="0"/>
              </a:rPr>
              <a:t>Explosion of Nord Stream pipelines and threats to energy infrastructure as Europe roiled under concurrent heatwaves </a:t>
            </a:r>
          </a:p>
        </p:txBody>
      </p:sp>
      <p:sp>
        <p:nvSpPr>
          <p:cNvPr id="11" name="TextBox 10">
            <a:extLst>
              <a:ext uri="{FF2B5EF4-FFF2-40B4-BE49-F238E27FC236}">
                <a16:creationId xmlns:a16="http://schemas.microsoft.com/office/drawing/2014/main" id="{665FCADA-B80A-79D2-A62B-CED7095C9073}"/>
              </a:ext>
            </a:extLst>
          </p:cNvPr>
          <p:cNvSpPr txBox="1"/>
          <p:nvPr/>
        </p:nvSpPr>
        <p:spPr>
          <a:xfrm>
            <a:off x="442912" y="1141968"/>
            <a:ext cx="2456430" cy="276999"/>
          </a:xfrm>
          <a:prstGeom prst="rect">
            <a:avLst/>
          </a:prstGeom>
          <a:noFill/>
        </p:spPr>
        <p:txBody>
          <a:bodyPr wrap="square" rtlCol="0">
            <a:spAutoFit/>
          </a:bodyPr>
          <a:lstStyle/>
          <a:p>
            <a:r>
              <a:rPr lang="en-GB" sz="1200">
                <a:latin typeface="Ubuntu" panose="020B0504030602030204" pitchFamily="34" charset="0"/>
                <a:cs typeface="Calibri"/>
              </a:rPr>
              <a:t>USD (real) per MMBtu</a:t>
            </a:r>
          </a:p>
        </p:txBody>
      </p:sp>
      <p:graphicFrame>
        <p:nvGraphicFramePr>
          <p:cNvPr id="21" name="Chart 20">
            <a:extLst>
              <a:ext uri="{FF2B5EF4-FFF2-40B4-BE49-F238E27FC236}">
                <a16:creationId xmlns:a16="http://schemas.microsoft.com/office/drawing/2014/main" id="{397E8BA6-06F5-E6C3-0DC1-D8A0246747D4}"/>
              </a:ext>
            </a:extLst>
          </p:cNvPr>
          <p:cNvGraphicFramePr/>
          <p:nvPr/>
        </p:nvGraphicFramePr>
        <p:xfrm>
          <a:off x="6096000" y="1520826"/>
          <a:ext cx="5653088" cy="4356100"/>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Box 25">
            <a:extLst>
              <a:ext uri="{FF2B5EF4-FFF2-40B4-BE49-F238E27FC236}">
                <a16:creationId xmlns:a16="http://schemas.microsoft.com/office/drawing/2014/main" id="{E9FA2588-6A26-995B-323B-526D9C68B2B4}"/>
              </a:ext>
            </a:extLst>
          </p:cNvPr>
          <p:cNvSpPr txBox="1"/>
          <p:nvPr/>
        </p:nvSpPr>
        <p:spPr>
          <a:xfrm>
            <a:off x="6096001" y="1141968"/>
            <a:ext cx="4151247" cy="276999"/>
          </a:xfrm>
          <a:prstGeom prst="rect">
            <a:avLst/>
          </a:prstGeom>
          <a:noFill/>
        </p:spPr>
        <p:txBody>
          <a:bodyPr wrap="square" rtlCol="0">
            <a:spAutoFit/>
          </a:bodyPr>
          <a:lstStyle/>
          <a:p>
            <a:r>
              <a:rPr lang="en-GB" sz="1200">
                <a:latin typeface="Ubuntu" panose="020B0504030602030204" pitchFamily="34" charset="0"/>
                <a:cs typeface="Calibri"/>
              </a:rPr>
              <a:t>Inter-monthly standard deviation (USD (real) per MMBtu)</a:t>
            </a:r>
          </a:p>
        </p:txBody>
      </p:sp>
      <p:sp>
        <p:nvSpPr>
          <p:cNvPr id="29" name="TextBox 28">
            <a:extLst>
              <a:ext uri="{FF2B5EF4-FFF2-40B4-BE49-F238E27FC236}">
                <a16:creationId xmlns:a16="http://schemas.microsoft.com/office/drawing/2014/main" id="{DCB1C7BF-4331-B04C-F2C1-4099C0202E75}"/>
              </a:ext>
            </a:extLst>
          </p:cNvPr>
          <p:cNvSpPr txBox="1"/>
          <p:nvPr/>
        </p:nvSpPr>
        <p:spPr>
          <a:xfrm>
            <a:off x="7496328" y="1778687"/>
            <a:ext cx="4113344" cy="523220"/>
          </a:xfrm>
          <a:prstGeom prst="rect">
            <a:avLst/>
          </a:prstGeom>
          <a:noFill/>
        </p:spPr>
        <p:txBody>
          <a:bodyPr wrap="square" rtlCol="0">
            <a:spAutoFit/>
          </a:bodyPr>
          <a:lstStyle/>
          <a:p>
            <a:pPr algn="ctr"/>
            <a:r>
              <a:rPr lang="en-GB" sz="1400">
                <a:solidFill>
                  <a:schemeClr val="tx1">
                    <a:lumMod val="85000"/>
                    <a:lumOff val="15000"/>
                  </a:schemeClr>
                </a:solidFill>
                <a:latin typeface="Ubuntu" panose="020B0504030602030204" pitchFamily="34" charset="0"/>
              </a:rPr>
              <a:t>Average TTF volatility levels in 2022 and 2023 </a:t>
            </a:r>
            <a:r>
              <a:rPr lang="en-GB" sz="1400" b="1">
                <a:solidFill>
                  <a:schemeClr val="tx1">
                    <a:lumMod val="85000"/>
                    <a:lumOff val="15000"/>
                  </a:schemeClr>
                </a:solidFill>
                <a:latin typeface="Ubuntu" panose="020B0504030602030204" pitchFamily="34" charset="0"/>
              </a:rPr>
              <a:t>almost 5x higher</a:t>
            </a:r>
            <a:r>
              <a:rPr lang="en-GB" sz="1400">
                <a:solidFill>
                  <a:schemeClr val="tx1">
                    <a:lumMod val="85000"/>
                    <a:lumOff val="15000"/>
                  </a:schemeClr>
                </a:solidFill>
                <a:latin typeface="Ubuntu" panose="020B0504030602030204" pitchFamily="34" charset="0"/>
              </a:rPr>
              <a:t> than those of 2019 and 2020</a:t>
            </a:r>
          </a:p>
        </p:txBody>
      </p:sp>
    </p:spTree>
    <p:extLst>
      <p:ext uri="{BB962C8B-B14F-4D97-AF65-F5344CB8AC3E}">
        <p14:creationId xmlns:p14="http://schemas.microsoft.com/office/powerpoint/2010/main" val="31858078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8F871-8C15-2864-7EF9-FC1DD583F6A7}"/>
              </a:ext>
            </a:extLst>
          </p:cNvPr>
          <p:cNvSpPr>
            <a:spLocks noGrp="1"/>
          </p:cNvSpPr>
          <p:nvPr>
            <p:ph type="title"/>
          </p:nvPr>
        </p:nvSpPr>
        <p:spPr/>
        <p:txBody>
          <a:bodyPr/>
          <a:lstStyle/>
          <a:p>
            <a:r>
              <a:rPr lang="nb-NO" dirty="0" err="1">
                <a:solidFill>
                  <a:srgbClr val="06BA57"/>
                </a:solidFill>
                <a:latin typeface="Ubuntu"/>
              </a:rPr>
              <a:t>Demand</a:t>
            </a:r>
            <a:r>
              <a:rPr lang="nb-NO" dirty="0">
                <a:solidFill>
                  <a:srgbClr val="06BA57"/>
                </a:solidFill>
                <a:latin typeface="Ubuntu"/>
              </a:rPr>
              <a:t> </a:t>
            </a:r>
            <a:r>
              <a:rPr lang="nb-NO" dirty="0" err="1">
                <a:solidFill>
                  <a:srgbClr val="06BA57"/>
                </a:solidFill>
                <a:latin typeface="Ubuntu"/>
              </a:rPr>
              <a:t>dropped</a:t>
            </a:r>
            <a:r>
              <a:rPr lang="nb-NO" dirty="0">
                <a:solidFill>
                  <a:srgbClr val="06BA57"/>
                </a:solidFill>
                <a:latin typeface="Ubuntu"/>
              </a:rPr>
              <a:t> by 1.5% in 2022, </a:t>
            </a:r>
            <a:r>
              <a:rPr lang="nb-NO" dirty="0" err="1">
                <a:solidFill>
                  <a:srgbClr val="06BA57"/>
                </a:solidFill>
                <a:latin typeface="Ubuntu"/>
              </a:rPr>
              <a:t>however</a:t>
            </a:r>
            <a:r>
              <a:rPr lang="nb-NO" dirty="0">
                <a:solidFill>
                  <a:srgbClr val="06BA57"/>
                </a:solidFill>
                <a:latin typeface="Ubuntu"/>
              </a:rPr>
              <a:t> </a:t>
            </a:r>
            <a:r>
              <a:rPr lang="nb-NO" dirty="0" err="1">
                <a:solidFill>
                  <a:srgbClr val="06BA57"/>
                </a:solidFill>
                <a:latin typeface="Ubuntu"/>
              </a:rPr>
              <a:t>large</a:t>
            </a:r>
            <a:r>
              <a:rPr lang="nb-NO" dirty="0">
                <a:solidFill>
                  <a:srgbClr val="06BA57"/>
                </a:solidFill>
                <a:latin typeface="Ubuntu"/>
              </a:rPr>
              <a:t> regional </a:t>
            </a:r>
            <a:r>
              <a:rPr lang="nb-NO" dirty="0" err="1">
                <a:solidFill>
                  <a:srgbClr val="06BA57"/>
                </a:solidFill>
                <a:latin typeface="Ubuntu"/>
              </a:rPr>
              <a:t>changes</a:t>
            </a:r>
            <a:r>
              <a:rPr lang="nb-NO" dirty="0">
                <a:solidFill>
                  <a:srgbClr val="06BA57"/>
                </a:solidFill>
                <a:latin typeface="Ubuntu"/>
              </a:rPr>
              <a:t> </a:t>
            </a:r>
            <a:r>
              <a:rPr lang="nb-NO" dirty="0" err="1">
                <a:solidFill>
                  <a:srgbClr val="06BA57"/>
                </a:solidFill>
                <a:latin typeface="Ubuntu"/>
              </a:rPr>
              <a:t>occured</a:t>
            </a:r>
            <a:endParaRPr lang="en-US" dirty="0">
              <a:solidFill>
                <a:srgbClr val="06BA57"/>
              </a:solidFill>
              <a:latin typeface="Ubuntu"/>
            </a:endParaRPr>
          </a:p>
        </p:txBody>
      </p:sp>
      <p:sp>
        <p:nvSpPr>
          <p:cNvPr id="3" name="Text Placeholder 2">
            <a:extLst>
              <a:ext uri="{FF2B5EF4-FFF2-40B4-BE49-F238E27FC236}">
                <a16:creationId xmlns:a16="http://schemas.microsoft.com/office/drawing/2014/main" id="{FFD640FB-56BB-D761-C46B-67B4C5ED1ED9}"/>
              </a:ext>
            </a:extLst>
          </p:cNvPr>
          <p:cNvSpPr>
            <a:spLocks noGrp="1"/>
          </p:cNvSpPr>
          <p:nvPr>
            <p:ph type="body" sz="quarter" idx="19"/>
          </p:nvPr>
        </p:nvSpPr>
        <p:spPr/>
        <p:txBody>
          <a:bodyPr/>
          <a:lstStyle/>
          <a:p>
            <a:r>
              <a:rPr lang="en-GB" dirty="0">
                <a:solidFill>
                  <a:schemeClr val="tx1">
                    <a:lumMod val="85000"/>
                    <a:lumOff val="15000"/>
                  </a:schemeClr>
                </a:solidFill>
              </a:rPr>
              <a:t>Source: Global Gas Report 2023</a:t>
            </a:r>
            <a:endParaRPr lang="en-US" dirty="0"/>
          </a:p>
        </p:txBody>
      </p:sp>
      <p:graphicFrame>
        <p:nvGraphicFramePr>
          <p:cNvPr id="4" name="Chart 3">
            <a:extLst>
              <a:ext uri="{FF2B5EF4-FFF2-40B4-BE49-F238E27FC236}">
                <a16:creationId xmlns:a16="http://schemas.microsoft.com/office/drawing/2014/main" id="{88FDC57C-C87B-ABD2-D18C-2738B4187907}"/>
              </a:ext>
            </a:extLst>
          </p:cNvPr>
          <p:cNvGraphicFramePr/>
          <p:nvPr/>
        </p:nvGraphicFramePr>
        <p:xfrm>
          <a:off x="6098096" y="1495425"/>
          <a:ext cx="5650992" cy="4352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CBAAC57D-D884-4E87-15B5-60BA7B28B466}"/>
              </a:ext>
            </a:extLst>
          </p:cNvPr>
          <p:cNvGraphicFramePr/>
          <p:nvPr/>
        </p:nvGraphicFramePr>
        <p:xfrm>
          <a:off x="442913" y="1495425"/>
          <a:ext cx="5650992" cy="435254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9FB3232D-B8BD-F643-06A4-DF17B9F4AA9D}"/>
              </a:ext>
            </a:extLst>
          </p:cNvPr>
          <p:cNvSpPr txBox="1"/>
          <p:nvPr/>
        </p:nvSpPr>
        <p:spPr>
          <a:xfrm>
            <a:off x="442912" y="1141968"/>
            <a:ext cx="2456430" cy="276999"/>
          </a:xfrm>
          <a:prstGeom prst="rect">
            <a:avLst/>
          </a:prstGeom>
          <a:noFill/>
        </p:spPr>
        <p:txBody>
          <a:bodyPr wrap="square" rtlCol="0">
            <a:spAutoFit/>
          </a:bodyPr>
          <a:lstStyle/>
          <a:p>
            <a:r>
              <a:rPr lang="en-GB" sz="1200">
                <a:latin typeface="Ubuntu" panose="020B0504030602030204" pitchFamily="34" charset="0"/>
                <a:cs typeface="Calibri"/>
              </a:rPr>
              <a:t>Bcm</a:t>
            </a:r>
          </a:p>
        </p:txBody>
      </p:sp>
      <p:sp>
        <p:nvSpPr>
          <p:cNvPr id="7" name="TextBox 6">
            <a:extLst>
              <a:ext uri="{FF2B5EF4-FFF2-40B4-BE49-F238E27FC236}">
                <a16:creationId xmlns:a16="http://schemas.microsoft.com/office/drawing/2014/main" id="{A9011C52-7D6E-DEF2-638E-A8E7CD73D11A}"/>
              </a:ext>
            </a:extLst>
          </p:cNvPr>
          <p:cNvSpPr txBox="1"/>
          <p:nvPr/>
        </p:nvSpPr>
        <p:spPr>
          <a:xfrm>
            <a:off x="6096001" y="1141968"/>
            <a:ext cx="4151247" cy="276999"/>
          </a:xfrm>
          <a:prstGeom prst="rect">
            <a:avLst/>
          </a:prstGeom>
          <a:noFill/>
        </p:spPr>
        <p:txBody>
          <a:bodyPr wrap="square" rtlCol="0">
            <a:spAutoFit/>
          </a:bodyPr>
          <a:lstStyle/>
          <a:p>
            <a:r>
              <a:rPr lang="en-GB" sz="1200">
                <a:latin typeface="Ubuntu" panose="020B0504030602030204" pitchFamily="34" charset="0"/>
                <a:cs typeface="Calibri"/>
              </a:rPr>
              <a:t>Year-on-year changes in Bcm</a:t>
            </a:r>
          </a:p>
        </p:txBody>
      </p:sp>
    </p:spTree>
    <p:extLst>
      <p:ext uri="{BB962C8B-B14F-4D97-AF65-F5344CB8AC3E}">
        <p14:creationId xmlns:p14="http://schemas.microsoft.com/office/powerpoint/2010/main" val="30937800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F8C28-3360-33FD-570F-9E5A84EE019A}"/>
              </a:ext>
            </a:extLst>
          </p:cNvPr>
          <p:cNvSpPr>
            <a:spLocks noGrp="1"/>
          </p:cNvSpPr>
          <p:nvPr>
            <p:ph type="title"/>
          </p:nvPr>
        </p:nvSpPr>
        <p:spPr>
          <a:xfrm>
            <a:off x="442913" y="416745"/>
            <a:ext cx="11749087" cy="611188"/>
          </a:xfrm>
        </p:spPr>
        <p:txBody>
          <a:bodyPr/>
          <a:lstStyle/>
          <a:p>
            <a:r>
              <a:rPr lang="en-GB" dirty="0">
                <a:solidFill>
                  <a:srgbClr val="06BA57"/>
                </a:solidFill>
                <a:latin typeface="Ubuntu"/>
                <a:cs typeface="Arial"/>
              </a:rPr>
              <a:t>Global gas production in 2022 stayed flat with a marginal 8.3 </a:t>
            </a:r>
            <a:r>
              <a:rPr lang="en-GB" err="1">
                <a:solidFill>
                  <a:srgbClr val="06BA57"/>
                </a:solidFill>
                <a:latin typeface="Ubuntu"/>
                <a:cs typeface="Arial"/>
              </a:rPr>
              <a:t>Bcm</a:t>
            </a:r>
            <a:r>
              <a:rPr lang="en-GB" dirty="0">
                <a:solidFill>
                  <a:srgbClr val="06BA57"/>
                </a:solidFill>
                <a:latin typeface="Ubuntu"/>
                <a:cs typeface="Arial"/>
              </a:rPr>
              <a:t>  uptick. </a:t>
            </a:r>
            <a:br>
              <a:rPr lang="en-GB" dirty="0">
                <a:solidFill>
                  <a:srgbClr val="06BA57"/>
                </a:solidFill>
                <a:latin typeface="Ubuntu"/>
                <a:cs typeface="Arial"/>
              </a:rPr>
            </a:br>
            <a:r>
              <a:rPr lang="en-US" sz="1800" dirty="0">
                <a:solidFill>
                  <a:srgbClr val="0070C0"/>
                </a:solidFill>
                <a:latin typeface="Ubuntu"/>
                <a:cs typeface="Arial"/>
              </a:rPr>
              <a:t>North America remains the undisputed largest supplier – high declines in Russian production.</a:t>
            </a:r>
            <a:endParaRPr lang="en-GB" sz="1800">
              <a:solidFill>
                <a:srgbClr val="0070C0"/>
              </a:solidFill>
              <a:latin typeface="Ubuntu"/>
              <a:cs typeface="Arial"/>
            </a:endParaRPr>
          </a:p>
        </p:txBody>
      </p:sp>
      <p:sp>
        <p:nvSpPr>
          <p:cNvPr id="3" name="Text Placeholder 2">
            <a:extLst>
              <a:ext uri="{FF2B5EF4-FFF2-40B4-BE49-F238E27FC236}">
                <a16:creationId xmlns:a16="http://schemas.microsoft.com/office/drawing/2014/main" id="{76D34461-B84C-B4AB-4376-30412B646A81}"/>
              </a:ext>
            </a:extLst>
          </p:cNvPr>
          <p:cNvSpPr>
            <a:spLocks noGrp="1"/>
          </p:cNvSpPr>
          <p:nvPr>
            <p:ph type="body" sz="quarter" idx="19"/>
          </p:nvPr>
        </p:nvSpPr>
        <p:spPr/>
        <p:txBody>
          <a:bodyPr/>
          <a:lstStyle/>
          <a:p>
            <a:r>
              <a:rPr lang="en-GB" dirty="0">
                <a:solidFill>
                  <a:schemeClr val="tx1">
                    <a:lumMod val="85000"/>
                    <a:lumOff val="15000"/>
                  </a:schemeClr>
                </a:solidFill>
              </a:rPr>
              <a:t>Source: Global Gas Report 2023</a:t>
            </a:r>
            <a:endParaRPr lang="en-US" dirty="0"/>
          </a:p>
        </p:txBody>
      </p:sp>
      <p:graphicFrame>
        <p:nvGraphicFramePr>
          <p:cNvPr id="4" name="Chart 3">
            <a:extLst>
              <a:ext uri="{FF2B5EF4-FFF2-40B4-BE49-F238E27FC236}">
                <a16:creationId xmlns:a16="http://schemas.microsoft.com/office/drawing/2014/main" id="{1530B866-EED4-EB06-CF08-43BD4874E706}"/>
              </a:ext>
            </a:extLst>
          </p:cNvPr>
          <p:cNvGraphicFramePr/>
          <p:nvPr/>
        </p:nvGraphicFramePr>
        <p:xfrm>
          <a:off x="6093904" y="1520825"/>
          <a:ext cx="5655183" cy="4352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84008D62-203B-8955-A7ED-6BDDD21C4BB3}"/>
              </a:ext>
            </a:extLst>
          </p:cNvPr>
          <p:cNvGraphicFramePr/>
          <p:nvPr/>
        </p:nvGraphicFramePr>
        <p:xfrm>
          <a:off x="442913" y="1520825"/>
          <a:ext cx="5650992" cy="4352544"/>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D50D83A8-9543-9D1E-8CB6-0FBDDFB5BAA0}"/>
              </a:ext>
            </a:extLst>
          </p:cNvPr>
          <p:cNvSpPr txBox="1"/>
          <p:nvPr/>
        </p:nvSpPr>
        <p:spPr>
          <a:xfrm>
            <a:off x="442912" y="1141968"/>
            <a:ext cx="2456430" cy="276999"/>
          </a:xfrm>
          <a:prstGeom prst="rect">
            <a:avLst/>
          </a:prstGeom>
          <a:noFill/>
        </p:spPr>
        <p:txBody>
          <a:bodyPr wrap="square" rtlCol="0">
            <a:spAutoFit/>
          </a:bodyPr>
          <a:lstStyle/>
          <a:p>
            <a:r>
              <a:rPr lang="en-GB" sz="1200">
                <a:latin typeface="Ubuntu" panose="020B0504030602030204" pitchFamily="34" charset="0"/>
                <a:cs typeface="Calibri"/>
              </a:rPr>
              <a:t>Bcm</a:t>
            </a:r>
          </a:p>
        </p:txBody>
      </p:sp>
      <p:sp>
        <p:nvSpPr>
          <p:cNvPr id="9" name="TextBox 8">
            <a:extLst>
              <a:ext uri="{FF2B5EF4-FFF2-40B4-BE49-F238E27FC236}">
                <a16:creationId xmlns:a16="http://schemas.microsoft.com/office/drawing/2014/main" id="{C50DBC89-9940-2C68-467D-C69FC36DE30A}"/>
              </a:ext>
            </a:extLst>
          </p:cNvPr>
          <p:cNvSpPr txBox="1"/>
          <p:nvPr/>
        </p:nvSpPr>
        <p:spPr>
          <a:xfrm>
            <a:off x="6096001" y="1141968"/>
            <a:ext cx="4151247" cy="276999"/>
          </a:xfrm>
          <a:prstGeom prst="rect">
            <a:avLst/>
          </a:prstGeom>
          <a:noFill/>
        </p:spPr>
        <p:txBody>
          <a:bodyPr wrap="square" rtlCol="0">
            <a:spAutoFit/>
          </a:bodyPr>
          <a:lstStyle/>
          <a:p>
            <a:r>
              <a:rPr lang="en-GB" sz="1200">
                <a:latin typeface="Ubuntu" panose="020B0504030602030204" pitchFamily="34" charset="0"/>
                <a:cs typeface="Calibri"/>
              </a:rPr>
              <a:t>Year-on-year changes in Bcm</a:t>
            </a:r>
          </a:p>
        </p:txBody>
      </p:sp>
    </p:spTree>
    <p:extLst>
      <p:ext uri="{BB962C8B-B14F-4D97-AF65-F5344CB8AC3E}">
        <p14:creationId xmlns:p14="http://schemas.microsoft.com/office/powerpoint/2010/main" val="39924142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53BA7D-DB62-07AF-8114-AE37D9A6F07C}"/>
              </a:ext>
            </a:extLst>
          </p:cNvPr>
          <p:cNvSpPr>
            <a:spLocks noGrp="1"/>
          </p:cNvSpPr>
          <p:nvPr>
            <p:ph type="body" sz="quarter" idx="19"/>
          </p:nvPr>
        </p:nvSpPr>
        <p:spPr/>
        <p:txBody>
          <a:bodyPr/>
          <a:lstStyle/>
          <a:p>
            <a:r>
              <a:rPr lang="en-GB" dirty="0">
                <a:solidFill>
                  <a:schemeClr val="tx1">
                    <a:lumMod val="85000"/>
                    <a:lumOff val="15000"/>
                  </a:schemeClr>
                </a:solidFill>
              </a:rPr>
              <a:t>Source: Global Gas Report 2023</a:t>
            </a:r>
            <a:endParaRPr lang="en-US" dirty="0"/>
          </a:p>
        </p:txBody>
      </p:sp>
      <p:graphicFrame>
        <p:nvGraphicFramePr>
          <p:cNvPr id="4" name="Chart 3">
            <a:extLst>
              <a:ext uri="{FF2B5EF4-FFF2-40B4-BE49-F238E27FC236}">
                <a16:creationId xmlns:a16="http://schemas.microsoft.com/office/drawing/2014/main" id="{39FEDD7D-8AD8-F3C8-CFE2-EB30E142766A}"/>
              </a:ext>
            </a:extLst>
          </p:cNvPr>
          <p:cNvGraphicFramePr/>
          <p:nvPr/>
        </p:nvGraphicFramePr>
        <p:xfrm>
          <a:off x="442913" y="1520826"/>
          <a:ext cx="5653087" cy="4356100"/>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02D416D5-4C6E-1167-69D5-214B4CA35771}"/>
              </a:ext>
            </a:extLst>
          </p:cNvPr>
          <p:cNvSpPr txBox="1"/>
          <p:nvPr/>
        </p:nvSpPr>
        <p:spPr>
          <a:xfrm>
            <a:off x="442913" y="1141968"/>
            <a:ext cx="4912858" cy="276999"/>
          </a:xfrm>
          <a:prstGeom prst="rect">
            <a:avLst/>
          </a:prstGeom>
          <a:noFill/>
        </p:spPr>
        <p:txBody>
          <a:bodyPr wrap="square" rtlCol="0">
            <a:spAutoFit/>
          </a:bodyPr>
          <a:lstStyle/>
          <a:p>
            <a:r>
              <a:rPr lang="en-GB" sz="1200">
                <a:latin typeface="Ubuntu" panose="020B0504030602030204" pitchFamily="34" charset="0"/>
                <a:cs typeface="Calibri"/>
              </a:rPr>
              <a:t>Million tonnes of Blue/Green H2</a:t>
            </a:r>
          </a:p>
        </p:txBody>
      </p:sp>
      <p:graphicFrame>
        <p:nvGraphicFramePr>
          <p:cNvPr id="7" name="Chart 6">
            <a:extLst>
              <a:ext uri="{FF2B5EF4-FFF2-40B4-BE49-F238E27FC236}">
                <a16:creationId xmlns:a16="http://schemas.microsoft.com/office/drawing/2014/main" id="{D10484B4-0622-D30B-1A92-632F8A5F7955}"/>
              </a:ext>
            </a:extLst>
          </p:cNvPr>
          <p:cNvGraphicFramePr/>
          <p:nvPr/>
        </p:nvGraphicFramePr>
        <p:xfrm>
          <a:off x="6100975" y="1519226"/>
          <a:ext cx="5653087" cy="43561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E9657FC1-73BD-EBC7-827B-A0DC9E726FB0}"/>
              </a:ext>
            </a:extLst>
          </p:cNvPr>
          <p:cNvSpPr txBox="1"/>
          <p:nvPr/>
        </p:nvSpPr>
        <p:spPr>
          <a:xfrm>
            <a:off x="6100975" y="1140368"/>
            <a:ext cx="4912858" cy="276999"/>
          </a:xfrm>
          <a:prstGeom prst="rect">
            <a:avLst/>
          </a:prstGeom>
          <a:noFill/>
        </p:spPr>
        <p:txBody>
          <a:bodyPr wrap="square" rtlCol="0">
            <a:spAutoFit/>
          </a:bodyPr>
          <a:lstStyle/>
          <a:p>
            <a:r>
              <a:rPr lang="en-GB" sz="1200">
                <a:solidFill>
                  <a:schemeClr val="tx1">
                    <a:lumMod val="85000"/>
                    <a:lumOff val="15000"/>
                  </a:schemeClr>
                </a:solidFill>
                <a:latin typeface="Ubuntu" panose="020B0504030602030204" pitchFamily="34" charset="0"/>
                <a:cs typeface="Calibri"/>
              </a:rPr>
              <a:t>Million tonnes of Blue/Green H2</a:t>
            </a:r>
          </a:p>
        </p:txBody>
      </p:sp>
      <p:sp>
        <p:nvSpPr>
          <p:cNvPr id="9" name="TextBox 8">
            <a:extLst>
              <a:ext uri="{FF2B5EF4-FFF2-40B4-BE49-F238E27FC236}">
                <a16:creationId xmlns:a16="http://schemas.microsoft.com/office/drawing/2014/main" id="{A00B8C9C-DA79-1B05-34A4-36934273A851}"/>
              </a:ext>
            </a:extLst>
          </p:cNvPr>
          <p:cNvSpPr txBox="1"/>
          <p:nvPr/>
        </p:nvSpPr>
        <p:spPr>
          <a:xfrm>
            <a:off x="888629" y="1886670"/>
            <a:ext cx="2656573" cy="923330"/>
          </a:xfrm>
          <a:prstGeom prst="rect">
            <a:avLst/>
          </a:prstGeom>
          <a:noFill/>
        </p:spPr>
        <p:txBody>
          <a:bodyPr wrap="square" rtlCol="0">
            <a:spAutoFit/>
          </a:bodyPr>
          <a:lstStyle/>
          <a:p>
            <a:pPr algn="ctr"/>
            <a:r>
              <a:rPr lang="en-US" b="1"/>
              <a:t>Operational, FIDed and projects in construction only</a:t>
            </a:r>
          </a:p>
        </p:txBody>
      </p:sp>
      <p:sp>
        <p:nvSpPr>
          <p:cNvPr id="10" name="TextBox 9">
            <a:extLst>
              <a:ext uri="{FF2B5EF4-FFF2-40B4-BE49-F238E27FC236}">
                <a16:creationId xmlns:a16="http://schemas.microsoft.com/office/drawing/2014/main" id="{ED93D826-5D7D-A7DD-C161-4D08A664E24D}"/>
              </a:ext>
            </a:extLst>
          </p:cNvPr>
          <p:cNvSpPr txBox="1"/>
          <p:nvPr/>
        </p:nvSpPr>
        <p:spPr>
          <a:xfrm>
            <a:off x="6735374" y="1948122"/>
            <a:ext cx="2195515" cy="594813"/>
          </a:xfrm>
          <a:prstGeom prst="rect">
            <a:avLst/>
          </a:prstGeom>
          <a:noFill/>
        </p:spPr>
        <p:txBody>
          <a:bodyPr wrap="square" rtlCol="0">
            <a:spAutoFit/>
          </a:bodyPr>
          <a:lstStyle/>
          <a:p>
            <a:pPr algn="ctr"/>
            <a:r>
              <a:rPr lang="en-US" b="1"/>
              <a:t>Including pre-FID projects</a:t>
            </a:r>
          </a:p>
        </p:txBody>
      </p:sp>
      <p:sp>
        <p:nvSpPr>
          <p:cNvPr id="11" name="Title 1">
            <a:extLst>
              <a:ext uri="{FF2B5EF4-FFF2-40B4-BE49-F238E27FC236}">
                <a16:creationId xmlns:a16="http://schemas.microsoft.com/office/drawing/2014/main" id="{9F3BB30B-D7FB-9ABB-BFF6-E44262C45AC2}"/>
              </a:ext>
            </a:extLst>
          </p:cNvPr>
          <p:cNvSpPr>
            <a:spLocks noGrp="1"/>
          </p:cNvSpPr>
          <p:nvPr>
            <p:ph type="title"/>
          </p:nvPr>
        </p:nvSpPr>
        <p:spPr>
          <a:xfrm>
            <a:off x="442913" y="441325"/>
            <a:ext cx="11675293" cy="611188"/>
          </a:xfrm>
        </p:spPr>
        <p:txBody>
          <a:bodyPr/>
          <a:lstStyle/>
          <a:p>
            <a:r>
              <a:rPr lang="en-GB" dirty="0">
                <a:solidFill>
                  <a:srgbClr val="06BA57"/>
                </a:solidFill>
                <a:latin typeface="Ubuntu"/>
              </a:rPr>
              <a:t>High ambitions for H2 developments – sanctioning activity must rise for it materialize </a:t>
            </a:r>
            <a:endParaRPr lang="en-US" dirty="0"/>
          </a:p>
        </p:txBody>
      </p:sp>
    </p:spTree>
    <p:extLst>
      <p:ext uri="{BB962C8B-B14F-4D97-AF65-F5344CB8AC3E}">
        <p14:creationId xmlns:p14="http://schemas.microsoft.com/office/powerpoint/2010/main" val="30534440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DFC8B-2FC8-31F1-417A-628262176B6F}"/>
              </a:ext>
            </a:extLst>
          </p:cNvPr>
          <p:cNvSpPr>
            <a:spLocks noGrp="1"/>
          </p:cNvSpPr>
          <p:nvPr>
            <p:ph type="title"/>
          </p:nvPr>
        </p:nvSpPr>
        <p:spPr/>
        <p:txBody>
          <a:bodyPr/>
          <a:lstStyle/>
          <a:p>
            <a:r>
              <a:rPr lang="en-GB">
                <a:solidFill>
                  <a:srgbClr val="06BA57"/>
                </a:solidFill>
                <a:latin typeface="Ubuntu"/>
              </a:rPr>
              <a:t>Large discrepancies in future gas demand across scenarios versus supply pipeline</a:t>
            </a:r>
            <a:endParaRPr lang="en-US"/>
          </a:p>
        </p:txBody>
      </p:sp>
      <p:sp>
        <p:nvSpPr>
          <p:cNvPr id="3" name="Text Placeholder 2">
            <a:extLst>
              <a:ext uri="{FF2B5EF4-FFF2-40B4-BE49-F238E27FC236}">
                <a16:creationId xmlns:a16="http://schemas.microsoft.com/office/drawing/2014/main" id="{76AA2395-2CE9-C073-7BDD-4CC52617AD58}"/>
              </a:ext>
            </a:extLst>
          </p:cNvPr>
          <p:cNvSpPr>
            <a:spLocks noGrp="1"/>
          </p:cNvSpPr>
          <p:nvPr>
            <p:ph type="body" sz="quarter" idx="19"/>
          </p:nvPr>
        </p:nvSpPr>
        <p:spPr/>
        <p:txBody>
          <a:bodyPr/>
          <a:lstStyle/>
          <a:p>
            <a:r>
              <a:rPr lang="en-GB" dirty="0"/>
              <a:t>Footnote: All historical and forecasted values are scaled to be identical in 2022 to account for different heating and caloric assumptions</a:t>
            </a:r>
            <a:endParaRPr lang="en-GB" dirty="0">
              <a:solidFill>
                <a:schemeClr val="tx1">
                  <a:lumMod val="85000"/>
                  <a:lumOff val="15000"/>
                </a:schemeClr>
              </a:solidFill>
            </a:endParaRPr>
          </a:p>
          <a:p>
            <a:r>
              <a:rPr lang="en-GB" dirty="0">
                <a:solidFill>
                  <a:schemeClr val="tx1">
                    <a:lumMod val="85000"/>
                    <a:lumOff val="15000"/>
                  </a:schemeClr>
                </a:solidFill>
              </a:rPr>
              <a:t>Source: Global Gas Report 2023</a:t>
            </a:r>
          </a:p>
        </p:txBody>
      </p:sp>
      <p:pic>
        <p:nvPicPr>
          <p:cNvPr id="5" name="Picture 4" descr="International Energy Agency (IEA) | Globalabc">
            <a:extLst>
              <a:ext uri="{FF2B5EF4-FFF2-40B4-BE49-F238E27FC236}">
                <a16:creationId xmlns:a16="http://schemas.microsoft.com/office/drawing/2014/main" id="{7FE437EE-68EE-91CB-83D3-3211BA273A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84388" y="4594765"/>
            <a:ext cx="570672" cy="23778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1A075EF7-6CA8-21EE-BF51-DE9FB6500741}"/>
              </a:ext>
            </a:extLst>
          </p:cNvPr>
          <p:cNvSpPr/>
          <p:nvPr/>
        </p:nvSpPr>
        <p:spPr>
          <a:xfrm>
            <a:off x="10757831" y="4534750"/>
            <a:ext cx="1053548" cy="39756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100">
                <a:solidFill>
                  <a:schemeClr val="tx1">
                    <a:lumMod val="85000"/>
                    <a:lumOff val="15000"/>
                  </a:schemeClr>
                </a:solidFill>
                <a:latin typeface="Ubuntu" panose="020B0504030602030204" pitchFamily="34" charset="0"/>
                <a:cs typeface="Arial" panose="020B0604020202020204" pitchFamily="34" charset="0"/>
              </a:rPr>
              <a:t>Net Zero (2022)</a:t>
            </a:r>
          </a:p>
        </p:txBody>
      </p:sp>
      <p:pic>
        <p:nvPicPr>
          <p:cNvPr id="7" name="Picture 4" descr="International Energy Agency (IEA) | Globalabc">
            <a:extLst>
              <a:ext uri="{FF2B5EF4-FFF2-40B4-BE49-F238E27FC236}">
                <a16:creationId xmlns:a16="http://schemas.microsoft.com/office/drawing/2014/main" id="{E3B7485F-FC05-3611-D2D0-5FFAF4C592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84388" y="3721831"/>
            <a:ext cx="570672" cy="23778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461511F8-354E-B8C7-72A1-501D512F616C}"/>
              </a:ext>
            </a:extLst>
          </p:cNvPr>
          <p:cNvSpPr/>
          <p:nvPr/>
        </p:nvSpPr>
        <p:spPr>
          <a:xfrm>
            <a:off x="10757831" y="3662987"/>
            <a:ext cx="1053548" cy="39756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100">
                <a:solidFill>
                  <a:schemeClr val="tx1">
                    <a:lumMod val="85000"/>
                    <a:lumOff val="15000"/>
                  </a:schemeClr>
                </a:solidFill>
                <a:latin typeface="Ubuntu" panose="020B0504030602030204" pitchFamily="34" charset="0"/>
                <a:cs typeface="Arial" panose="020B0604020202020204" pitchFamily="34" charset="0"/>
              </a:rPr>
              <a:t>Announced Pledges (2022)</a:t>
            </a:r>
          </a:p>
        </p:txBody>
      </p:sp>
      <p:pic>
        <p:nvPicPr>
          <p:cNvPr id="9" name="Picture 2" descr="Rystad Energy Monthly and Regional Newsletter Sign-up Form">
            <a:extLst>
              <a:ext uri="{FF2B5EF4-FFF2-40B4-BE49-F238E27FC236}">
                <a16:creationId xmlns:a16="http://schemas.microsoft.com/office/drawing/2014/main" id="{916E99CF-1ED3-28B6-CE29-A65F23B11F1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901" t="1" r="21503" b="33493"/>
          <a:stretch/>
        </p:blipFill>
        <p:spPr bwMode="auto">
          <a:xfrm>
            <a:off x="10190994" y="2401442"/>
            <a:ext cx="357460" cy="324000"/>
          </a:xfrm>
          <a:prstGeom prst="rect">
            <a:avLst/>
          </a:prstGeom>
          <a:noFill/>
          <a:effectLst/>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194B12FC-E310-7A4B-1478-D1A658CCE998}"/>
              </a:ext>
            </a:extLst>
          </p:cNvPr>
          <p:cNvSpPr/>
          <p:nvPr/>
        </p:nvSpPr>
        <p:spPr>
          <a:xfrm>
            <a:off x="10757831" y="2339566"/>
            <a:ext cx="1053548" cy="39756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100" err="1">
                <a:solidFill>
                  <a:schemeClr val="tx1">
                    <a:lumMod val="85000"/>
                    <a:lumOff val="15000"/>
                  </a:schemeClr>
                </a:solidFill>
                <a:latin typeface="Ubuntu" panose="020B0504030602030204" pitchFamily="34" charset="0"/>
                <a:cs typeface="Arial" panose="020B0604020202020204" pitchFamily="34" charset="0"/>
              </a:rPr>
              <a:t>Rystad</a:t>
            </a:r>
            <a:r>
              <a:rPr lang="en-US" sz="1100">
                <a:solidFill>
                  <a:schemeClr val="tx1">
                    <a:lumMod val="85000"/>
                    <a:lumOff val="15000"/>
                  </a:schemeClr>
                </a:solidFill>
                <a:latin typeface="Ubuntu" panose="020B0504030602030204" pitchFamily="34" charset="0"/>
                <a:cs typeface="Arial" panose="020B0604020202020204" pitchFamily="34" charset="0"/>
              </a:rPr>
              <a:t> Energy</a:t>
            </a:r>
          </a:p>
          <a:p>
            <a:r>
              <a:rPr lang="en-US" sz="1100">
                <a:solidFill>
                  <a:schemeClr val="tx1">
                    <a:lumMod val="85000"/>
                    <a:lumOff val="15000"/>
                  </a:schemeClr>
                </a:solidFill>
                <a:latin typeface="Ubuntu" panose="020B0504030602030204" pitchFamily="34" charset="0"/>
                <a:cs typeface="Arial" panose="020B0604020202020204" pitchFamily="34" charset="0"/>
              </a:rPr>
              <a:t>2.2-degrees </a:t>
            </a:r>
          </a:p>
        </p:txBody>
      </p:sp>
      <p:pic>
        <p:nvPicPr>
          <p:cNvPr id="11" name="Picture 2" descr="Rystad Energy Monthly and Regional Newsletter Sign-up Form">
            <a:extLst>
              <a:ext uri="{FF2B5EF4-FFF2-40B4-BE49-F238E27FC236}">
                <a16:creationId xmlns:a16="http://schemas.microsoft.com/office/drawing/2014/main" id="{050F0752-BF44-B2C7-E07D-1E8A89553BA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901" t="1" r="21503" b="33493"/>
          <a:stretch/>
        </p:blipFill>
        <p:spPr bwMode="auto">
          <a:xfrm>
            <a:off x="10190994" y="3309211"/>
            <a:ext cx="357460" cy="324000"/>
          </a:xfrm>
          <a:prstGeom prst="rect">
            <a:avLst/>
          </a:prstGeom>
          <a:noFill/>
          <a:effectLst/>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64CA8796-AD2C-86DF-B8FC-4297AD6F3C14}"/>
              </a:ext>
            </a:extLst>
          </p:cNvPr>
          <p:cNvSpPr/>
          <p:nvPr/>
        </p:nvSpPr>
        <p:spPr>
          <a:xfrm>
            <a:off x="10757831" y="3247335"/>
            <a:ext cx="1053548" cy="39756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100" err="1">
                <a:solidFill>
                  <a:schemeClr val="tx1">
                    <a:lumMod val="85000"/>
                    <a:lumOff val="15000"/>
                  </a:schemeClr>
                </a:solidFill>
                <a:latin typeface="Ubuntu" panose="020B0504030602030204" pitchFamily="34" charset="0"/>
                <a:cs typeface="Arial" panose="020B0604020202020204" pitchFamily="34" charset="0"/>
              </a:rPr>
              <a:t>Rystad</a:t>
            </a:r>
            <a:r>
              <a:rPr lang="en-US" sz="1100">
                <a:solidFill>
                  <a:schemeClr val="tx1">
                    <a:lumMod val="85000"/>
                    <a:lumOff val="15000"/>
                  </a:schemeClr>
                </a:solidFill>
                <a:latin typeface="Ubuntu" panose="020B0504030602030204" pitchFamily="34" charset="0"/>
                <a:cs typeface="Arial" panose="020B0604020202020204" pitchFamily="34" charset="0"/>
              </a:rPr>
              <a:t> Energy</a:t>
            </a:r>
          </a:p>
          <a:p>
            <a:r>
              <a:rPr lang="en-US" sz="1100">
                <a:solidFill>
                  <a:schemeClr val="tx1">
                    <a:lumMod val="85000"/>
                    <a:lumOff val="15000"/>
                  </a:schemeClr>
                </a:solidFill>
                <a:latin typeface="Ubuntu" panose="020B0504030602030204" pitchFamily="34" charset="0"/>
                <a:cs typeface="Arial" panose="020B0604020202020204" pitchFamily="34" charset="0"/>
              </a:rPr>
              <a:t>1.9-degrees </a:t>
            </a:r>
          </a:p>
        </p:txBody>
      </p:sp>
      <p:pic>
        <p:nvPicPr>
          <p:cNvPr id="13" name="Picture 2" descr="Rystad Energy Monthly and Regional Newsletter Sign-up Form">
            <a:extLst>
              <a:ext uri="{FF2B5EF4-FFF2-40B4-BE49-F238E27FC236}">
                <a16:creationId xmlns:a16="http://schemas.microsoft.com/office/drawing/2014/main" id="{74F78701-4D91-DA1C-AED1-2394EAB5989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901" t="1" r="21503" b="33493"/>
          <a:stretch/>
        </p:blipFill>
        <p:spPr bwMode="auto">
          <a:xfrm>
            <a:off x="10190994" y="4185928"/>
            <a:ext cx="357460" cy="324000"/>
          </a:xfrm>
          <a:prstGeom prst="rect">
            <a:avLst/>
          </a:prstGeom>
          <a:noFill/>
          <a:effectLst/>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22A1F399-96E2-557E-ED96-C9F08B275712}"/>
              </a:ext>
            </a:extLst>
          </p:cNvPr>
          <p:cNvSpPr/>
          <p:nvPr/>
        </p:nvSpPr>
        <p:spPr>
          <a:xfrm>
            <a:off x="10757831" y="4124052"/>
            <a:ext cx="1053548" cy="39756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100" err="1">
                <a:solidFill>
                  <a:schemeClr val="tx1">
                    <a:lumMod val="85000"/>
                    <a:lumOff val="15000"/>
                  </a:schemeClr>
                </a:solidFill>
                <a:latin typeface="Ubuntu" panose="020B0504030602030204" pitchFamily="34" charset="0"/>
                <a:cs typeface="Arial" panose="020B0604020202020204" pitchFamily="34" charset="0"/>
              </a:rPr>
              <a:t>Rystad</a:t>
            </a:r>
            <a:r>
              <a:rPr lang="en-US" sz="1100">
                <a:solidFill>
                  <a:schemeClr val="tx1">
                    <a:lumMod val="85000"/>
                    <a:lumOff val="15000"/>
                  </a:schemeClr>
                </a:solidFill>
                <a:latin typeface="Ubuntu" panose="020B0504030602030204" pitchFamily="34" charset="0"/>
                <a:cs typeface="Arial" panose="020B0604020202020204" pitchFamily="34" charset="0"/>
              </a:rPr>
              <a:t> Energy</a:t>
            </a:r>
          </a:p>
          <a:p>
            <a:r>
              <a:rPr lang="en-US" sz="1100">
                <a:solidFill>
                  <a:schemeClr val="tx1">
                    <a:lumMod val="85000"/>
                    <a:lumOff val="15000"/>
                  </a:schemeClr>
                </a:solidFill>
                <a:latin typeface="Ubuntu" panose="020B0504030602030204" pitchFamily="34" charset="0"/>
                <a:cs typeface="Arial" panose="020B0604020202020204" pitchFamily="34" charset="0"/>
              </a:rPr>
              <a:t>1.6-degrees </a:t>
            </a:r>
          </a:p>
        </p:txBody>
      </p:sp>
      <p:pic>
        <p:nvPicPr>
          <p:cNvPr id="15" name="Picture 4" descr="International Energy Agency (IEA) | Globalabc">
            <a:extLst>
              <a:ext uri="{FF2B5EF4-FFF2-40B4-BE49-F238E27FC236}">
                <a16:creationId xmlns:a16="http://schemas.microsoft.com/office/drawing/2014/main" id="{1AE98C8E-247C-69C3-6BCB-DD72738182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84388" y="2908614"/>
            <a:ext cx="570672" cy="237780"/>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9FA17291-96C8-401B-AA7B-39A44F4CD6BD}"/>
              </a:ext>
            </a:extLst>
          </p:cNvPr>
          <p:cNvSpPr/>
          <p:nvPr/>
        </p:nvSpPr>
        <p:spPr>
          <a:xfrm>
            <a:off x="10757831" y="2849770"/>
            <a:ext cx="1053548" cy="39756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100">
                <a:solidFill>
                  <a:schemeClr val="tx1">
                    <a:lumMod val="85000"/>
                    <a:lumOff val="15000"/>
                  </a:schemeClr>
                </a:solidFill>
                <a:latin typeface="Ubuntu" panose="020B0504030602030204" pitchFamily="34" charset="0"/>
                <a:cs typeface="Arial" panose="020B0604020202020204" pitchFamily="34" charset="0"/>
              </a:rPr>
              <a:t>Stated Policies (2022)</a:t>
            </a:r>
          </a:p>
        </p:txBody>
      </p:sp>
      <p:sp>
        <p:nvSpPr>
          <p:cNvPr id="17" name="Rectangle 16">
            <a:extLst>
              <a:ext uri="{FF2B5EF4-FFF2-40B4-BE49-F238E27FC236}">
                <a16:creationId xmlns:a16="http://schemas.microsoft.com/office/drawing/2014/main" id="{8A2EE6FA-B41C-21E7-7824-39E510E6CF2A}"/>
              </a:ext>
            </a:extLst>
          </p:cNvPr>
          <p:cNvSpPr/>
          <p:nvPr/>
        </p:nvSpPr>
        <p:spPr>
          <a:xfrm>
            <a:off x="10757831" y="1830127"/>
            <a:ext cx="1148224" cy="39756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100">
                <a:solidFill>
                  <a:schemeClr val="tx1">
                    <a:lumMod val="85000"/>
                    <a:lumOff val="15000"/>
                  </a:schemeClr>
                </a:solidFill>
                <a:latin typeface="Ubuntu" panose="020B0504030602030204" pitchFamily="34" charset="0"/>
                <a:cs typeface="Arial" panose="020B0604020202020204" pitchFamily="34" charset="0"/>
              </a:rPr>
              <a:t>IEEJ</a:t>
            </a:r>
          </a:p>
          <a:p>
            <a:r>
              <a:rPr lang="en-US" sz="1100">
                <a:solidFill>
                  <a:schemeClr val="tx1">
                    <a:lumMod val="85000"/>
                    <a:lumOff val="15000"/>
                  </a:schemeClr>
                </a:solidFill>
                <a:latin typeface="Ubuntu" panose="020B0504030602030204" pitchFamily="34" charset="0"/>
                <a:cs typeface="Arial" panose="020B0604020202020204" pitchFamily="34" charset="0"/>
              </a:rPr>
              <a:t>Reference Case</a:t>
            </a:r>
          </a:p>
        </p:txBody>
      </p:sp>
      <p:pic>
        <p:nvPicPr>
          <p:cNvPr id="18" name="Picture 2" descr="Rystad Energy Monthly and Regional Newsletter Sign-up Form">
            <a:extLst>
              <a:ext uri="{FF2B5EF4-FFF2-40B4-BE49-F238E27FC236}">
                <a16:creationId xmlns:a16="http://schemas.microsoft.com/office/drawing/2014/main" id="{66882CCB-887C-9481-1B00-D8BF467D52A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901" t="1" r="21503" b="33493"/>
          <a:stretch/>
        </p:blipFill>
        <p:spPr bwMode="auto">
          <a:xfrm>
            <a:off x="10190994" y="5032291"/>
            <a:ext cx="357460" cy="324000"/>
          </a:xfrm>
          <a:prstGeom prst="rect">
            <a:avLst/>
          </a:prstGeom>
          <a:noFill/>
          <a:effectLst/>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A2635134-9337-336C-3D0E-920511AD49CC}"/>
              </a:ext>
            </a:extLst>
          </p:cNvPr>
          <p:cNvSpPr/>
          <p:nvPr/>
        </p:nvSpPr>
        <p:spPr>
          <a:xfrm>
            <a:off x="10757831" y="4970415"/>
            <a:ext cx="1053548" cy="39756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100" err="1">
                <a:solidFill>
                  <a:schemeClr val="tx1">
                    <a:lumMod val="85000"/>
                    <a:lumOff val="15000"/>
                  </a:schemeClr>
                </a:solidFill>
                <a:latin typeface="Ubuntu" panose="020B0504030602030204" pitchFamily="34" charset="0"/>
                <a:cs typeface="Arial" panose="020B0604020202020204" pitchFamily="34" charset="0"/>
              </a:rPr>
              <a:t>Rystad</a:t>
            </a:r>
            <a:r>
              <a:rPr lang="en-US" sz="1100">
                <a:solidFill>
                  <a:schemeClr val="tx1">
                    <a:lumMod val="85000"/>
                    <a:lumOff val="15000"/>
                  </a:schemeClr>
                </a:solidFill>
                <a:latin typeface="Ubuntu" panose="020B0504030602030204" pitchFamily="34" charset="0"/>
                <a:cs typeface="Arial" panose="020B0604020202020204" pitchFamily="34" charset="0"/>
              </a:rPr>
              <a:t> Energy</a:t>
            </a:r>
          </a:p>
          <a:p>
            <a:r>
              <a:rPr lang="en-US" sz="1100">
                <a:solidFill>
                  <a:schemeClr val="tx1">
                    <a:lumMod val="85000"/>
                    <a:lumOff val="15000"/>
                  </a:schemeClr>
                </a:solidFill>
                <a:latin typeface="Ubuntu" panose="020B0504030602030204" pitchFamily="34" charset="0"/>
                <a:cs typeface="Arial" panose="020B0604020202020204" pitchFamily="34" charset="0"/>
              </a:rPr>
              <a:t>1.5-degrees </a:t>
            </a:r>
          </a:p>
        </p:txBody>
      </p:sp>
      <p:pic>
        <p:nvPicPr>
          <p:cNvPr id="20" name="Picture 19">
            <a:extLst>
              <a:ext uri="{FF2B5EF4-FFF2-40B4-BE49-F238E27FC236}">
                <a16:creationId xmlns:a16="http://schemas.microsoft.com/office/drawing/2014/main" id="{9A0458CE-0406-6047-B9F0-0D1BDFE72DC6}"/>
              </a:ext>
            </a:extLst>
          </p:cNvPr>
          <p:cNvPicPr>
            <a:picLocks noChangeAspect="1"/>
          </p:cNvPicPr>
          <p:nvPr/>
        </p:nvPicPr>
        <p:blipFill rotWithShape="1">
          <a:blip r:embed="rId4">
            <a:clrChange>
              <a:clrFrom>
                <a:srgbClr val="000000">
                  <a:alpha val="0"/>
                </a:srgbClr>
              </a:clrFrom>
              <a:clrTo>
                <a:srgbClr val="000000">
                  <a:alpha val="0"/>
                </a:srgbClr>
              </a:clrTo>
            </a:clrChange>
          </a:blip>
          <a:srcRect t="4776" r="80903" b="5642"/>
          <a:stretch/>
        </p:blipFill>
        <p:spPr>
          <a:xfrm>
            <a:off x="10121847" y="1823605"/>
            <a:ext cx="495755" cy="403211"/>
          </a:xfrm>
          <a:prstGeom prst="rect">
            <a:avLst/>
          </a:prstGeom>
        </p:spPr>
      </p:pic>
      <p:sp>
        <p:nvSpPr>
          <p:cNvPr id="21" name="TextBox 20">
            <a:extLst>
              <a:ext uri="{FF2B5EF4-FFF2-40B4-BE49-F238E27FC236}">
                <a16:creationId xmlns:a16="http://schemas.microsoft.com/office/drawing/2014/main" id="{E55ECFA8-6516-8B72-7C2E-C64D6F9E9675}"/>
              </a:ext>
            </a:extLst>
          </p:cNvPr>
          <p:cNvSpPr txBox="1"/>
          <p:nvPr/>
        </p:nvSpPr>
        <p:spPr>
          <a:xfrm>
            <a:off x="442913" y="1141968"/>
            <a:ext cx="4912858" cy="276999"/>
          </a:xfrm>
          <a:prstGeom prst="rect">
            <a:avLst/>
          </a:prstGeom>
          <a:noFill/>
        </p:spPr>
        <p:txBody>
          <a:bodyPr wrap="square" rtlCol="0">
            <a:spAutoFit/>
          </a:bodyPr>
          <a:lstStyle/>
          <a:p>
            <a:r>
              <a:rPr lang="en-GB" sz="1200">
                <a:latin typeface="Ubuntu" panose="020B0504030602030204" pitchFamily="34" charset="0"/>
                <a:cs typeface="Calibri"/>
              </a:rPr>
              <a:t>Bcm</a:t>
            </a:r>
          </a:p>
        </p:txBody>
      </p:sp>
      <p:graphicFrame>
        <p:nvGraphicFramePr>
          <p:cNvPr id="22" name="Chart 21">
            <a:extLst>
              <a:ext uri="{FF2B5EF4-FFF2-40B4-BE49-F238E27FC236}">
                <a16:creationId xmlns:a16="http://schemas.microsoft.com/office/drawing/2014/main" id="{88B51E48-0C0B-E6E3-BB3F-148B529545E6}"/>
              </a:ext>
            </a:extLst>
          </p:cNvPr>
          <p:cNvGraphicFramePr/>
          <p:nvPr/>
        </p:nvGraphicFramePr>
        <p:xfrm>
          <a:off x="442913" y="1665188"/>
          <a:ext cx="9476411" cy="4211737"/>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53C569B7-6881-00B5-3C42-29589EB3A6D5}"/>
              </a:ext>
            </a:extLst>
          </p:cNvPr>
          <p:cNvSpPr txBox="1"/>
          <p:nvPr/>
        </p:nvSpPr>
        <p:spPr>
          <a:xfrm>
            <a:off x="1161436" y="1788242"/>
            <a:ext cx="3873908"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dirty="0">
                <a:ea typeface="+mn-lt"/>
                <a:cs typeface="+mn-lt"/>
              </a:rPr>
              <a:t>Global gas demand scenarios vs. operational, approved and discovered natural gas assets (2010 – 2050)</a:t>
            </a:r>
            <a:endParaRPr lang="en-US" sz="1600" b="1">
              <a:cs typeface="Calibri"/>
            </a:endParaRPr>
          </a:p>
          <a:p>
            <a:pPr algn="r"/>
            <a:endParaRPr lang="en-US" dirty="0">
              <a:cs typeface="Calibri"/>
            </a:endParaRPr>
          </a:p>
        </p:txBody>
      </p:sp>
    </p:spTree>
    <p:extLst>
      <p:ext uri="{BB962C8B-B14F-4D97-AF65-F5344CB8AC3E}">
        <p14:creationId xmlns:p14="http://schemas.microsoft.com/office/powerpoint/2010/main" val="2206711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1A256-0595-A7C1-441F-EACB4069A759}"/>
              </a:ext>
            </a:extLst>
          </p:cNvPr>
          <p:cNvSpPr>
            <a:spLocks noGrp="1"/>
          </p:cNvSpPr>
          <p:nvPr>
            <p:ph type="title"/>
          </p:nvPr>
        </p:nvSpPr>
        <p:spPr/>
        <p:txBody>
          <a:bodyPr/>
          <a:lstStyle/>
          <a:p>
            <a:r>
              <a:rPr lang="en-GB" dirty="0">
                <a:solidFill>
                  <a:srgbClr val="06BA57"/>
                </a:solidFill>
                <a:latin typeface="Ubuntu"/>
              </a:rPr>
              <a:t>2022, a year of extreme events and uncertainty lurking towards 2030</a:t>
            </a:r>
          </a:p>
        </p:txBody>
      </p:sp>
      <p:sp>
        <p:nvSpPr>
          <p:cNvPr id="3" name="Text Placeholder 2">
            <a:extLst>
              <a:ext uri="{FF2B5EF4-FFF2-40B4-BE49-F238E27FC236}">
                <a16:creationId xmlns:a16="http://schemas.microsoft.com/office/drawing/2014/main" id="{86EF7CE2-1672-04DD-6084-8D4EC4F3BD2E}"/>
              </a:ext>
            </a:extLst>
          </p:cNvPr>
          <p:cNvSpPr>
            <a:spLocks noGrp="1"/>
          </p:cNvSpPr>
          <p:nvPr>
            <p:ph type="body" sz="quarter" idx="19"/>
          </p:nvPr>
        </p:nvSpPr>
        <p:spPr/>
        <p:txBody>
          <a:bodyPr/>
          <a:lstStyle/>
          <a:p>
            <a:r>
              <a:rPr lang="en-GB" dirty="0"/>
              <a:t>Source: Global Gas Report 2023</a:t>
            </a:r>
          </a:p>
        </p:txBody>
      </p:sp>
      <p:sp>
        <p:nvSpPr>
          <p:cNvPr id="4" name="Isosceles Triangle 3">
            <a:extLst>
              <a:ext uri="{FF2B5EF4-FFF2-40B4-BE49-F238E27FC236}">
                <a16:creationId xmlns:a16="http://schemas.microsoft.com/office/drawing/2014/main" id="{BA48ECE2-B2B0-B11C-7E38-1B52BA490DF4}"/>
              </a:ext>
            </a:extLst>
          </p:cNvPr>
          <p:cNvSpPr/>
          <p:nvPr/>
        </p:nvSpPr>
        <p:spPr>
          <a:xfrm rot="5400000">
            <a:off x="5811956" y="2607666"/>
            <a:ext cx="4558015" cy="1957927"/>
          </a:xfrm>
          <a:prstGeom prst="triangle">
            <a:avLst/>
          </a:prstGeom>
          <a:gradFill>
            <a:gsLst>
              <a:gs pos="0">
                <a:srgbClr val="01436C"/>
              </a:gs>
              <a:gs pos="26000">
                <a:srgbClr val="006B95"/>
              </a:gs>
              <a:gs pos="100000">
                <a:srgbClr val="0664A3">
                  <a:alpha val="0"/>
                </a:srgbClr>
              </a:gs>
            </a:gsLst>
            <a:lin ang="5400000" scaled="1"/>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5" name="Oval 4">
            <a:extLst>
              <a:ext uri="{FF2B5EF4-FFF2-40B4-BE49-F238E27FC236}">
                <a16:creationId xmlns:a16="http://schemas.microsoft.com/office/drawing/2014/main" id="{DD8B7963-BCB2-5053-F161-2CF768A68402}"/>
              </a:ext>
            </a:extLst>
          </p:cNvPr>
          <p:cNvSpPr/>
          <p:nvPr/>
        </p:nvSpPr>
        <p:spPr>
          <a:xfrm>
            <a:off x="8308318" y="2356261"/>
            <a:ext cx="2525486" cy="2460731"/>
          </a:xfrm>
          <a:prstGeom prst="ellipse">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grpSp>
        <p:nvGrpSpPr>
          <p:cNvPr id="8" name="Group 7">
            <a:extLst>
              <a:ext uri="{FF2B5EF4-FFF2-40B4-BE49-F238E27FC236}">
                <a16:creationId xmlns:a16="http://schemas.microsoft.com/office/drawing/2014/main" id="{C223453C-150E-0F6D-FA5B-585058F26548}"/>
              </a:ext>
            </a:extLst>
          </p:cNvPr>
          <p:cNvGrpSpPr/>
          <p:nvPr/>
        </p:nvGrpSpPr>
        <p:grpSpPr>
          <a:xfrm>
            <a:off x="464192" y="1214932"/>
            <a:ext cx="6931467" cy="1376516"/>
            <a:chOff x="464192" y="1214932"/>
            <a:chExt cx="6931467" cy="1376516"/>
          </a:xfrm>
        </p:grpSpPr>
        <p:sp>
          <p:nvSpPr>
            <p:cNvPr id="12" name="TextBox 11">
              <a:extLst>
                <a:ext uri="{FF2B5EF4-FFF2-40B4-BE49-F238E27FC236}">
                  <a16:creationId xmlns:a16="http://schemas.microsoft.com/office/drawing/2014/main" id="{CBE5ADDD-A874-E898-E079-2B724A508438}"/>
                </a:ext>
              </a:extLst>
            </p:cNvPr>
            <p:cNvSpPr txBox="1"/>
            <p:nvPr/>
          </p:nvSpPr>
          <p:spPr>
            <a:xfrm>
              <a:off x="953287" y="1406508"/>
              <a:ext cx="6442372" cy="1184940"/>
            </a:xfrm>
            <a:prstGeom prst="rect">
              <a:avLst/>
            </a:prstGeom>
            <a:noFill/>
          </p:spPr>
          <p:txBody>
            <a:bodyPr wrap="square" lIns="91440" tIns="45720" rIns="0" bIns="45720" rtlCol="0" anchor="t">
              <a:spAutoFit/>
            </a:bodyPr>
            <a:lstStyle/>
            <a:p>
              <a:pPr>
                <a:spcBef>
                  <a:spcPts val="200"/>
                </a:spcBef>
                <a:defRPr/>
              </a:pPr>
              <a:r>
                <a:rPr lang="en-GB" sz="1400" b="1" dirty="0">
                  <a:solidFill>
                    <a:schemeClr val="tx1">
                      <a:lumMod val="85000"/>
                      <a:lumOff val="15000"/>
                    </a:schemeClr>
                  </a:solidFill>
                  <a:latin typeface="Ubuntu"/>
                </a:rPr>
                <a:t>2022 and 2023: </a:t>
              </a:r>
              <a:r>
                <a:rPr lang="en-GB" sz="1400" b="1" dirty="0">
                  <a:solidFill>
                    <a:schemeClr val="tx1">
                      <a:lumMod val="85000"/>
                      <a:lumOff val="15000"/>
                    </a:schemeClr>
                  </a:solidFill>
                  <a:latin typeface="Ubuntu"/>
                  <a:ea typeface="+mn-lt"/>
                  <a:cs typeface="+mn-lt"/>
                </a:rPr>
                <a:t>From Shock to Fragile Balancing in Global Gas</a:t>
              </a:r>
              <a:r>
                <a:rPr lang="en-GB" sz="1400" b="1" dirty="0">
                  <a:solidFill>
                    <a:schemeClr val="tx1">
                      <a:lumMod val="85000"/>
                      <a:lumOff val="15000"/>
                    </a:schemeClr>
                  </a:solidFill>
                  <a:latin typeface="Calibri"/>
                  <a:ea typeface="+mn-lt"/>
                  <a:cs typeface="+mn-lt"/>
                </a:rPr>
                <a:t> </a:t>
              </a:r>
              <a:r>
                <a:rPr lang="en-GB" sz="1400" b="1" dirty="0">
                  <a:solidFill>
                    <a:schemeClr val="tx1">
                      <a:lumMod val="85000"/>
                      <a:lumOff val="15000"/>
                    </a:schemeClr>
                  </a:solidFill>
                  <a:latin typeface="Ubuntu"/>
                  <a:ea typeface="Calibri"/>
                  <a:cs typeface="Calibri"/>
                </a:rPr>
                <a:t> </a:t>
              </a:r>
              <a:endParaRPr lang="en-GB" sz="1400" dirty="0">
                <a:solidFill>
                  <a:schemeClr val="tx1">
                    <a:lumMod val="85000"/>
                    <a:lumOff val="15000"/>
                  </a:schemeClr>
                </a:solidFill>
                <a:latin typeface="Ubuntu"/>
              </a:endParaRPr>
            </a:p>
            <a:p>
              <a:pPr indent="-93345">
                <a:spcBef>
                  <a:spcPts val="600"/>
                </a:spcBef>
                <a:buFont typeface="Arial" panose="020B0604020202020204" pitchFamily="34" charset="0"/>
                <a:buChar char="•"/>
                <a:defRPr/>
              </a:pPr>
              <a:r>
                <a:rPr lang="en-GB" sz="1400" dirty="0">
                  <a:solidFill>
                    <a:schemeClr val="tx1">
                      <a:lumMod val="85000"/>
                      <a:lumOff val="15000"/>
                    </a:schemeClr>
                  </a:solidFill>
                  <a:latin typeface="Ubuntu"/>
                </a:rPr>
                <a:t>Shortfall of Russian imports in Europe and surging LNG demand and prices</a:t>
              </a:r>
            </a:p>
            <a:p>
              <a:pPr indent="-93345">
                <a:spcBef>
                  <a:spcPts val="600"/>
                </a:spcBef>
                <a:buFont typeface="Arial" panose="020B0604020202020204" pitchFamily="34" charset="0"/>
                <a:buChar char="•"/>
                <a:defRPr/>
              </a:pPr>
              <a:r>
                <a:rPr lang="en-GB" sz="1400" dirty="0">
                  <a:solidFill>
                    <a:schemeClr val="tx1">
                      <a:lumMod val="85000"/>
                      <a:lumOff val="15000"/>
                    </a:schemeClr>
                  </a:solidFill>
                  <a:latin typeface="Ubuntu"/>
                </a:rPr>
                <a:t>Gas-to-coal switching increased global carbon emissions </a:t>
              </a:r>
              <a:endParaRPr lang="en-GB" sz="1400" dirty="0">
                <a:solidFill>
                  <a:schemeClr val="tx1">
                    <a:lumMod val="85000"/>
                    <a:lumOff val="15000"/>
                  </a:schemeClr>
                </a:solidFill>
                <a:latin typeface="Ubuntu" panose="020B0504030602030204" pitchFamily="34" charset="0"/>
              </a:endParaRPr>
            </a:p>
            <a:p>
              <a:pPr indent="-93345">
                <a:spcBef>
                  <a:spcPts val="600"/>
                </a:spcBef>
                <a:buFont typeface="Arial" panose="020B0604020202020204" pitchFamily="34" charset="0"/>
                <a:buChar char="•"/>
                <a:defRPr/>
              </a:pPr>
              <a:r>
                <a:rPr lang="en-GB" sz="1400" dirty="0">
                  <a:solidFill>
                    <a:schemeClr val="tx1">
                      <a:lumMod val="85000"/>
                      <a:lumOff val="15000"/>
                    </a:schemeClr>
                  </a:solidFill>
                  <a:latin typeface="Ubuntu"/>
                </a:rPr>
                <a:t>2023 H2 have seen gas prices and volatility toning down</a:t>
              </a:r>
            </a:p>
          </p:txBody>
        </p:sp>
        <p:sp>
          <p:nvSpPr>
            <p:cNvPr id="16" name="Rectangle 15">
              <a:extLst>
                <a:ext uri="{FF2B5EF4-FFF2-40B4-BE49-F238E27FC236}">
                  <a16:creationId xmlns:a16="http://schemas.microsoft.com/office/drawing/2014/main" id="{012CAA19-3DDF-5AFC-1A41-CC1C434F1B58}"/>
                </a:ext>
              </a:extLst>
            </p:cNvPr>
            <p:cNvSpPr/>
            <p:nvPr/>
          </p:nvSpPr>
          <p:spPr>
            <a:xfrm>
              <a:off x="464192" y="1214932"/>
              <a:ext cx="489097" cy="66109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4400" b="1">
                  <a:solidFill>
                    <a:srgbClr val="0070C0"/>
                  </a:solidFill>
                  <a:latin typeface="Ubuntu"/>
                </a:rPr>
                <a:t>1</a:t>
              </a:r>
              <a:endParaRPr lang="en-GB" sz="2000" b="1">
                <a:solidFill>
                  <a:srgbClr val="0070C0"/>
                </a:solidFill>
                <a:latin typeface="Ubuntu"/>
              </a:endParaRPr>
            </a:p>
          </p:txBody>
        </p:sp>
      </p:grpSp>
      <p:grpSp>
        <p:nvGrpSpPr>
          <p:cNvPr id="10" name="Group 9">
            <a:extLst>
              <a:ext uri="{FF2B5EF4-FFF2-40B4-BE49-F238E27FC236}">
                <a16:creationId xmlns:a16="http://schemas.microsoft.com/office/drawing/2014/main" id="{E57DFB6C-CE53-7DFE-638F-7827BF379E7D}"/>
              </a:ext>
            </a:extLst>
          </p:cNvPr>
          <p:cNvGrpSpPr/>
          <p:nvPr/>
        </p:nvGrpSpPr>
        <p:grpSpPr>
          <a:xfrm>
            <a:off x="464032" y="2650066"/>
            <a:ext cx="6677272" cy="1594691"/>
            <a:chOff x="464032" y="2939010"/>
            <a:chExt cx="6677272" cy="1594691"/>
          </a:xfrm>
        </p:grpSpPr>
        <p:sp>
          <p:nvSpPr>
            <p:cNvPr id="9" name="TextBox 8">
              <a:extLst>
                <a:ext uri="{FF2B5EF4-FFF2-40B4-BE49-F238E27FC236}">
                  <a16:creationId xmlns:a16="http://schemas.microsoft.com/office/drawing/2014/main" id="{45BD1754-1A92-0A6F-1266-3D6103AD4241}"/>
                </a:ext>
              </a:extLst>
            </p:cNvPr>
            <p:cNvSpPr txBox="1"/>
            <p:nvPr/>
          </p:nvSpPr>
          <p:spPr>
            <a:xfrm>
              <a:off x="953447" y="3133318"/>
              <a:ext cx="6187857" cy="1400383"/>
            </a:xfrm>
            <a:prstGeom prst="rect">
              <a:avLst/>
            </a:prstGeom>
            <a:noFill/>
          </p:spPr>
          <p:txBody>
            <a:bodyPr wrap="square" rIns="0" rtlCol="0">
              <a:spAutoFit/>
            </a:bodyPr>
            <a:lstStyle/>
            <a:p>
              <a:pPr marR="0" lvl="0" indent="0" algn="l" defTabSz="457200" rtl="0" eaLnBrk="1" fontAlgn="auto" latinLnBrk="0" hangingPunct="1">
                <a:lnSpc>
                  <a:spcPct val="100000"/>
                </a:lnSpc>
                <a:spcBef>
                  <a:spcPts val="600"/>
                </a:spcBef>
                <a:buClrTx/>
                <a:buSzTx/>
                <a:buFontTx/>
                <a:buNone/>
                <a:tabLst/>
                <a:defRPr/>
              </a:pPr>
              <a:r>
                <a:rPr kumimoji="0" lang="en-GB" sz="1400" b="1" i="0" u="none" strike="noStrike" kern="1200" cap="none" spc="0" normalizeH="0" baseline="0" noProof="0">
                  <a:ln>
                    <a:noFill/>
                  </a:ln>
                  <a:solidFill>
                    <a:schemeClr val="tx1">
                      <a:lumMod val="85000"/>
                      <a:lumOff val="15000"/>
                    </a:schemeClr>
                  </a:solidFill>
                  <a:effectLst/>
                  <a:uLnTx/>
                  <a:uFillTx/>
                  <a:latin typeface="Ubuntu" panose="020B0504030602030204" pitchFamily="34" charset="0"/>
                </a:rPr>
                <a:t>Scenarios point towards high future uncertainty</a:t>
              </a:r>
              <a:endParaRPr kumimoji="0" lang="en-GB" sz="1400" b="0" i="0" u="none" strike="noStrike" kern="1200" cap="none" spc="0" normalizeH="0" baseline="0" noProof="0">
                <a:ln>
                  <a:noFill/>
                </a:ln>
                <a:solidFill>
                  <a:schemeClr val="tx1">
                    <a:lumMod val="85000"/>
                    <a:lumOff val="15000"/>
                  </a:schemeClr>
                </a:solidFill>
                <a:effectLst/>
                <a:uLnTx/>
                <a:uFillTx/>
                <a:latin typeface="Ubuntu" panose="020B0504030602030204" pitchFamily="34" charset="0"/>
              </a:endParaRPr>
            </a:p>
            <a:p>
              <a:pPr marR="0" lvl="0" indent="-93663" algn="l" defTabSz="457200" rtl="0" eaLnBrk="1" fontAlgn="auto" latinLnBrk="0" hangingPunct="1">
                <a:lnSpc>
                  <a:spcPct val="100000"/>
                </a:lnSpc>
                <a:spcBef>
                  <a:spcPts val="600"/>
                </a:spcBef>
                <a:buClrTx/>
                <a:buSzTx/>
                <a:buFont typeface="Arial" panose="020B0604020202020204" pitchFamily="34" charset="0"/>
                <a:buChar char="•"/>
                <a:tabLst/>
                <a:defRPr/>
              </a:pPr>
              <a:r>
                <a:rPr kumimoji="0" lang="en-GB" sz="1400" b="0" i="0" u="none" strike="noStrike" kern="1200" cap="none" spc="0" normalizeH="0" baseline="0" noProof="0">
                  <a:ln>
                    <a:noFill/>
                  </a:ln>
                  <a:solidFill>
                    <a:schemeClr val="tx1">
                      <a:lumMod val="85000"/>
                      <a:lumOff val="15000"/>
                    </a:schemeClr>
                  </a:solidFill>
                  <a:effectLst/>
                  <a:uLnTx/>
                  <a:uFillTx/>
                  <a:latin typeface="Ubuntu" panose="020B0504030602030204" pitchFamily="34" charset="0"/>
                </a:rPr>
                <a:t>Future gas demand scenarios have large fans of outcomes</a:t>
              </a:r>
            </a:p>
            <a:p>
              <a:pPr marR="0" lvl="0" indent="-93663" algn="l" defTabSz="457200" rtl="0" eaLnBrk="1" fontAlgn="auto" latinLnBrk="0" hangingPunct="1">
                <a:lnSpc>
                  <a:spcPct val="100000"/>
                </a:lnSpc>
                <a:spcBef>
                  <a:spcPts val="600"/>
                </a:spcBef>
                <a:buClrTx/>
                <a:buSzTx/>
                <a:buFont typeface="Arial" panose="020B0604020202020204" pitchFamily="34" charset="0"/>
                <a:buChar char="•"/>
                <a:tabLst/>
                <a:defRPr/>
              </a:pPr>
              <a:r>
                <a:rPr kumimoji="0" lang="en-GB" sz="1400" b="0" i="0" u="none" strike="noStrike" kern="1200" cap="none" spc="0" normalizeH="0" baseline="0" noProof="0">
                  <a:ln>
                    <a:noFill/>
                  </a:ln>
                  <a:solidFill>
                    <a:schemeClr val="tx1">
                      <a:lumMod val="85000"/>
                      <a:lumOff val="15000"/>
                    </a:schemeClr>
                  </a:solidFill>
                  <a:effectLst/>
                  <a:uLnTx/>
                  <a:uFillTx/>
                  <a:latin typeface="Ubuntu" panose="020B0504030602030204" pitchFamily="34" charset="0"/>
                </a:rPr>
                <a:t>Unpredictability stems from the energy transition, financing and political</a:t>
              </a:r>
            </a:p>
            <a:p>
              <a:pPr marR="0" lvl="0" indent="-93663" algn="l" defTabSz="457200" rtl="0" eaLnBrk="1" fontAlgn="auto" latinLnBrk="0" hangingPunct="1">
                <a:lnSpc>
                  <a:spcPct val="100000"/>
                </a:lnSpc>
                <a:spcBef>
                  <a:spcPts val="600"/>
                </a:spcBef>
                <a:buClrTx/>
                <a:buSzTx/>
                <a:buFont typeface="Arial" panose="020B0604020202020204" pitchFamily="34" charset="0"/>
                <a:buChar char="•"/>
                <a:tabLst/>
                <a:defRPr/>
              </a:pPr>
              <a:r>
                <a:rPr lang="en-GB" sz="1400">
                  <a:solidFill>
                    <a:schemeClr val="tx1">
                      <a:lumMod val="85000"/>
                      <a:lumOff val="15000"/>
                    </a:schemeClr>
                  </a:solidFill>
                  <a:latin typeface="Ubuntu" panose="020B0504030602030204" pitchFamily="34" charset="0"/>
                </a:rPr>
                <a:t>However, “all” scenarios call for new gas developments and investments are needed to ensure sufficient supply</a:t>
              </a:r>
              <a:endParaRPr kumimoji="0" lang="en-GB" sz="1400" b="0" i="0" u="none" strike="noStrike" kern="1200" cap="none" spc="0" normalizeH="0" baseline="0" noProof="0">
                <a:ln>
                  <a:noFill/>
                </a:ln>
                <a:solidFill>
                  <a:schemeClr val="tx1">
                    <a:lumMod val="85000"/>
                    <a:lumOff val="15000"/>
                  </a:schemeClr>
                </a:solidFill>
                <a:effectLst/>
                <a:uLnTx/>
                <a:uFillTx/>
                <a:latin typeface="Ubuntu" panose="020B0504030602030204" pitchFamily="34" charset="0"/>
              </a:endParaRPr>
            </a:p>
          </p:txBody>
        </p:sp>
        <p:sp>
          <p:nvSpPr>
            <p:cNvPr id="19" name="Rectangle 18">
              <a:extLst>
                <a:ext uri="{FF2B5EF4-FFF2-40B4-BE49-F238E27FC236}">
                  <a16:creationId xmlns:a16="http://schemas.microsoft.com/office/drawing/2014/main" id="{061F99BA-CD90-4367-C359-622533556FA2}"/>
                </a:ext>
              </a:extLst>
            </p:cNvPr>
            <p:cNvSpPr/>
            <p:nvPr/>
          </p:nvSpPr>
          <p:spPr>
            <a:xfrm>
              <a:off x="464032" y="2939010"/>
              <a:ext cx="489097" cy="66109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4400" b="1">
                  <a:solidFill>
                    <a:srgbClr val="0070C0"/>
                  </a:solidFill>
                  <a:latin typeface="Ubuntu"/>
                </a:rPr>
                <a:t>2</a:t>
              </a:r>
              <a:endParaRPr lang="en-GB" sz="2000" b="1">
                <a:solidFill>
                  <a:srgbClr val="0070C0"/>
                </a:solidFill>
                <a:latin typeface="Ubuntu"/>
              </a:endParaRPr>
            </a:p>
          </p:txBody>
        </p:sp>
      </p:grpSp>
      <p:grpSp>
        <p:nvGrpSpPr>
          <p:cNvPr id="11" name="Group 10">
            <a:extLst>
              <a:ext uri="{FF2B5EF4-FFF2-40B4-BE49-F238E27FC236}">
                <a16:creationId xmlns:a16="http://schemas.microsoft.com/office/drawing/2014/main" id="{F659678C-2FA3-5D57-621C-182A5BE8ED89}"/>
              </a:ext>
            </a:extLst>
          </p:cNvPr>
          <p:cNvGrpSpPr/>
          <p:nvPr/>
        </p:nvGrpSpPr>
        <p:grpSpPr>
          <a:xfrm>
            <a:off x="464191" y="4303375"/>
            <a:ext cx="6931112" cy="1387564"/>
            <a:chOff x="464191" y="4303375"/>
            <a:chExt cx="6931112" cy="1387564"/>
          </a:xfrm>
        </p:grpSpPr>
        <p:sp>
          <p:nvSpPr>
            <p:cNvPr id="15" name="TextBox 14">
              <a:extLst>
                <a:ext uri="{FF2B5EF4-FFF2-40B4-BE49-F238E27FC236}">
                  <a16:creationId xmlns:a16="http://schemas.microsoft.com/office/drawing/2014/main" id="{38D914EF-7187-697D-C165-C05DE0F0C1CB}"/>
                </a:ext>
              </a:extLst>
            </p:cNvPr>
            <p:cNvSpPr txBox="1"/>
            <p:nvPr/>
          </p:nvSpPr>
          <p:spPr>
            <a:xfrm>
              <a:off x="953288" y="4505999"/>
              <a:ext cx="6442015" cy="1184940"/>
            </a:xfrm>
            <a:prstGeom prst="rect">
              <a:avLst/>
            </a:prstGeom>
            <a:noFill/>
          </p:spPr>
          <p:txBody>
            <a:bodyPr wrap="square" rIns="0" rtlCol="0">
              <a:spAutoFit/>
            </a:bodyPr>
            <a:lstStyle/>
            <a:p>
              <a:pPr>
                <a:spcBef>
                  <a:spcPts val="600"/>
                </a:spcBef>
                <a:defRPr/>
              </a:pPr>
              <a:r>
                <a:rPr lang="en-GB" sz="1400" b="1">
                  <a:solidFill>
                    <a:schemeClr val="tx1">
                      <a:lumMod val="85000"/>
                      <a:lumOff val="15000"/>
                    </a:schemeClr>
                  </a:solidFill>
                  <a:latin typeface="Ubuntu"/>
                </a:rPr>
                <a:t>Natural</a:t>
              </a:r>
              <a:r>
                <a:rPr kumimoji="0" lang="en-GB" sz="1400" b="1" i="0" u="none" strike="noStrike" kern="1200" cap="none" spc="0" normalizeH="0" baseline="0" noProof="0">
                  <a:ln>
                    <a:noFill/>
                  </a:ln>
                  <a:solidFill>
                    <a:schemeClr val="tx1">
                      <a:lumMod val="85000"/>
                      <a:lumOff val="15000"/>
                    </a:schemeClr>
                  </a:solidFill>
                  <a:effectLst/>
                  <a:uLnTx/>
                  <a:uFillTx/>
                  <a:latin typeface="Ubuntu"/>
                </a:rPr>
                <a:t> gas, low carbon gases and LNG</a:t>
              </a:r>
              <a:r>
                <a:rPr lang="en-GB" sz="1400" b="1">
                  <a:solidFill>
                    <a:schemeClr val="tx1">
                      <a:lumMod val="85000"/>
                      <a:lumOff val="15000"/>
                    </a:schemeClr>
                  </a:solidFill>
                  <a:latin typeface="Ubuntu"/>
                </a:rPr>
                <a:t> remains critical </a:t>
              </a:r>
            </a:p>
            <a:p>
              <a:pPr indent="-93663">
                <a:spcBef>
                  <a:spcPts val="600"/>
                </a:spcBef>
                <a:buFont typeface="Arial" panose="020B0604020202020204" pitchFamily="34" charset="0"/>
                <a:buChar char="•"/>
                <a:defRPr/>
              </a:pPr>
              <a:r>
                <a:rPr kumimoji="0" lang="en-GB" sz="1400" b="0" i="0" u="none" strike="noStrike" kern="1200" cap="none" spc="0" normalizeH="0" baseline="0" noProof="0">
                  <a:ln>
                    <a:noFill/>
                  </a:ln>
                  <a:solidFill>
                    <a:schemeClr val="tx1">
                      <a:lumMod val="85000"/>
                      <a:lumOff val="15000"/>
                    </a:schemeClr>
                  </a:solidFill>
                  <a:effectLst/>
                  <a:uLnTx/>
                  <a:uFillTx/>
                  <a:latin typeface="Ubuntu" panose="020B0504030602030204" pitchFamily="34" charset="0"/>
                </a:rPr>
                <a:t>Gases important to balance intermittent renewables</a:t>
              </a:r>
            </a:p>
            <a:p>
              <a:pPr lvl="0" indent="-93663">
                <a:spcBef>
                  <a:spcPts val="600"/>
                </a:spcBef>
                <a:buFont typeface="Arial" panose="020B0604020202020204" pitchFamily="34" charset="0"/>
                <a:buChar char="•"/>
                <a:defRPr/>
              </a:pPr>
              <a:r>
                <a:rPr lang="en-GB" sz="1400">
                  <a:solidFill>
                    <a:schemeClr val="tx1">
                      <a:lumMod val="85000"/>
                      <a:lumOff val="15000"/>
                    </a:schemeClr>
                  </a:solidFill>
                  <a:latin typeface="Ubuntu" panose="020B0504030602030204" pitchFamily="34" charset="0"/>
                </a:rPr>
                <a:t>Decarbonisation of gas entails behavioural changes</a:t>
              </a:r>
            </a:p>
            <a:p>
              <a:pPr marR="0" lvl="0" indent="-93663" algn="l" defTabSz="457200" rtl="0" eaLnBrk="1" fontAlgn="auto" latinLnBrk="0" hangingPunct="1">
                <a:lnSpc>
                  <a:spcPct val="100000"/>
                </a:lnSpc>
                <a:spcBef>
                  <a:spcPts val="600"/>
                </a:spcBef>
                <a:buClrTx/>
                <a:buSzTx/>
                <a:buFont typeface="Arial" panose="020B0604020202020204" pitchFamily="34" charset="0"/>
                <a:buChar char="•"/>
                <a:tabLst/>
                <a:defRPr/>
              </a:pPr>
              <a:r>
                <a:rPr kumimoji="0" lang="en-GB" sz="1400" b="0" i="0" u="none" strike="noStrike" kern="1200" cap="none" spc="0" normalizeH="0" baseline="0" noProof="0">
                  <a:ln>
                    <a:noFill/>
                  </a:ln>
                  <a:solidFill>
                    <a:schemeClr val="tx1">
                      <a:lumMod val="85000"/>
                      <a:lumOff val="15000"/>
                    </a:schemeClr>
                  </a:solidFill>
                  <a:effectLst/>
                  <a:uLnTx/>
                  <a:uFillTx/>
                  <a:latin typeface="Ubuntu" panose="020B0504030602030204" pitchFamily="34" charset="0"/>
                </a:rPr>
                <a:t>LNG and </a:t>
              </a:r>
              <a:r>
                <a:rPr lang="en-GB" sz="1400">
                  <a:solidFill>
                    <a:schemeClr val="tx1">
                      <a:lumMod val="85000"/>
                      <a:lumOff val="15000"/>
                    </a:schemeClr>
                  </a:solidFill>
                  <a:latin typeface="Ubuntu" panose="020B0504030602030204" pitchFamily="34" charset="0"/>
                </a:rPr>
                <a:t>ssLNG </a:t>
              </a:r>
              <a:r>
                <a:rPr kumimoji="0" lang="en-GB" sz="1400" b="0" i="0" u="none" strike="noStrike" kern="1200" cap="none" spc="0" normalizeH="0" baseline="0" noProof="0">
                  <a:ln>
                    <a:noFill/>
                  </a:ln>
                  <a:solidFill>
                    <a:schemeClr val="tx1">
                      <a:lumMod val="85000"/>
                      <a:lumOff val="15000"/>
                    </a:schemeClr>
                  </a:solidFill>
                  <a:effectLst/>
                  <a:uLnTx/>
                  <a:uFillTx/>
                  <a:latin typeface="Ubuntu" panose="020B0504030602030204" pitchFamily="34" charset="0"/>
                </a:rPr>
                <a:t>enable access to energy for areas with scarcity</a:t>
              </a:r>
            </a:p>
          </p:txBody>
        </p:sp>
        <p:sp>
          <p:nvSpPr>
            <p:cNvPr id="20" name="Rectangle 19">
              <a:extLst>
                <a:ext uri="{FF2B5EF4-FFF2-40B4-BE49-F238E27FC236}">
                  <a16:creationId xmlns:a16="http://schemas.microsoft.com/office/drawing/2014/main" id="{73D14BB4-A5FF-A53C-3281-C724A8C93F05}"/>
                </a:ext>
              </a:extLst>
            </p:cNvPr>
            <p:cNvSpPr/>
            <p:nvPr/>
          </p:nvSpPr>
          <p:spPr>
            <a:xfrm>
              <a:off x="464191" y="4303375"/>
              <a:ext cx="489097" cy="66109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4400" b="1">
                  <a:solidFill>
                    <a:srgbClr val="0070C0"/>
                  </a:solidFill>
                  <a:latin typeface="Ubuntu"/>
                </a:rPr>
                <a:t>3</a:t>
              </a:r>
              <a:endParaRPr lang="en-GB" sz="2000" b="1">
                <a:solidFill>
                  <a:srgbClr val="0070C0"/>
                </a:solidFill>
                <a:latin typeface="Ubuntu"/>
              </a:endParaRPr>
            </a:p>
          </p:txBody>
        </p:sp>
      </p:grpSp>
      <p:graphicFrame>
        <p:nvGraphicFramePr>
          <p:cNvPr id="7" name="Chart 6">
            <a:extLst>
              <a:ext uri="{FF2B5EF4-FFF2-40B4-BE49-F238E27FC236}">
                <a16:creationId xmlns:a16="http://schemas.microsoft.com/office/drawing/2014/main" id="{564EB79E-DAC9-F84B-04DC-963472FD17B2}"/>
              </a:ext>
            </a:extLst>
          </p:cNvPr>
          <p:cNvGraphicFramePr/>
          <p:nvPr>
            <p:extLst>
              <p:ext uri="{D42A27DB-BD31-4B8C-83A1-F6EECF244321}">
                <p14:modId xmlns:p14="http://schemas.microsoft.com/office/powerpoint/2010/main" val="2527707619"/>
              </p:ext>
            </p:extLst>
          </p:nvPr>
        </p:nvGraphicFramePr>
        <p:xfrm>
          <a:off x="7258062" y="1296775"/>
          <a:ext cx="5202277" cy="4558790"/>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8C22E499-F242-1684-E5D4-6E826F3A9690}"/>
              </a:ext>
            </a:extLst>
          </p:cNvPr>
          <p:cNvSpPr txBox="1"/>
          <p:nvPr/>
        </p:nvSpPr>
        <p:spPr>
          <a:xfrm>
            <a:off x="8739130" y="2660254"/>
            <a:ext cx="2499423" cy="2062103"/>
          </a:xfrm>
          <a:prstGeom prst="rect">
            <a:avLst/>
          </a:prstGeom>
          <a:noFill/>
          <a:ln>
            <a:noFill/>
          </a:ln>
        </p:spPr>
        <p:txBody>
          <a:bodyPr wrap="square" lIns="91440" tIns="45720" rIns="91440" bIns="45720" rtlCol="0" anchor="ctr">
            <a:spAutoFit/>
          </a:bodyPr>
          <a:lstStyle/>
          <a:p>
            <a:pPr algn="ctr">
              <a:defRPr/>
            </a:pPr>
            <a:r>
              <a:rPr lang="en-GB" sz="1600" b="1" dirty="0">
                <a:solidFill>
                  <a:schemeClr val="tx1">
                    <a:lumMod val="85000"/>
                    <a:lumOff val="15000"/>
                  </a:schemeClr>
                </a:solidFill>
              </a:rPr>
              <a:t>After </a:t>
            </a:r>
            <a:r>
              <a:rPr lang="en-US" sz="1600" b="1" dirty="0">
                <a:solidFill>
                  <a:schemeClr val="tx1">
                    <a:lumMod val="85000"/>
                    <a:lumOff val="15000"/>
                  </a:schemeClr>
                </a:solidFill>
              </a:rPr>
              <a:t>e</a:t>
            </a:r>
            <a:r>
              <a:rPr lang="en-GB" sz="1600" b="1" dirty="0" err="1">
                <a:solidFill>
                  <a:schemeClr val="tx1">
                    <a:lumMod val="85000"/>
                    <a:lumOff val="15000"/>
                  </a:schemeClr>
                </a:solidFill>
              </a:rPr>
              <a:t>xtreme</a:t>
            </a:r>
            <a:r>
              <a:rPr lang="en-GB" sz="1600" b="1" dirty="0">
                <a:solidFill>
                  <a:schemeClr val="tx1">
                    <a:lumMod val="85000"/>
                    <a:lumOff val="15000"/>
                  </a:schemeClr>
                </a:solidFill>
              </a:rPr>
              <a:t> volatility in 2022, </a:t>
            </a:r>
            <a:endParaRPr lang="en-GB" sz="1600" dirty="0">
              <a:solidFill>
                <a:schemeClr val="tx1">
                  <a:lumMod val="85000"/>
                  <a:lumOff val="15000"/>
                </a:schemeClr>
              </a:solidFill>
            </a:endParaRPr>
          </a:p>
          <a:p>
            <a:pPr algn="ctr">
              <a:defRPr/>
            </a:pPr>
            <a:r>
              <a:rPr lang="en-GB" sz="1600" b="1" dirty="0">
                <a:solidFill>
                  <a:schemeClr val="tx1">
                    <a:lumMod val="85000"/>
                    <a:lumOff val="15000"/>
                  </a:schemeClr>
                </a:solidFill>
              </a:rPr>
              <a:t>gas markets are in an unstable fragile equilibrium &amp; </a:t>
            </a:r>
            <a:endParaRPr lang="en-GB" sz="1600" dirty="0">
              <a:solidFill>
                <a:schemeClr val="tx1">
                  <a:lumMod val="85000"/>
                  <a:lumOff val="15000"/>
                </a:schemeClr>
              </a:solidFill>
            </a:endParaRPr>
          </a:p>
          <a:p>
            <a:pPr algn="ctr">
              <a:defRPr/>
            </a:pPr>
            <a:r>
              <a:rPr lang="en-GB" sz="1600" b="1" dirty="0">
                <a:solidFill>
                  <a:schemeClr val="tx1">
                    <a:lumMod val="85000"/>
                    <a:lumOff val="15000"/>
                  </a:schemeClr>
                </a:solidFill>
              </a:rPr>
              <a:t>energy planning is essential to avoid new shocks</a:t>
            </a:r>
            <a:endParaRPr lang="en-GB" sz="1600" dirty="0">
              <a:solidFill>
                <a:schemeClr val="tx1">
                  <a:lumMod val="85000"/>
                  <a:lumOff val="15000"/>
                </a:schemeClr>
              </a:solidFill>
              <a:cs typeface="Calibri"/>
            </a:endParaRPr>
          </a:p>
        </p:txBody>
      </p:sp>
    </p:spTree>
    <p:extLst>
      <p:ext uri="{BB962C8B-B14F-4D97-AF65-F5344CB8AC3E}">
        <p14:creationId xmlns:p14="http://schemas.microsoft.com/office/powerpoint/2010/main" val="30049986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1B95B18-1915-5105-5F68-008C76F2ECC4}"/>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17000"/>
                    </a14:imgEffect>
                  </a14:imgLayer>
                </a14:imgProps>
              </a:ext>
            </a:extLst>
          </a:blip>
          <a:srcRect l="65" t="41613" r="40973" b="-1"/>
          <a:stretch/>
        </p:blipFill>
        <p:spPr>
          <a:xfrm>
            <a:off x="652" y="0"/>
            <a:ext cx="12191348" cy="6858000"/>
          </a:xfrm>
          <a:prstGeom prst="rect">
            <a:avLst/>
          </a:prstGeom>
        </p:spPr>
      </p:pic>
      <p:sp>
        <p:nvSpPr>
          <p:cNvPr id="10" name="Rectangle 9">
            <a:extLst>
              <a:ext uri="{FF2B5EF4-FFF2-40B4-BE49-F238E27FC236}">
                <a16:creationId xmlns:a16="http://schemas.microsoft.com/office/drawing/2014/main" id="{8BFC6F96-459B-7905-F44B-7E5BFA3A8C20}"/>
              </a:ext>
            </a:extLst>
          </p:cNvPr>
          <p:cNvSpPr/>
          <p:nvPr/>
        </p:nvSpPr>
        <p:spPr>
          <a:xfrm>
            <a:off x="653" y="-1"/>
            <a:ext cx="12191347" cy="6858001"/>
          </a:xfrm>
          <a:prstGeom prst="rect">
            <a:avLst/>
          </a:prstGeom>
          <a:solidFill>
            <a:schemeClr val="tx2">
              <a:lumMod val="75000"/>
              <a:alpha val="23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ln>
                <a:solidFill>
                  <a:schemeClr val="tx1"/>
                </a:solidFill>
              </a:ln>
              <a:solidFill>
                <a:schemeClr val="tx1"/>
              </a:solidFill>
            </a:endParaRPr>
          </a:p>
        </p:txBody>
      </p:sp>
      <p:sp>
        <p:nvSpPr>
          <p:cNvPr id="6" name="Rectangle 4">
            <a:extLst>
              <a:ext uri="{FF2B5EF4-FFF2-40B4-BE49-F238E27FC236}">
                <a16:creationId xmlns:a16="http://schemas.microsoft.com/office/drawing/2014/main" id="{F0D9629D-FB0E-47A2-9E39-C3703815372D}"/>
              </a:ext>
            </a:extLst>
          </p:cNvPr>
          <p:cNvSpPr>
            <a:spLocks noChangeArrowheads="1"/>
          </p:cNvSpPr>
          <p:nvPr/>
        </p:nvSpPr>
        <p:spPr bwMode="auto">
          <a:xfrm>
            <a:off x="1143001"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13" name="Immagine 13" descr="File:Snam Logo.svg - Wikipedia">
            <a:extLst>
              <a:ext uri="{FF2B5EF4-FFF2-40B4-BE49-F238E27FC236}">
                <a16:creationId xmlns:a16="http://schemas.microsoft.com/office/drawing/2014/main" id="{2EC651D4-0FB0-86AB-01E9-FE42504C48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86093" y="5397931"/>
            <a:ext cx="1025749" cy="1025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uppo 8">
            <a:extLst>
              <a:ext uri="{FF2B5EF4-FFF2-40B4-BE49-F238E27FC236}">
                <a16:creationId xmlns:a16="http://schemas.microsoft.com/office/drawing/2014/main" id="{FF523035-601F-1B2D-AE95-C2203B0BFC48}"/>
              </a:ext>
            </a:extLst>
          </p:cNvPr>
          <p:cNvGrpSpPr/>
          <p:nvPr/>
        </p:nvGrpSpPr>
        <p:grpSpPr>
          <a:xfrm>
            <a:off x="8922197" y="5371660"/>
            <a:ext cx="1309892" cy="1005840"/>
            <a:chOff x="6368864" y="5366886"/>
            <a:chExt cx="1309892" cy="952650"/>
          </a:xfrm>
        </p:grpSpPr>
        <p:pic>
          <p:nvPicPr>
            <p:cNvPr id="17" name="Picture 3" descr="IGU | Welcome to the Global Gas Portal">
              <a:extLst>
                <a:ext uri="{FF2B5EF4-FFF2-40B4-BE49-F238E27FC236}">
                  <a16:creationId xmlns:a16="http://schemas.microsoft.com/office/drawing/2014/main" id="{A8BA10FE-06D1-E833-50C9-984FB0CA61DC}"/>
                </a:ext>
              </a:extLst>
            </p:cNvPr>
            <p:cNvPicPr>
              <a:picLocks noChangeAspect="1" noChangeArrowheads="1"/>
            </p:cNvPicPr>
            <p:nvPr/>
          </p:nvPicPr>
          <p:blipFill>
            <a:blip r:embed="rId6" r:link="rId7">
              <a:biLevel thresh="25000"/>
              <a:extLst>
                <a:ext uri="{28A0092B-C50C-407E-A947-70E740481C1C}">
                  <a14:useLocalDpi xmlns:a14="http://schemas.microsoft.com/office/drawing/2010/main" val="0"/>
                </a:ext>
              </a:extLst>
            </a:blip>
            <a:srcRect/>
            <a:stretch>
              <a:fillRect/>
            </a:stretch>
          </p:blipFill>
          <p:spPr bwMode="auto">
            <a:xfrm>
              <a:off x="6368864" y="5366887"/>
              <a:ext cx="1309892" cy="952649"/>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IGU | Welcome to the Global Gas Portal">
              <a:extLst>
                <a:ext uri="{FF2B5EF4-FFF2-40B4-BE49-F238E27FC236}">
                  <a16:creationId xmlns:a16="http://schemas.microsoft.com/office/drawing/2014/main" id="{DD724BD8-C6F2-1553-02CC-03634FD91021}"/>
                </a:ext>
              </a:extLst>
            </p:cNvPr>
            <p:cNvPicPr>
              <a:picLocks noChangeAspect="1" noChangeArrowheads="1"/>
            </p:cNvPicPr>
            <p:nvPr/>
          </p:nvPicPr>
          <p:blipFill rotWithShape="1">
            <a:blip r:embed="rId6" r:link="rId7">
              <a:extLst>
                <a:ext uri="{28A0092B-C50C-407E-A947-70E740481C1C}">
                  <a14:useLocalDpi xmlns:a14="http://schemas.microsoft.com/office/drawing/2010/main" val="0"/>
                </a:ext>
              </a:extLst>
            </a:blip>
            <a:srcRect r="69667" b="15997"/>
            <a:stretch>
              <a:fillRect/>
            </a:stretch>
          </p:blipFill>
          <p:spPr bwMode="auto">
            <a:xfrm>
              <a:off x="6368864" y="5366886"/>
              <a:ext cx="397329" cy="800249"/>
            </a:xfrm>
            <a:prstGeom prst="rect">
              <a:avLst/>
            </a:prstGeom>
            <a:noFill/>
            <a:extLst>
              <a:ext uri="{909E8E84-426E-40DD-AFC4-6F175D3DCCD1}">
                <a14:hiddenFill xmlns:a14="http://schemas.microsoft.com/office/drawing/2010/main">
                  <a:solidFill>
                    <a:srgbClr val="FFFFFF"/>
                  </a:solidFill>
                </a14:hiddenFill>
              </a:ext>
            </a:extLst>
          </p:spPr>
        </p:pic>
      </p:grpSp>
      <p:pic>
        <p:nvPicPr>
          <p:cNvPr id="19" name="Picture 18" descr="A picture containing text, mollusk, cowrie, light&#10;&#10;Description automatically generated">
            <a:extLst>
              <a:ext uri="{FF2B5EF4-FFF2-40B4-BE49-F238E27FC236}">
                <a16:creationId xmlns:a16="http://schemas.microsoft.com/office/drawing/2014/main" id="{814A2B51-B104-407B-AE2B-1D77B51C8FF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22376" y="5375524"/>
            <a:ext cx="1309892" cy="1075864"/>
          </a:xfrm>
          <a:prstGeom prst="rect">
            <a:avLst/>
          </a:prstGeom>
        </p:spPr>
      </p:pic>
    </p:spTree>
    <p:extLst>
      <p:ext uri="{BB962C8B-B14F-4D97-AF65-F5344CB8AC3E}">
        <p14:creationId xmlns:p14="http://schemas.microsoft.com/office/powerpoint/2010/main" val="13955833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GRUNT-HP-TCZPD1" val="BgAAAA=="/>
  <p:tag name="EE4P_STYLE_ID" val="6cd991bf-f022-4378-96e7-2c338aeb3f5a"/>
  <p:tag name="GRUNT-HP-DBC7K6" val="BwAAAA=="/>
  <p:tag name="GRUNT-HP-NJ757B" val="AwAAAA=="/>
  <p:tag name="GRUNT-HP-MC8CZE" val="QgMAAA=="/>
  <p:tag name="GRUNT-HP-NJZD62" val="oQwAAA=="/>
  <p:tag name="GRUNT-HP-XE7N1P" val="CQAAAA=="/>
  <p:tag name="GRUNT-HP-UNNKB5" val="lwEAAA=="/>
</p:tagLst>
</file>

<file path=ppt/theme/theme1.xml><?xml version="1.0" encoding="utf-8"?>
<a:theme xmlns:a="http://schemas.openxmlformats.org/drawingml/2006/main" name="MARCH2023template">
  <a:themeElements>
    <a:clrScheme name="RE Consulting template 2023">
      <a:dk1>
        <a:srgbClr val="000000"/>
      </a:dk1>
      <a:lt1>
        <a:srgbClr val="FFFFFF"/>
      </a:lt1>
      <a:dk2>
        <a:srgbClr val="44546A"/>
      </a:dk2>
      <a:lt2>
        <a:srgbClr val="E6E6E6"/>
      </a:lt2>
      <a:accent1>
        <a:srgbClr val="E58843"/>
      </a:accent1>
      <a:accent2>
        <a:srgbClr val="041938"/>
      </a:accent2>
      <a:accent3>
        <a:srgbClr val="7A8798"/>
      </a:accent3>
      <a:accent4>
        <a:srgbClr val="F3B68D"/>
      </a:accent4>
      <a:accent5>
        <a:srgbClr val="DCE692"/>
      </a:accent5>
      <a:accent6>
        <a:srgbClr val="67AACB"/>
      </a:accent6>
      <a:hlink>
        <a:srgbClr val="0563C1"/>
      </a:hlink>
      <a:folHlink>
        <a:srgbClr val="954F72"/>
      </a:folHlink>
    </a:clrScheme>
    <a:fontScheme name="Egendefinert 34">
      <a:majorFont>
        <a:latin typeface="Calibri"/>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635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ARCH2023template" id="{D6CC1E79-42FA-45F3-A91E-8E6347906EE9}" vid="{6B2CC6E1-E1DE-4631-A3D6-89727DC1546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F98D00E-7FA4-495D-99D8-4CDB8DBFB0B5}">
  <we:reference id="wa104381063" version="1.0.0.1" store="en-US" storeType="OMEX"/>
  <we:alternateReferences>
    <we:reference id="WA104381063" version="1.0.0.1"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DD1996B098E4C4D9B2779C0A6AE4192" ma:contentTypeVersion="16" ma:contentTypeDescription="Create a new document." ma:contentTypeScope="" ma:versionID="0a88a7a708870697cc9c0488b6af11b6">
  <xsd:schema xmlns:xsd="http://www.w3.org/2001/XMLSchema" xmlns:xs="http://www.w3.org/2001/XMLSchema" xmlns:p="http://schemas.microsoft.com/office/2006/metadata/properties" xmlns:ns2="ef4026d5-8ff9-43e0-8394-4339ffcc741a" xmlns:ns3="b271f1e2-f3c3-4a24-a524-1fba7610d0d2" targetNamespace="http://schemas.microsoft.com/office/2006/metadata/properties" ma:root="true" ma:fieldsID="8c1bcefb4ba08bfd49893fb5970ac57f" ns2:_="" ns3:_="">
    <xsd:import namespace="ef4026d5-8ff9-43e0-8394-4339ffcc741a"/>
    <xsd:import namespace="b271f1e2-f3c3-4a24-a524-1fba7610d0d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3:TaxCatchAll" minOccurs="0"/>
                <xsd:element ref="ns2:MediaServiceGenerationTime" minOccurs="0"/>
                <xsd:element ref="ns2:MediaServiceEventHashCode" minOccurs="0"/>
                <xsd:element ref="ns2:lcf76f155ced4ddcb4097134ff3c332f" minOccurs="0"/>
                <xsd:element ref="ns2:MediaServiceOCR"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f4026d5-8ff9-43e0-8394-4339ffcc741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907d220e-a044-40e4-a419-6a83ff4b5083"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21"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271f1e2-f3c3-4a24-a524-1fba7610d0d2"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3c9534b3-0eb5-42d6-842e-7cb0fb7b5df0}" ma:internalName="TaxCatchAll" ma:showField="CatchAllData" ma:web="b271f1e2-f3c3-4a24-a524-1fba7610d0d2">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b271f1e2-f3c3-4a24-a524-1fba7610d0d2" xsi:nil="true"/>
    <lcf76f155ced4ddcb4097134ff3c332f xmlns="ef4026d5-8ff9-43e0-8394-4339ffcc741a">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39354EB-42F2-49C9-AD14-949A794A86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f4026d5-8ff9-43e0-8394-4339ffcc741a"/>
    <ds:schemaRef ds:uri="b271f1e2-f3c3-4a24-a524-1fba7610d0d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D935EFF-A99B-47D1-A995-6D351CB92F9D}">
  <ds:schemaRefs>
    <ds:schemaRef ds:uri="http://schemas.microsoft.com/office/2006/metadata/properties"/>
    <ds:schemaRef ds:uri="http://schemas.microsoft.com/office/infopath/2007/PartnerControls"/>
    <ds:schemaRef ds:uri="http://schemas.microsoft.com/office/2006/documentManagement/types"/>
    <ds:schemaRef ds:uri="http://www.w3.org/XML/1998/namespace"/>
    <ds:schemaRef ds:uri="http://purl.org/dc/elements/1.1/"/>
    <ds:schemaRef ds:uri="http://purl.org/dc/dcmitype/"/>
    <ds:schemaRef ds:uri="http://purl.org/dc/terms/"/>
    <ds:schemaRef ds:uri="http://schemas.openxmlformats.org/package/2006/metadata/core-properties"/>
    <ds:schemaRef ds:uri="5e3c9bd4-c023-4532-91a1-2744dbb934ba"/>
    <ds:schemaRef ds:uri="8da4c2a0-c622-4fcb-8f89-aa169ff1466e"/>
    <ds:schemaRef ds:uri="b271f1e2-f3c3-4a24-a524-1fba7610d0d2"/>
    <ds:schemaRef ds:uri="ef4026d5-8ff9-43e0-8394-4339ffcc741a"/>
  </ds:schemaRefs>
</ds:datastoreItem>
</file>

<file path=customXml/itemProps3.xml><?xml version="1.0" encoding="utf-8"?>
<ds:datastoreItem xmlns:ds="http://schemas.openxmlformats.org/officeDocument/2006/customXml" ds:itemID="{BD879DB3-DAE3-4E5A-9458-F653C5C32DA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81</TotalTime>
  <Words>543</Words>
  <Application>Microsoft Office PowerPoint</Application>
  <PresentationFormat>Widescreen</PresentationFormat>
  <Paragraphs>131</Paragraphs>
  <Slides>9</Slides>
  <Notes>5</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9</vt:i4>
      </vt:variant>
    </vt:vector>
  </HeadingPairs>
  <TitlesOfParts>
    <vt:vector size="15" baseType="lpstr">
      <vt:lpstr>Ubuntu</vt:lpstr>
      <vt:lpstr>Calibri Light</vt:lpstr>
      <vt:lpstr>Arial</vt:lpstr>
      <vt:lpstr>Calibri</vt:lpstr>
      <vt:lpstr>Verdana</vt:lpstr>
      <vt:lpstr>MARCH2023template</vt:lpstr>
      <vt:lpstr>PowerPoint Presentation</vt:lpstr>
      <vt:lpstr>PowerPoint Presentation</vt:lpstr>
      <vt:lpstr>Gas prices rose to all-time-high levels in 2023 with extreme volatility </vt:lpstr>
      <vt:lpstr>Demand dropped by 1.5% in 2022, however large regional changes occured</vt:lpstr>
      <vt:lpstr>Global gas production in 2022 stayed flat with a marginal 8.3 Bcm  uptick.  North America remains the undisputed largest supplier – high declines in Russian production.</vt:lpstr>
      <vt:lpstr>High ambitions for H2 developments – sanctioning activity must rise for it materialize </vt:lpstr>
      <vt:lpstr>Large discrepancies in future gas demand across scenarios versus supply pipeline</vt:lpstr>
      <vt:lpstr>2022, a year of extreme events and uncertainty lurking towards 2030</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aph template FULL page/two columns</dc:title>
  <dc:creator>Andreas Nilssen Skorpen</dc:creator>
  <cp:lastModifiedBy>Neill Tannock</cp:lastModifiedBy>
  <cp:revision>53</cp:revision>
  <dcterms:created xsi:type="dcterms:W3CDTF">2023-08-09T08:16:57Z</dcterms:created>
  <dcterms:modified xsi:type="dcterms:W3CDTF">2023-10-25T14:1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3C484B8EEB774BBB8F42929DD87054</vt:lpwstr>
  </property>
  <property fmtid="{D5CDD505-2E9C-101B-9397-08002B2CF9AE}" pid="3" name="MediaServiceImageTags">
    <vt:lpwstr/>
  </property>
</Properties>
</file>